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238.xml" ContentType="application/vnd.openxmlformats-officedocument.presentationml.tags+xml"/>
  <Override PartName="/ppt/tags/tag569.xml" ContentType="application/vnd.openxmlformats-officedocument.presentationml.tags+xml"/>
  <Override PartName="/ppt/tags/tag916.xml" ContentType="application/vnd.openxmlformats-officedocument.presentationml.tags+xml"/>
  <Override PartName="/ppt/tags/tag424.xml" ContentType="application/vnd.openxmlformats-officedocument.presentationml.tags+xml"/>
  <Override PartName="/ppt/tags/tag610.xml" ContentType="application/vnd.openxmlformats-officedocument.presentationml.tags+xml"/>
  <Override PartName="/ppt/tags/tag755.xml" ContentType="application/vnd.openxmlformats-officedocument.presentationml.tags+xml"/>
  <Override PartName="/ppt/tags/tag941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263.xml" ContentType="application/vnd.openxmlformats-officedocument.presentationml.tags+xml"/>
  <Override PartName="/ppt/tags/tag594.xml" ContentType="application/vnd.openxmlformats-officedocument.presentationml.tags+xml"/>
  <Override PartName="/ppt/tags/tag780.xml" ContentType="application/vnd.openxmlformats-officedocument.presentationml.tags+xml"/>
  <Default Extension="xml" ContentType="application/xml"/>
  <Override PartName="/ppt/tags/tag38.xml" ContentType="application/vnd.openxmlformats-officedocument.presentationml.tags+xml"/>
  <Override PartName="/ppt/tags/tag339.xml" ContentType="application/vnd.openxmlformats-officedocument.presentationml.tags+xml"/>
  <Override PartName="/ppt/tags/tag525.xml" ContentType="application/vnd.openxmlformats-officedocument.presentationml.tags+xml"/>
  <Override PartName="/ppt/tags/tag1018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64.xml" ContentType="application/vnd.openxmlformats-officedocument.presentationml.tags+xml"/>
  <Override PartName="/ppt/tags/tag711.xml" ContentType="application/vnd.openxmlformats-officedocument.presentationml.tags+xml"/>
  <Override PartName="/ppt/tags/tag856.xml" ContentType="application/vnd.openxmlformats-officedocument.presentationml.tags+xml"/>
  <Override PartName="/ppt/tags/tag1043.xml" ContentType="application/vnd.openxmlformats-officedocument.presentationml.tags+xml"/>
  <Override PartName="/ppt/tags/tag109.xml" ContentType="application/vnd.openxmlformats-officedocument.presentationml.tags+xml"/>
  <Override PartName="/ppt/tags/tag550.xml" ContentType="application/vnd.openxmlformats-officedocument.presentationml.tags+xml"/>
  <Override PartName="/ppt/tags/tag695.xml" ContentType="application/vnd.openxmlformats-officedocument.presentationml.tags+xml"/>
  <Override PartName="/ppt/tags/tag881.xml" ContentType="application/vnd.openxmlformats-officedocument.presentationml.tags+xml"/>
  <Override PartName="/ppt/tags/tag279.xml" ContentType="application/vnd.openxmlformats-officedocument.presentationml.tags+xml"/>
  <Override PartName="/ppt/tags/tag626.xml" ContentType="application/vnd.openxmlformats-officedocument.presentationml.tags+xml"/>
  <Override PartName="/ppt/tags/tag957.xml" ContentType="application/vnd.openxmlformats-officedocument.presentationml.tags+xml"/>
  <Override PartName="/ppt/tags/tag134.xml" ContentType="application/vnd.openxmlformats-officedocument.presentationml.tags+xml"/>
  <Override PartName="/ppt/tags/tag320.xml" ContentType="application/vnd.openxmlformats-officedocument.presentationml.tags+xml"/>
  <Override PartName="/ppt/tags/tag465.xml" ContentType="application/vnd.openxmlformats-officedocument.presentationml.tags+xml"/>
  <Override PartName="/ppt/tags/tag796.xml" ContentType="application/vnd.openxmlformats-officedocument.presentationml.tags+xml"/>
  <Override PartName="/ppt/tags/tag812.xml" ContentType="application/vnd.openxmlformats-officedocument.presentationml.tags+xml"/>
  <Default Extension="png" ContentType="image/png"/>
  <Override PartName="/ppt/tags/tag651.xml" ContentType="application/vnd.openxmlformats-officedocument.presentationml.tags+xml"/>
  <Override PartName="/ppt/tags/tag982.xml" ContentType="application/vnd.openxmlformats-officedocument.presentationml.tags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490.xml" ContentType="application/vnd.openxmlformats-officedocument.presentationml.tags+xml"/>
  <Override PartName="/ppt/tags/tag727.xml" ContentType="application/vnd.openxmlformats-officedocument.presentationml.tags+xml"/>
  <Override PartName="/ppt/tags/tag913.xml" ContentType="application/vnd.openxmlformats-officedocument.presentationml.tags+xml"/>
  <Override PartName="/ppt/tags/tag1059.xml" ContentType="application/vnd.openxmlformats-officedocument.presentationml.tags+xml"/>
  <Override PartName="/ppt/tags/tag235.xml" ContentType="application/vnd.openxmlformats-officedocument.presentationml.tags+xml"/>
  <Override PartName="/ppt/tags/tag421.xml" ContentType="application/vnd.openxmlformats-officedocument.presentationml.tags+xml"/>
  <Override PartName="/ppt/tags/tag566.xml" ContentType="application/vnd.openxmlformats-officedocument.presentationml.tags+xml"/>
  <Override PartName="/ppt/tags/tag752.xml" ContentType="application/vnd.openxmlformats-officedocument.presentationml.tags+xml"/>
  <Override PartName="/ppt/tags/tag897.xml" ContentType="application/vnd.openxmlformats-officedocument.presentationml.tags+xml"/>
  <Override PartName="/ppt/slides/slide22.xml" ContentType="application/vnd.openxmlformats-officedocument.presentationml.slide+xml"/>
  <Override PartName="/ppt/tags/tag260.xml" ContentType="application/vnd.openxmlformats-officedocument.presentationml.tags+xml"/>
  <Override PartName="/ppt/tags/tag591.xml" ContentType="application/vnd.openxmlformats-officedocument.presentationml.tags+xml"/>
  <Override PartName="/ppt/tags/tag828.xml" ContentType="application/vnd.openxmlformats-officedocument.presentationml.tags+xml"/>
  <Override PartName="/ppt/tags/tag35.xml" ContentType="application/vnd.openxmlformats-officedocument.presentationml.tags+xml"/>
  <Override PartName="/ppt/tags/tag336.xml" ContentType="application/vnd.openxmlformats-officedocument.presentationml.tags+xml"/>
  <Override PartName="/ppt/tags/tag667.xml" ContentType="application/vnd.openxmlformats-officedocument.presentationml.tags+xml"/>
  <Override PartName="/ppt/tags/tag1015.xml" ContentType="application/vnd.openxmlformats-officedocument.presentationml.tags+xml"/>
  <Override PartName="/ppt/tags/tag175.xml" ContentType="application/vnd.openxmlformats-officedocument.presentationml.tags+xml"/>
  <Override PartName="/ppt/tags/tag522.xml" ContentType="application/vnd.openxmlformats-officedocument.presentationml.tags+xml"/>
  <Override PartName="/ppt/tags/tag853.xml" ContentType="application/vnd.openxmlformats-officedocument.presentationml.tags+xml"/>
  <Override PartName="/ppt/tags/tag998.xml" ContentType="application/vnd.openxmlformats-officedocument.presentationml.tags+xml"/>
  <Override PartName="/ppt/tags/tag60.xml" ContentType="application/vnd.openxmlformats-officedocument.presentationml.tags+xml"/>
  <Override PartName="/ppt/tags/tag361.xml" ContentType="application/vnd.openxmlformats-officedocument.presentationml.tags+xml"/>
  <Override PartName="/ppt/tags/tag692.xml" ContentType="application/vnd.openxmlformats-officedocument.presentationml.tags+xml"/>
  <Override PartName="/ppt/tags/tag929.xml" ContentType="application/vnd.openxmlformats-officedocument.presentationml.tags+xml"/>
  <Override PartName="/ppt/tags/tag1040.xml" ContentType="application/vnd.openxmlformats-officedocument.presentationml.tags+xml"/>
  <Override PartName="/ppt/tags/tag106.xml" ContentType="application/vnd.openxmlformats-officedocument.presentationml.tags+xml"/>
  <Override PartName="/ppt/tags/tag437.xml" ContentType="application/vnd.openxmlformats-officedocument.presentationml.tags+xml"/>
  <Override PartName="/ppt/notesSlides/notesSlide4.xml" ContentType="application/vnd.openxmlformats-officedocument.presentationml.notesSlide+xml"/>
  <Override PartName="/ppt/tags/tag623.xml" ContentType="application/vnd.openxmlformats-officedocument.presentationml.tags+xml"/>
  <Override PartName="/ppt/tags/tag768.xml" ContentType="application/vnd.openxmlformats-officedocument.presentationml.tags+xml"/>
  <Override PartName="/ppt/tags/tag131.xml" ContentType="application/vnd.openxmlformats-officedocument.presentationml.tags+xml"/>
  <Override PartName="/ppt/tags/tag276.xml" ContentType="application/vnd.openxmlformats-officedocument.presentationml.tags+xml"/>
  <Override PartName="/ppt/tags/tag462.xml" ContentType="application/vnd.openxmlformats-officedocument.presentationml.tags+xml"/>
  <Override PartName="/ppt/tags/tag954.xml" ContentType="application/vnd.openxmlformats-officedocument.presentationml.tags+xml"/>
  <Override PartName="/ppt/tags/tag207.xml" ContentType="application/vnd.openxmlformats-officedocument.presentationml.tags+xml"/>
  <Override PartName="/ppt/tags/tag793.xml" ContentType="application/vnd.openxmlformats-officedocument.presentationml.tags+xml"/>
  <Override PartName="/ppt/tags/tag2.xml" ContentType="application/vnd.openxmlformats-officedocument.presentationml.tags+xml"/>
  <Override PartName="/ppt/tags/tag538.xml" ContentType="application/vnd.openxmlformats-officedocument.presentationml.tags+xml"/>
  <Override PartName="/ppt/tags/tag724.xml" ContentType="application/vnd.openxmlformats-officedocument.presentationml.tags+xml"/>
  <Override PartName="/ppt/tags/tag86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77.xml" ContentType="application/vnd.openxmlformats-officedocument.presentationml.tags+xml"/>
  <Override PartName="/ppt/tags/tag563.xml" ContentType="application/vnd.openxmlformats-officedocument.presentationml.tags+xml"/>
  <Override PartName="/ppt/tags/tag894.xml" ContentType="application/vnd.openxmlformats-officedocument.presentationml.tags+xml"/>
  <Override PartName="/ppt/tags/tag910.xml" ContentType="application/vnd.openxmlformats-officedocument.presentationml.tags+xml"/>
  <Override PartName="/ppt/tags/tag1056.xml" ContentType="application/vnd.openxmlformats-officedocument.presentationml.tags+xml"/>
  <Override PartName="/ppt/tags/tag308.xml" ContentType="application/vnd.openxmlformats-officedocument.presentationml.tags+xml"/>
  <Override PartName="/ppt/tags/tag639.xml" ContentType="application/vnd.openxmlformats-officedocument.presentationml.tags+xml"/>
  <Override PartName="/ppt/tags/tag147.xml" ContentType="application/vnd.openxmlformats-officedocument.presentationml.tags+xml"/>
  <Override PartName="/ppt/tags/tag478.xml" ContentType="application/vnd.openxmlformats-officedocument.presentationml.tags+xml"/>
  <Override PartName="/ppt/tags/tag825.xml" ContentType="application/vnd.openxmlformats-officedocument.presentationml.tags+xml"/>
  <Override PartName="/ppt/tags/tag32.xml" ContentType="application/vnd.openxmlformats-officedocument.presentationml.tags+xml"/>
  <Override PartName="/ppt/tags/tag333.xml" ContentType="application/vnd.openxmlformats-officedocument.presentationml.tags+xml"/>
  <Override PartName="/ppt/tags/tag664.xml" ContentType="application/vnd.openxmlformats-officedocument.presentationml.tags+xml"/>
  <Override PartName="/ppt/tags/tag850.xml" ContentType="application/vnd.openxmlformats-officedocument.presentationml.tags+xml"/>
  <Override PartName="/ppt/tags/tag995.xml" ContentType="application/vnd.openxmlformats-officedocument.presentationml.tags+xml"/>
  <Override PartName="/ppt/tags/tag1012.xml" ContentType="application/vnd.openxmlformats-officedocument.presentationml.tags+xml"/>
  <Override PartName="/ppt/tags/tag172.xml" ContentType="application/vnd.openxmlformats-officedocument.presentationml.tags+xml"/>
  <Override PartName="/ppt/tags/tag409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248.xml" ContentType="application/vnd.openxmlformats-officedocument.presentationml.tags+xml"/>
  <Override PartName="/ppt/tags/tag434.xml" ContentType="application/vnd.openxmlformats-officedocument.presentationml.tags+xml"/>
  <Override PartName="/ppt/tags/tag579.xml" ContentType="application/vnd.openxmlformats-officedocument.presentationml.tags+xml"/>
  <Override PartName="/ppt/tags/tag926.xml" ContentType="application/vnd.openxmlformats-officedocument.presentationml.tags+xml"/>
  <Override PartName="/ppt/tags/tag273.xml" ContentType="application/vnd.openxmlformats-officedocument.presentationml.tags+xml"/>
  <Override PartName="/ppt/tags/tag620.xml" ContentType="application/vnd.openxmlformats-officedocument.presentationml.tags+xml"/>
  <Override PartName="/ppt/tags/tag765.xml" ContentType="application/vnd.openxmlformats-officedocument.presentationml.tags+xml"/>
  <Override PartName="/ppt/tags/tag951.xml" ContentType="application/vnd.openxmlformats-officedocument.presentationml.tags+xml"/>
  <Override PartName="/ppt/tags/tag790.xml" ContentType="application/vnd.openxmlformats-officedocument.presentationml.tags+xml"/>
  <Override PartName="/ppt/tags/tag48.xml" ContentType="application/vnd.openxmlformats-officedocument.presentationml.tags+xml"/>
  <Override PartName="/ppt/tags/tag188.xml" ContentType="application/vnd.openxmlformats-officedocument.presentationml.tags+xml"/>
  <Override PartName="/ppt/tags/tag204.xml" ContentType="application/vnd.openxmlformats-officedocument.presentationml.tags+xml"/>
  <Override PartName="/ppt/tags/tag349.xml" ContentType="application/vnd.openxmlformats-officedocument.presentationml.tags+xml"/>
  <Override PartName="/ppt/tags/tag535.xml" ContentType="application/vnd.openxmlformats-officedocument.presentationml.tags+xml"/>
  <Override PartName="/ppt/tags/tag866.xml" ContentType="application/vnd.openxmlformats-officedocument.presentationml.tags+xml"/>
  <Override PartName="/ppt/tags/tag1028.xml" ContentType="application/vnd.openxmlformats-officedocument.presentationml.tags+xml"/>
  <Override PartName="/ppt/tags/tag73.xml" ContentType="application/vnd.openxmlformats-officedocument.presentationml.tags+xml"/>
  <Override PartName="/ppt/tags/tag374.xml" ContentType="application/vnd.openxmlformats-officedocument.presentationml.tags+xml"/>
  <Override PartName="/ppt/tags/tag721.xml" ContentType="application/vnd.openxmlformats-officedocument.presentationml.tags+xml"/>
  <Override PartName="/ppt/tags/tag1053.xml" ContentType="application/vnd.openxmlformats-officedocument.presentationml.tags+xml"/>
  <Override PartName="/ppt/tags/tag119.xml" ContentType="application/vnd.openxmlformats-officedocument.presentationml.tags+xml"/>
  <Override PartName="/ppt/tags/tag560.xml" ContentType="application/vnd.openxmlformats-officedocument.presentationml.tags+xml"/>
  <Override PartName="/ppt/tags/tag891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636.xml" ContentType="application/vnd.openxmlformats-officedocument.presentationml.tags+xml"/>
  <Override PartName="/ppt/tags/tag822.xml" ContentType="application/vnd.openxmlformats-officedocument.presentationml.tags+xml"/>
  <Override PartName="/ppt/tags/tag967.xml" ContentType="application/vnd.openxmlformats-officedocument.presentationml.tags+xml"/>
  <Override PartName="/ppt/tags/tag144.xml" ContentType="application/vnd.openxmlformats-officedocument.presentationml.tags+xml"/>
  <Override PartName="/ppt/tags/tag330.xml" ContentType="application/vnd.openxmlformats-officedocument.presentationml.tags+xml"/>
  <Override PartName="/ppt/tags/tag475.xml" ContentType="application/vnd.openxmlformats-officedocument.presentationml.tags+xml"/>
  <Override PartName="/ppt/tags/tag661.xml" ContentType="application/vnd.openxmlformats-officedocument.presentationml.tags+xml"/>
  <Override PartName="/ppt/tags/tag992.xml" ContentType="application/vnd.openxmlformats-officedocument.presentationml.tags+xml"/>
  <Override PartName="/ppt/tags/tag406.xml" ContentType="application/vnd.openxmlformats-officedocument.presentationml.tags+xml"/>
  <Override PartName="/ppt/tags/tag737.xml" ContentType="application/vnd.openxmlformats-officedocument.presentationml.tags+xml"/>
  <Override PartName="/ppt/tags/tag89.xml" ContentType="application/vnd.openxmlformats-officedocument.presentationml.tags+xml"/>
  <Override PartName="/ppt/tags/tag245.xml" ContentType="application/vnd.openxmlformats-officedocument.presentationml.tags+xml"/>
  <Override PartName="/ppt/tags/tag576.xml" ContentType="application/vnd.openxmlformats-officedocument.presentationml.tags+xml"/>
  <Override PartName="/ppt/tags/tag923.xml" ContentType="application/vnd.openxmlformats-officedocument.presentationml.tags+xml"/>
  <Override PartName="/ppt/tags/tag1069.xml" ContentType="application/vnd.openxmlformats-officedocument.presentationml.tags+xml"/>
  <Override PartName="/ppt/tags/tag100.xml" ContentType="application/vnd.openxmlformats-officedocument.presentationml.tags+xml"/>
  <Override PartName="/ppt/tags/tag431.xml" ContentType="application/vnd.openxmlformats-officedocument.presentationml.tags+xml"/>
  <Override PartName="/ppt/tags/tag762.xml" ContentType="application/vnd.openxmlformats-officedocument.presentationml.tags+xml"/>
  <Override PartName="/ppt/slides/slide32.xml" ContentType="application/vnd.openxmlformats-officedocument.presentationml.slide+xml"/>
  <Override PartName="/ppt/tags/tag270.xml" ContentType="application/vnd.openxmlformats-officedocument.presentationml.tags+xml"/>
  <Override PartName="/ppt/tags/tag507.xml" ContentType="application/vnd.openxmlformats-officedocument.presentationml.tags+xml"/>
  <Override PartName="/ppt/tags/tag838.xml" ContentType="application/vnd.openxmlformats-officedocument.presentationml.tags+xml"/>
  <Override PartName="/ppt/tags/tag45.xml" ContentType="application/vnd.openxmlformats-officedocument.presentationml.tags+xml"/>
  <Override PartName="/ppt/tags/tag201.xml" ContentType="application/vnd.openxmlformats-officedocument.presentationml.tags+xml"/>
  <Override PartName="/ppt/tags/tag346.xml" ContentType="application/vnd.openxmlformats-officedocument.presentationml.tags+xml"/>
  <Override PartName="/ppt/tags/tag532.xml" ContentType="application/vnd.openxmlformats-officedocument.presentationml.tags+xml"/>
  <Override PartName="/ppt/tags/tag677.xml" ContentType="application/vnd.openxmlformats-officedocument.presentationml.tags+xml"/>
  <Override PartName="/ppt/tags/tag1025.xml" ContentType="application/vnd.openxmlformats-officedocument.presentationml.tags+xml"/>
  <Override PartName="/ppt/tags/tag185.xml" ContentType="application/vnd.openxmlformats-officedocument.presentationml.tags+xml"/>
  <Override PartName="/ppt/tags/tag371.xml" ContentType="application/vnd.openxmlformats-officedocument.presentationml.tags+xml"/>
  <Override PartName="/ppt/tags/tag86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608.xml" ContentType="application/vnd.openxmlformats-officedocument.presentationml.tags+xml"/>
  <Override PartName="/ppt/tags/tag939.xml" ContentType="application/vnd.openxmlformats-officedocument.presentationml.tags+xml"/>
  <Override PartName="/ppt/tags/tag1050.xml" ContentType="application/vnd.openxmlformats-officedocument.presentationml.tags+xml"/>
  <Override PartName="/ppt/tags/tag302.xml" ContentType="application/vnd.openxmlformats-officedocument.presentationml.tags+xml"/>
  <Override PartName="/ppt/tags/tag447.xml" ContentType="application/vnd.openxmlformats-officedocument.presentationml.tags+xml"/>
  <Override PartName="/ppt/tags/tag633.xml" ContentType="application/vnd.openxmlformats-officedocument.presentationml.tags+xml"/>
  <Override PartName="/ppt/tags/tag778.xml" ContentType="application/vnd.openxmlformats-officedocument.presentationml.tags+xml"/>
  <Override PartName="/ppt/tags/tag964.xml" ContentType="application/vnd.openxmlformats-officedocument.presentationml.tags+xml"/>
  <Override PartName="/ppt/tags/tag141.xml" ContentType="application/vnd.openxmlformats-officedocument.presentationml.tags+xml"/>
  <Override PartName="/ppt/tags/tag286.xml" ContentType="application/vnd.openxmlformats-officedocument.presentationml.tags+xml"/>
  <Override PartName="/ppt/tags/tag472.xml" ContentType="application/vnd.openxmlformats-officedocument.presentationml.tags+xml"/>
  <Override PartName="/ppt/tags/tag709.xml" ContentType="application/vnd.openxmlformats-officedocument.presentationml.tags+xml"/>
  <Override PartName="/ppt/tags/tag217.xml" ContentType="application/vnd.openxmlformats-officedocument.presentationml.tags+xml"/>
  <Override PartName="/ppt/tags/tag548.xml" ContentType="application/vnd.openxmlformats-officedocument.presentationml.tags+xml"/>
  <Override PartName="/ppt/tags/tag86.xml" ContentType="application/vnd.openxmlformats-officedocument.presentationml.tags+xml"/>
  <Override PartName="/ppt/tags/tag387.xml" ContentType="application/vnd.openxmlformats-officedocument.presentationml.tags+xml"/>
  <Override PartName="/ppt/tags/tag403.xml" ContentType="application/vnd.openxmlformats-officedocument.presentationml.tags+xml"/>
  <Override PartName="/ppt/tags/tag734.xml" ContentType="application/vnd.openxmlformats-officedocument.presentationml.tags+xml"/>
  <Override PartName="/ppt/tags/tag879.xml" ContentType="application/vnd.openxmlformats-officedocument.presentationml.tags+xml"/>
  <Override PartName="/ppt/tags/tag920.xml" ContentType="application/vnd.openxmlformats-officedocument.presentationml.tags+xml"/>
  <Override PartName="/ppt/tags/tag1066.xml" ContentType="application/vnd.openxmlformats-officedocument.presentationml.tags+xml"/>
  <Override PartName="/ppt/tags/tag242.xml" ContentType="application/vnd.openxmlformats-officedocument.presentationml.tags+xml"/>
  <Override PartName="/ppt/tags/tag573.xml" ContentType="application/vnd.openxmlformats-officedocument.presentationml.tags+xml"/>
  <Override PartName="/ppt/tags/tag17.xml" ContentType="application/vnd.openxmlformats-officedocument.presentationml.tags+xml"/>
  <Override PartName="/ppt/tags/tag318.xml" ContentType="application/vnd.openxmlformats-officedocument.presentationml.tags+xml"/>
  <Override PartName="/ppt/tags/tag504.xml" ContentType="application/vnd.openxmlformats-officedocument.presentationml.tags+xml"/>
  <Override PartName="/ppt/tags/tag649.xml" ContentType="application/vnd.openxmlformats-officedocument.presentationml.tags+xml"/>
  <Override PartName="/ppt/tags/tag157.xml" ContentType="application/vnd.openxmlformats-officedocument.presentationml.tags+xml"/>
  <Override PartName="/ppt/tags/tag343.xml" ContentType="application/vnd.openxmlformats-officedocument.presentationml.tags+xml"/>
  <Override PartName="/ppt/tags/tag488.xml" ContentType="application/vnd.openxmlformats-officedocument.presentationml.tags+xml"/>
  <Override PartName="/ppt/tags/tag835.xml" ContentType="application/vnd.openxmlformats-officedocument.presentationml.tags+xml"/>
  <Override PartName="/ppt/tags/tag1022.xml" ContentType="application/vnd.openxmlformats-officedocument.presentationml.tags+xml"/>
  <Override PartName="/ppt/tags/tag42.xml" ContentType="application/vnd.openxmlformats-officedocument.presentationml.tags+xml"/>
  <Override PartName="/ppt/tags/tag182.xml" ContentType="application/vnd.openxmlformats-officedocument.presentationml.tags+xml"/>
  <Override PartName="/ppt/tags/tag674.xml" ContentType="application/vnd.openxmlformats-officedocument.presentationml.tags+xml"/>
  <Override PartName="/ppt/tags/tag860.xml" ContentType="application/vnd.openxmlformats-officedocument.presentationml.tags+xml"/>
  <Override PartName="/ppt/tags/tag419.xml" ContentType="application/vnd.openxmlformats-officedocument.presentationml.tags+xml"/>
  <Override PartName="/ppt/tags/tag605.xml" ContentType="application/vnd.openxmlformats-officedocument.presentationml.tags+xml"/>
  <Override PartName="/ppt/tags/tag936.xml" ContentType="application/vnd.openxmlformats-officedocument.presentationml.tags+xml"/>
  <Override PartName="/ppt/tags/tag113.xml" ContentType="application/vnd.openxmlformats-officedocument.presentationml.tags+xml"/>
  <Override PartName="/ppt/tags/tag258.xml" ContentType="application/vnd.openxmlformats-officedocument.presentationml.tags+xml"/>
  <Override PartName="/ppt/tags/tag444.xml" ContentType="application/vnd.openxmlformats-officedocument.presentationml.tags+xml"/>
  <Override PartName="/ppt/tags/tag589.xml" ContentType="application/vnd.openxmlformats-officedocument.presentationml.tags+xml"/>
  <Override PartName="/ppt/tags/tag775.xml" ContentType="application/vnd.openxmlformats-officedocument.presentationml.tags+xml"/>
  <Override PartName="/ppt/tags/tag283.xml" ContentType="application/vnd.openxmlformats-officedocument.presentationml.tags+xml"/>
  <Override PartName="/ppt/tags/tag630.xml" ContentType="application/vnd.openxmlformats-officedocument.presentationml.tags+xml"/>
  <Override PartName="/ppt/tags/tag961.xml" ContentType="application/vnd.openxmlformats-officedocument.presentationml.tags+xml"/>
  <Override PartName="/ppt/tags/tag58.xml" ContentType="application/vnd.openxmlformats-officedocument.presentationml.tags+xml"/>
  <Override PartName="/ppt/tags/tag359.xml" ContentType="application/vnd.openxmlformats-officedocument.presentationml.tags+xml"/>
  <Override PartName="/ppt/tags/tag706.xml" ContentType="application/vnd.openxmlformats-officedocument.presentationml.tags+xml"/>
  <Override PartName="/ppt/tags/tag1038.xml" ContentType="application/vnd.openxmlformats-officedocument.presentationml.tags+xml"/>
  <Override PartName="/ppt/tags/tag198.xml" ContentType="application/vnd.openxmlformats-officedocument.presentationml.tags+xml"/>
  <Override PartName="/ppt/tags/tag214.xml" ContentType="application/vnd.openxmlformats-officedocument.presentationml.tags+xml"/>
  <Override PartName="/ppt/tags/tag400.xml" ContentType="application/vnd.openxmlformats-officedocument.presentationml.tags+xml"/>
  <Override PartName="/ppt/tags/tag545.xml" ContentType="application/vnd.openxmlformats-officedocument.presentationml.tags+xml"/>
  <Override PartName="/ppt/tags/tag731.xml" ContentType="application/vnd.openxmlformats-officedocument.presentationml.tags+xml"/>
  <Override PartName="/ppt/tags/tag876.xml" ContentType="application/vnd.openxmlformats-officedocument.presentationml.tags+xml"/>
  <Override PartName="/ppt/tags/tag83.xml" ContentType="application/vnd.openxmlformats-officedocument.presentationml.tags+xml"/>
  <Override PartName="/ppt/tags/tag384.xml" ContentType="application/vnd.openxmlformats-officedocument.presentationml.tags+xml"/>
  <Override PartName="/ppt/tags/tag570.xml" ContentType="application/vnd.openxmlformats-officedocument.presentationml.tags+xml"/>
  <Override PartName="/ppt/tags/tag807.xml" ContentType="application/vnd.openxmlformats-officedocument.presentationml.tags+xml"/>
  <Override PartName="/ppt/tags/tag1063.xml" ContentType="application/vnd.openxmlformats-officedocument.presentationml.tags+xml"/>
  <Override PartName="/ppt/tags/tag14.xml" ContentType="application/vnd.openxmlformats-officedocument.presentationml.tags+xml"/>
  <Override PartName="/ppt/tags/tag129.xml" ContentType="application/vnd.openxmlformats-officedocument.presentationml.tags+xml"/>
  <Override PartName="/ppt/tags/tag315.xml" ContentType="application/vnd.openxmlformats-officedocument.presentationml.tags+xml"/>
  <Override PartName="/ppt/tags/tag646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485.xml" ContentType="application/vnd.openxmlformats-officedocument.presentationml.tags+xml"/>
  <Override PartName="/ppt/tags/tag501.xml" ContentType="application/vnd.openxmlformats-officedocument.presentationml.tags+xml"/>
  <Override PartName="/ppt/tags/tag832.xml" ContentType="application/vnd.openxmlformats-officedocument.presentationml.tags+xml"/>
  <Override PartName="/ppt/tags/tag977.xml" ContentType="application/vnd.openxmlformats-officedocument.presentationml.tags+xml"/>
  <Override PartName="/ppt/tags/tag340.xml" ContentType="application/vnd.openxmlformats-officedocument.presentationml.tags+xml"/>
  <Override PartName="/ppt/tags/tag671.xml" ContentType="application/vnd.openxmlformats-officedocument.presentationml.tags+xml"/>
  <Override PartName="/ppt/tags/tag908.xml" ContentType="application/vnd.openxmlformats-officedocument.presentationml.tags+xml"/>
  <Override PartName="/ppt/tags/tag416.xml" ContentType="application/vnd.openxmlformats-officedocument.presentationml.tags+xml"/>
  <Override PartName="/ppt/tags/tag747.xml" ContentType="application/vnd.openxmlformats-officedocument.presentationml.tags+xml"/>
  <Override PartName="/ppt/slides/slide17.xml" ContentType="application/vnd.openxmlformats-officedocument.presentationml.slide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255.xml" ContentType="application/vnd.openxmlformats-officedocument.presentationml.tags+xml"/>
  <Override PartName="/ppt/tags/tag586.xml" ContentType="application/vnd.openxmlformats-officedocument.presentationml.tags+xml"/>
  <Override PartName="/ppt/tags/tag602.xml" ContentType="application/vnd.openxmlformats-officedocument.presentationml.tags+xml"/>
  <Override PartName="/ppt/tags/tag933.xml" ContentType="application/vnd.openxmlformats-officedocument.presentationml.tags+xml"/>
  <Override PartName="/ppt/tags/tag280.xml" ContentType="application/vnd.openxmlformats-officedocument.presentationml.tags+xml"/>
  <Override PartName="/ppt/tags/tag441.xml" ContentType="application/vnd.openxmlformats-officedocument.presentationml.tags+xml"/>
  <Override PartName="/ppt/tags/tag772.xml" ContentType="application/vnd.openxmlformats-officedocument.presentationml.tags+xml"/>
  <Override PartName="/ppt/tags/tag517.xml" ContentType="application/vnd.openxmlformats-officedocument.presentationml.tags+xml"/>
  <Override PartName="/ppt/tags/tag703.xml" ContentType="application/vnd.openxmlformats-officedocument.presentationml.tags+xml"/>
  <Override PartName="/ppt/tags/tag848.xml" ContentType="application/vnd.openxmlformats-officedocument.presentationml.tags+xml"/>
  <Override PartName="/ppt/tags/tag55.xml" ContentType="application/vnd.openxmlformats-officedocument.presentationml.tags+xml"/>
  <Override PartName="/ppt/tags/tag211.xml" ContentType="application/vnd.openxmlformats-officedocument.presentationml.tags+xml"/>
  <Override PartName="/ppt/tags/tag356.xml" ContentType="application/vnd.openxmlformats-officedocument.presentationml.tags+xml"/>
  <Override PartName="/ppt/tags/tag542.xml" ContentType="application/vnd.openxmlformats-officedocument.presentationml.tags+xml"/>
  <Override PartName="/ppt/tags/tag687.xml" ContentType="application/vnd.openxmlformats-officedocument.presentationml.tags+xml"/>
  <Override PartName="/ppt/tags/tag873.xml" ContentType="application/vnd.openxmlformats-officedocument.presentationml.tags+xml"/>
  <Override PartName="/ppt/tags/tag1035.xml" ContentType="application/vnd.openxmlformats-officedocument.presentationml.tags+xml"/>
  <Override PartName="/ppt/tags/tag80.xml" ContentType="application/vnd.openxmlformats-officedocument.presentationml.tags+xml"/>
  <Override PartName="/ppt/tags/tag195.xml" ContentType="application/vnd.openxmlformats-officedocument.presentationml.tags+xml"/>
  <Override PartName="/ppt/tags/tag381.xml" ContentType="application/vnd.openxmlformats-officedocument.presentationml.tags+xml"/>
  <Override PartName="/ppt/tags/tag618.xml" ContentType="application/vnd.openxmlformats-officedocument.presentationml.tags+xml"/>
  <Override PartName="/ppt/tags/tag1060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457.xml" ContentType="application/vnd.openxmlformats-officedocument.presentationml.tags+xml"/>
  <Override PartName="/ppt/tags/tag520.xml" ContentType="application/vnd.openxmlformats-officedocument.presentationml.tags+xml"/>
  <Override PartName="/ppt/tags/tag804.xml" ContentType="application/vnd.openxmlformats-officedocument.presentationml.tags+xml"/>
  <Override PartName="/ppt/tags/tag851.xml" ContentType="application/vnd.openxmlformats-officedocument.presentationml.tags+xml"/>
  <Override PartName="/ppt/tags/tag949.xml" ContentType="application/vnd.openxmlformats-officedocument.presentationml.tags+xml"/>
  <Override PartName="/ppt/tags/tag996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12.xml" ContentType="application/vnd.openxmlformats-officedocument.presentationml.tags+xml"/>
  <Override PartName="/ppt/tags/tag643.xml" ContentType="application/vnd.openxmlformats-officedocument.presentationml.tags+xml"/>
  <Override PartName="/ppt/tags/tag690.xml" ContentType="application/vnd.openxmlformats-officedocument.presentationml.tags+xml"/>
  <Override PartName="/ppt/tags/tag788.xml" ContentType="application/vnd.openxmlformats-officedocument.presentationml.tags+xml"/>
  <Override PartName="/ppt/tags/tag927.xml" ContentType="application/vnd.openxmlformats-officedocument.presentationml.tags+xml"/>
  <Override PartName="/ppt/tags/tag974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tags/tag435.xml" ContentType="application/vnd.openxmlformats-officedocument.presentationml.tags+xml"/>
  <Override PartName="/ppt/tags/tag482.xml" ContentType="application/vnd.openxmlformats-officedocument.presentationml.tags+xml"/>
  <Override PartName="/ppt/tags/tag621.xml" ContentType="application/vnd.openxmlformats-officedocument.presentationml.tags+xml"/>
  <Override PartName="/ppt/tags/tag719.xml" ContentType="application/vnd.openxmlformats-officedocument.presentationml.tags+xml"/>
  <Override PartName="/ppt/tags/tag766.xml" ContentType="application/vnd.openxmlformats-officedocument.presentationml.tags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13.xml" ContentType="application/vnd.openxmlformats-officedocument.presentationml.tags+xml"/>
  <Override PartName="/ppt/tags/tag460.xml" ContentType="application/vnd.openxmlformats-officedocument.presentationml.tags+xml"/>
  <Override PartName="/ppt/tags/tag558.xml" ContentType="application/vnd.openxmlformats-officedocument.presentationml.tags+xml"/>
  <Override PartName="/ppt/tags/tag889.xml" ContentType="application/vnd.openxmlformats-officedocument.presentationml.tags+xml"/>
  <Override PartName="/ppt/tags/tag905.xml" ContentType="application/vnd.openxmlformats-officedocument.presentationml.tags+xml"/>
  <Override PartName="/ppt/tags/tag952.xml" ContentType="application/vnd.openxmlformats-officedocument.presentationml.tag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tags/tag397.xml" ContentType="application/vnd.openxmlformats-officedocument.presentationml.tags+xml"/>
  <Override PartName="/ppt/tags/tag744.xml" ContentType="application/vnd.openxmlformats-officedocument.presentationml.tags+xml"/>
  <Override PartName="/ppt/tags/tag791.xml" ContentType="application/vnd.openxmlformats-officedocument.presentationml.tags+xml"/>
  <Override PartName="/ppt/tags/tag930.xml" ContentType="application/vnd.openxmlformats-officedocument.presentationml.tags+xml"/>
  <Override PartName="/ppt/tags/tag1029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89.xml" ContentType="application/vnd.openxmlformats-officedocument.presentationml.tags+xml"/>
  <Override PartName="/ppt/tags/tag536.xml" ContentType="application/vnd.openxmlformats-officedocument.presentationml.tags+xml"/>
  <Override PartName="/ppt/tags/tag583.xml" ContentType="application/vnd.openxmlformats-officedocument.presentationml.tags+xml"/>
  <Override PartName="/ppt/tags/tag722.xml" ContentType="application/vnd.openxmlformats-officedocument.presentationml.tags+xml"/>
  <Override PartName="/ppt/tags/tag867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tags/tag514.xml" ContentType="application/vnd.openxmlformats-officedocument.presentationml.tags+xml"/>
  <Override PartName="/ppt/tags/tag561.xml" ContentType="application/vnd.openxmlformats-officedocument.presentationml.tags+xml"/>
  <Override PartName="/ppt/tags/tag659.xml" ContentType="application/vnd.openxmlformats-officedocument.presentationml.tags+xml"/>
  <Override PartName="/ppt/tags/tag845.xml" ContentType="application/vnd.openxmlformats-officedocument.presentationml.tags+xml"/>
  <Override PartName="/ppt/tags/tag892.xml" ContentType="application/vnd.openxmlformats-officedocument.presentationml.tags+xml"/>
  <Override PartName="/ppt/tags/tag1007.xml" ContentType="application/vnd.openxmlformats-officedocument.presentationml.tags+xml"/>
  <Override PartName="/ppt/tags/tag1054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498.xml" ContentType="application/vnd.openxmlformats-officedocument.presentationml.tags+xml"/>
  <Override PartName="/ppt/tags/tag637.xml" ContentType="application/vnd.openxmlformats-officedocument.presentationml.tags+xml"/>
  <Override PartName="/ppt/tags/tag684.xml" ContentType="application/vnd.openxmlformats-officedocument.presentationml.tags+xml"/>
  <Override PartName="/ppt/tags/tag700.xml" ContentType="application/vnd.openxmlformats-officedocument.presentationml.tags+xml"/>
  <Override PartName="/ppt/tags/tag968.xml" ContentType="application/vnd.openxmlformats-officedocument.presentationml.tags+xml"/>
  <Override PartName="/ppt/tags/tag1032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429.xml" ContentType="application/vnd.openxmlformats-officedocument.presentationml.tags+xml"/>
  <Override PartName="/ppt/tags/tag476.xml" ContentType="application/vnd.openxmlformats-officedocument.presentationml.tags+xml"/>
  <Override PartName="/ppt/tags/tag823.xml" ContentType="application/vnd.openxmlformats-officedocument.presentationml.tags+xml"/>
  <Override PartName="/ppt/tags/tag870.xml" ContentType="application/vnd.openxmlformats-officedocument.presentationml.tags+xml"/>
  <Override PartName="/ppt/tags/tag30.xml" ContentType="application/vnd.openxmlformats-officedocument.presentationml.tags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tags/tag599.xml" ContentType="application/vnd.openxmlformats-officedocument.presentationml.tags+xml"/>
  <Override PartName="/ppt/tags/tag615.xml" ContentType="application/vnd.openxmlformats-officedocument.presentationml.tags+xml"/>
  <Override PartName="/ppt/tags/tag662.xml" ContentType="application/vnd.openxmlformats-officedocument.presentationml.tags+xml"/>
  <Override PartName="/ppt/tags/tag801.xml" ContentType="application/vnd.openxmlformats-officedocument.presentationml.tags+xml"/>
  <Override PartName="/ppt/tags/tag946.xml" ContentType="application/vnd.openxmlformats-officedocument.presentationml.tags+xml"/>
  <Override PartName="/ppt/tags/tag993.xml" ContentType="application/vnd.openxmlformats-officedocument.presentationml.tags+xml"/>
  <Override PartName="/ppt/tags/tag1010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407.xml" ContentType="application/vnd.openxmlformats-officedocument.presentationml.tags+xml"/>
  <Override PartName="/ppt/tags/tag454.xml" ContentType="application/vnd.openxmlformats-officedocument.presentationml.tags+xml"/>
  <Override PartName="/ppt/tags/tag640.xml" ContentType="application/vnd.openxmlformats-officedocument.presentationml.tags+xml"/>
  <Override PartName="/ppt/tags/tag738.xml" ContentType="application/vnd.openxmlformats-officedocument.presentationml.tags+xml"/>
  <Override PartName="/ppt/tags/tag785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tags/tag432.xml" ContentType="application/vnd.openxmlformats-officedocument.presentationml.tags+xml"/>
  <Override PartName="/ppt/tags/tag577.xml" ContentType="application/vnd.openxmlformats-officedocument.presentationml.tags+xml"/>
  <Override PartName="/ppt/tags/tag716.xml" ContentType="application/vnd.openxmlformats-officedocument.presentationml.tags+xml"/>
  <Override PartName="/ppt/tags/tag924.xml" ContentType="application/vnd.openxmlformats-officedocument.presentationml.tags+xml"/>
  <Override PartName="/ppt/tags/tag971.xml" ContentType="application/vnd.openxmlformats-officedocument.presentationml.tags+xml"/>
  <Override PartName="/ppt/slides/slide33.xml" ContentType="application/vnd.openxmlformats-officedocument.presentationml.slide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  <Override PartName="/ppt/tags/tag508.xml" ContentType="application/vnd.openxmlformats-officedocument.presentationml.tags+xml"/>
  <Override PartName="/ppt/tags/tag555.xml" ContentType="application/vnd.openxmlformats-officedocument.presentationml.tags+xml"/>
  <Override PartName="/ppt/tags/tag763.xml" ContentType="application/vnd.openxmlformats-officedocument.presentationml.tags+xml"/>
  <Override PartName="/ppt/tags/tag902.xml" ContentType="application/vnd.openxmlformats-officedocument.presentationml.tags+xml"/>
  <Override PartName="/ppt/tags/tag1048.xml" ContentType="application/vnd.openxmlformats-officedocument.presentationml.tags+xml"/>
  <Override PartName="/ppt/presentation.xml" ContentType="application/vnd.openxmlformats-officedocument.presentationml.presentation.main+xml"/>
  <Override PartName="/ppt/tags/tag347.xml" ContentType="application/vnd.openxmlformats-officedocument.presentationml.tags+xml"/>
  <Override PartName="/ppt/tags/tag394.xml" ContentType="application/vnd.openxmlformats-officedocument.presentationml.tags+xml"/>
  <Override PartName="/ppt/tags/tag410.xml" ContentType="application/vnd.openxmlformats-officedocument.presentationml.tags+xml"/>
  <Override PartName="/ppt/tags/tag741.xml" ContentType="application/vnd.openxmlformats-officedocument.presentationml.tags+xml"/>
  <Override PartName="/ppt/tags/tag839.xml" ContentType="application/vnd.openxmlformats-officedocument.presentationml.tags+xml"/>
  <Override PartName="/ppt/tags/tag886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tags/tag533.xml" ContentType="application/vnd.openxmlformats-officedocument.presentationml.tags+xml"/>
  <Override PartName="/ppt/tags/tag580.xml" ContentType="application/vnd.openxmlformats-officedocument.presentationml.tags+xml"/>
  <Override PartName="/ppt/tags/tag678.xml" ContentType="application/vnd.openxmlformats-officedocument.presentationml.tags+xml"/>
  <Override PartName="/ppt/tags/tag817.xml" ContentType="application/vnd.openxmlformats-officedocument.presentationml.tags+xml"/>
  <Override PartName="/ppt/tags/tag864.xml" ContentType="application/vnd.openxmlformats-officedocument.presentationml.tags+xml"/>
  <Override PartName="/ppt/tags/tag1026.xml" ContentType="application/vnd.openxmlformats-officedocument.presentationml.tags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tags/tag609.xml" ContentType="application/vnd.openxmlformats-officedocument.presentationml.tags+xml"/>
  <Override PartName="/ppt/tags/tag656.xml" ContentType="application/vnd.openxmlformats-officedocument.presentationml.tags+xml"/>
  <Override PartName="/ppt/tags/tag987.xml" ContentType="application/vnd.openxmlformats-officedocument.presentationml.tags+xml"/>
  <Override PartName="/ppt/tags/tag1004.xml" ContentType="application/vnd.openxmlformats-officedocument.presentationml.tags+xml"/>
  <Override PartName="/ppt/tags/tag1051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448.xml" ContentType="application/vnd.openxmlformats-officedocument.presentationml.tags+xml"/>
  <Override PartName="/ppt/tags/tag495.xml" ContentType="application/vnd.openxmlformats-officedocument.presentationml.tags+xml"/>
  <Override PartName="/ppt/tags/tag511.xml" ContentType="application/vnd.openxmlformats-officedocument.presentationml.tags+xml"/>
  <Override PartName="/ppt/tags/tag779.xml" ContentType="application/vnd.openxmlformats-officedocument.presentationml.tags+xml"/>
  <Override PartName="/ppt/tags/tag842.xml" ContentType="application/vnd.openxmlformats-officedocument.presentationml.tags+xml"/>
  <Override PartName="/ppt/tags/tag142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tags/tag634.xml" ContentType="application/vnd.openxmlformats-officedocument.presentationml.tags+xml"/>
  <Override PartName="/ppt/tags/tag681.xml" ContentType="application/vnd.openxmlformats-officedocument.presentationml.tags+xml"/>
  <Override PartName="/ppt/tags/tag820.xml" ContentType="application/vnd.openxmlformats-officedocument.presentationml.tags+xml"/>
  <Override PartName="/ppt/tags/tag918.xml" ContentType="application/vnd.openxmlformats-officedocument.presentationml.tags+xml"/>
  <Override PartName="/ppt/tags/tag965.xml" ContentType="application/vnd.openxmlformats-officedocument.presentationml.tags+xml"/>
  <Override PartName="/ppt/tags/tag426.xml" ContentType="application/vnd.openxmlformats-officedocument.presentationml.tags+xml"/>
  <Override PartName="/ppt/tags/tag473.xml" ContentType="application/vnd.openxmlformats-officedocument.presentationml.tags+xml"/>
  <Override PartName="/ppt/tags/tag612.xml" ContentType="application/vnd.openxmlformats-officedocument.presentationml.tags+xml"/>
  <Override PartName="/ppt/tags/tag757.xml" ContentType="application/vnd.openxmlformats-officedocument.presentationml.tags+xml"/>
  <Override PartName="/ppt/tags/tag943.xml" ContentType="application/vnd.openxmlformats-officedocument.presentationml.tags+xml"/>
  <Override PartName="/ppt/tags/tag990.xml" ContentType="application/vnd.openxmlformats-officedocument.presentationml.tags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18.xml" ContentType="application/vnd.openxmlformats-officedocument.presentationml.tags+xml"/>
  <Override PartName="/ppt/tags/tag265.xml" ContentType="application/vnd.openxmlformats-officedocument.presentationml.tags+xml"/>
  <Override PartName="/ppt/tags/tag404.xml" ContentType="application/vnd.openxmlformats-officedocument.presentationml.tags+xml"/>
  <Override PartName="/ppt/tags/tag451.xml" ContentType="application/vnd.openxmlformats-officedocument.presentationml.tags+xml"/>
  <Override PartName="/ppt/tags/tag549.xml" ContentType="application/vnd.openxmlformats-officedocument.presentationml.tags+xml"/>
  <Override PartName="/ppt/tags/tag596.xml" ContentType="application/vnd.openxmlformats-officedocument.presentationml.tags+xml"/>
  <Override PartName="/ppt/tags/tag735.xml" ContentType="application/vnd.openxmlformats-officedocument.presentationml.tags+xml"/>
  <Override PartName="/ppt/tags/tag782.xml" ContentType="application/vnd.openxmlformats-officedocument.presentationml.tags+xml"/>
  <Override PartName="/ppt/slides/slide2.xml" ContentType="application/vnd.openxmlformats-officedocument.presentationml.slide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388.xml" ContentType="application/vnd.openxmlformats-officedocument.presentationml.tags+xml"/>
  <Override PartName="/ppt/tags/tag527.xml" ContentType="application/vnd.openxmlformats-officedocument.presentationml.tags+xml"/>
  <Override PartName="/ppt/tags/tag574.xml" ContentType="application/vnd.openxmlformats-officedocument.presentationml.tags+xml"/>
  <Override PartName="/ppt/tags/tag921.xml" ContentType="application/vnd.openxmlformats-officedocument.presentationml.tags+xml"/>
  <Override PartName="/ppt/tags/tag1067.xml" ContentType="application/vnd.openxmlformats-officedocument.presentationml.tags+xml"/>
  <Override PartName="/ppt/tags/tag319.xml" ContentType="application/vnd.openxmlformats-officedocument.presentationml.tags+xml"/>
  <Override PartName="/ppt/tags/tag366.xml" ContentType="application/vnd.openxmlformats-officedocument.presentationml.tags+xml"/>
  <Override PartName="/ppt/tags/tag713.xml" ContentType="application/vnd.openxmlformats-officedocument.presentationml.tags+xml"/>
  <Override PartName="/ppt/tags/tag760.xml" ContentType="application/vnd.openxmlformats-officedocument.presentationml.tags+xml"/>
  <Override PartName="/ppt/tags/tag858.xml" ContentType="application/vnd.openxmlformats-officedocument.presentationml.tags+xml"/>
  <Override PartName="/ppt/tags/tag1045.xml" ContentType="application/vnd.openxmlformats-officedocument.presentationml.tags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221.xml" ContentType="application/vnd.openxmlformats-officedocument.presentationml.tags+xml"/>
  <Override PartName="/ppt/tags/tag505.xml" ContentType="application/vnd.openxmlformats-officedocument.presentationml.tags+xml"/>
  <Override PartName="/ppt/tags/tag552.xml" ContentType="application/vnd.openxmlformats-officedocument.presentationml.tags+xml"/>
  <Override PartName="/ppt/tags/tag697.xml" ContentType="application/vnd.openxmlformats-officedocument.presentationml.tags+xml"/>
  <Override PartName="/ppt/tags/tag836.xml" ContentType="application/vnd.openxmlformats-officedocument.presentationml.tags+xml"/>
  <Override PartName="/ppt/tags/tag883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344.xml" ContentType="application/vnd.openxmlformats-officedocument.presentationml.tags+xml"/>
  <Override PartName="/ppt/tags/tag391.xml" ContentType="application/vnd.openxmlformats-officedocument.presentationml.tags+xml"/>
  <Override PartName="/ppt/tags/tag489.xml" ContentType="application/vnd.openxmlformats-officedocument.presentationml.tags+xml"/>
  <Override PartName="/ppt/tags/tag530.xml" ContentType="application/vnd.openxmlformats-officedocument.presentationml.tags+xml"/>
  <Override PartName="/ppt/tags/tag628.xml" ContentType="application/vnd.openxmlformats-officedocument.presentationml.tags+xml"/>
  <Override PartName="/ppt/tags/tag675.xml" ContentType="application/vnd.openxmlformats-officedocument.presentationml.tags+xml"/>
  <Override PartName="/ppt/tags/tag959.xml" ContentType="application/vnd.openxmlformats-officedocument.presentationml.tags+xml"/>
  <Override PartName="/ppt/tags/tag1023.xml" ContentType="application/vnd.openxmlformats-officedocument.presentationml.tags+xml"/>
  <Override PartName="/ppt/tags/tag1070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467.xml" ContentType="application/vnd.openxmlformats-officedocument.presentationml.tags+xml"/>
  <Override PartName="/ppt/tags/tag798.xml" ContentType="application/vnd.openxmlformats-officedocument.presentationml.tags+xml"/>
  <Override PartName="/ppt/tags/tag814.xml" ContentType="application/vnd.openxmlformats-officedocument.presentationml.tags+xml"/>
  <Override PartName="/ppt/tags/tag861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61.xml" ContentType="application/vnd.openxmlformats-officedocument.presentationml.tags+xml"/>
  <Override PartName="/ppt/tags/tag259.xml" ContentType="application/vnd.openxmlformats-officedocument.presentationml.tags+xml"/>
  <Override PartName="/ppt/tags/tag606.xml" ContentType="application/vnd.openxmlformats-officedocument.presentationml.tags+xml"/>
  <Override PartName="/ppt/tags/tag653.xml" ContentType="application/vnd.openxmlformats-officedocument.presentationml.tags+xml"/>
  <Override PartName="/ppt/tags/tag937.xml" ContentType="application/vnd.openxmlformats-officedocument.presentationml.tags+xml"/>
  <Override PartName="/ppt/tags/tag984.xml" ContentType="application/vnd.openxmlformats-officedocument.presentationml.tags+xml"/>
  <Override PartName="/ppt/tags/tag1001.xml" ContentType="application/vnd.openxmlformats-officedocument.presentationml.tags+xml"/>
  <Override PartName="/ppt/tags/tag7.xml" ContentType="application/vnd.openxmlformats-officedocument.presentationml.tags+xml"/>
  <Override PartName="/ppt/tags/tag300.xml" ContentType="application/vnd.openxmlformats-officedocument.presentationml.tags+xml"/>
  <Override PartName="/ppt/tags/tag445.xml" ContentType="application/vnd.openxmlformats-officedocument.presentationml.tags+xml"/>
  <Override PartName="/ppt/tags/tag492.xml" ContentType="application/vnd.openxmlformats-officedocument.presentationml.tags+xml"/>
  <Override PartName="/ppt/tags/tag631.xml" ContentType="application/vnd.openxmlformats-officedocument.presentationml.tags+xml"/>
  <Override PartName="/ppt/tags/tag729.xml" ContentType="application/vnd.openxmlformats-officedocument.presentationml.tags+xml"/>
  <Override PartName="/ppt/tags/tag776.xml" ContentType="application/vnd.openxmlformats-officedocument.presentationml.tags+xml"/>
  <Override PartName="/ppt/tags/tag915.xml" ContentType="application/vnd.openxmlformats-officedocument.presentationml.tags+xml"/>
  <Override PartName="/ppt/tags/tag962.xml" ContentType="application/vnd.openxmlformats-officedocument.presentationml.tags+xml"/>
  <Override PartName="/ppt/tags/tag237.xml" ContentType="application/vnd.openxmlformats-officedocument.presentationml.tags+xml"/>
  <Override PartName="/ppt/tags/tag284.xml" ContentType="application/vnd.openxmlformats-officedocument.presentationml.tags+xml"/>
  <Override PartName="/ppt/tags/tag423.xml" ContentType="application/vnd.openxmlformats-officedocument.presentationml.tags+xml"/>
  <Override PartName="/ppt/tags/tag470.xml" ContentType="application/vnd.openxmlformats-officedocument.presentationml.tags+xml"/>
  <Override PartName="/ppt/tags/tag568.xml" ContentType="application/vnd.openxmlformats-officedocument.presentationml.tags+xml"/>
  <Override PartName="/ppt/tags/tag707.xml" ContentType="application/vnd.openxmlformats-officedocument.presentationml.tags+xml"/>
  <Override PartName="/ppt/tags/tag754.xml" ContentType="application/vnd.openxmlformats-officedocument.presentationml.tags+xml"/>
  <Override PartName="/ppt/tags/tag899.xml" ContentType="application/vnd.openxmlformats-officedocument.presentationml.tags+xml"/>
  <Override PartName="/ppt/slides/slide24.xml" ContentType="application/vnd.openxmlformats-officedocument.presentationml.slide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tags/tag546.xml" ContentType="application/vnd.openxmlformats-officedocument.presentationml.tags+xml"/>
  <Override PartName="/ppt/tags/tag593.xml" ContentType="application/vnd.openxmlformats-officedocument.presentationml.tags+xml"/>
  <Override PartName="/ppt/tags/tag877.xml" ContentType="application/vnd.openxmlformats-officedocument.presentationml.tags+xml"/>
  <Override PartName="/ppt/tags/tag940.xml" ContentType="application/vnd.openxmlformats-officedocument.presentationml.tags+xml"/>
  <Override PartName="/ppt/tags/tag1039.xml" ContentType="application/vnd.openxmlformats-officedocument.presentationml.tags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84.xml" ContentType="application/vnd.openxmlformats-officedocument.presentationml.tags+xml"/>
  <Override PartName="/ppt/tags/tag199.xml" ContentType="application/vnd.openxmlformats-officedocument.presentationml.tags+xml"/>
  <Override PartName="/ppt/tags/tag338.xml" ContentType="application/vnd.openxmlformats-officedocument.presentationml.tags+xml"/>
  <Override PartName="/ppt/tags/tag385.xml" ContentType="application/vnd.openxmlformats-officedocument.presentationml.tags+xml"/>
  <Override PartName="/ppt/tags/tag401.xml" ContentType="application/vnd.openxmlformats-officedocument.presentationml.tags+xml"/>
  <Override PartName="/ppt/tags/tag669.xml" ContentType="application/vnd.openxmlformats-officedocument.presentationml.tags+xml"/>
  <Override PartName="/ppt/tags/tag732.xml" ContentType="application/vnd.openxmlformats-officedocument.presentationml.tags+xml"/>
  <Override PartName="/ppt/tags/tag1017.xml" ContentType="application/vnd.openxmlformats-officedocument.presentationml.tags+xml"/>
  <Override PartName="/ppt/tags/tag1064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524.xml" ContentType="application/vnd.openxmlformats-officedocument.presentationml.tags+xml"/>
  <Override PartName="/ppt/tags/tag571.xml" ContentType="application/vnd.openxmlformats-officedocument.presentationml.tags+xml"/>
  <Override PartName="/ppt/tags/tag710.xml" ContentType="application/vnd.openxmlformats-officedocument.presentationml.tags+xml"/>
  <Override PartName="/ppt/tags/tag808.xml" ContentType="application/vnd.openxmlformats-officedocument.presentationml.tags+xml"/>
  <Override PartName="/ppt/tags/tag855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tags/tag502.xml" ContentType="application/vnd.openxmlformats-officedocument.presentationml.tags+xml"/>
  <Override PartName="/ppt/tags/tag647.xml" ContentType="application/vnd.openxmlformats-officedocument.presentationml.tags+xml"/>
  <Override PartName="/ppt/tags/tag694.xml" ContentType="application/vnd.openxmlformats-officedocument.presentationml.tags+xml"/>
  <Override PartName="/ppt/tags/tag978.xml" ContentType="application/vnd.openxmlformats-officedocument.presentationml.tags+xml"/>
  <Override PartName="/ppt/tags/tag1042.xml" ContentType="application/vnd.openxmlformats-officedocument.presentationml.tags+xml"/>
  <Override PartName="/ppt/tags/tag40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341.xml" ContentType="application/vnd.openxmlformats-officedocument.presentationml.tags+xml"/>
  <Override PartName="/ppt/tags/tag439.xml" ContentType="application/vnd.openxmlformats-officedocument.presentationml.tags+xml"/>
  <Override PartName="/ppt/tags/tag486.xml" ContentType="application/vnd.openxmlformats-officedocument.presentationml.tags+xml"/>
  <Override PartName="/ppt/tags/tag833.xml" ContentType="application/vnd.openxmlformats-officedocument.presentationml.tags+xml"/>
  <Override PartName="/ppt/tags/tag880.xml" ContentType="application/vnd.openxmlformats-officedocument.presentationml.tags+xml"/>
  <Override PartName="/ppt/tags/tag1020.xml" ContentType="application/vnd.openxmlformats-officedocument.presentationml.tags+xml"/>
  <Override PartName="/ppt/notesSlides/notesSlide6.xml" ContentType="application/vnd.openxmlformats-officedocument.presentationml.notesSlide+xml"/>
  <Override PartName="/ppt/tags/tag133.xml" ContentType="application/vnd.openxmlformats-officedocument.presentationml.tags+xml"/>
  <Override PartName="/ppt/tags/tag180.xml" ContentType="application/vnd.openxmlformats-officedocument.presentationml.tags+xml"/>
  <Override PartName="/ppt/tags/tag278.xml" ContentType="application/vnd.openxmlformats-officedocument.presentationml.tags+xml"/>
  <Override PartName="/ppt/tags/tag417.xml" ContentType="application/vnd.openxmlformats-officedocument.presentationml.tags+xml"/>
  <Override PartName="/ppt/tags/tag625.xml" ContentType="application/vnd.openxmlformats-officedocument.presentationml.tags+xml"/>
  <Override PartName="/ppt/tags/tag672.xml" ContentType="application/vnd.openxmlformats-officedocument.presentationml.tags+xml"/>
  <Override PartName="/ppt/tags/tag811.xml" ContentType="application/vnd.openxmlformats-officedocument.presentationml.tags+xml"/>
  <Override PartName="/ppt/tags/tag909.xml" ContentType="application/vnd.openxmlformats-officedocument.presentationml.tags+xml"/>
  <Override PartName="/ppt/tags/tag956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464.xml" ContentType="application/vnd.openxmlformats-officedocument.presentationml.tags+xml"/>
  <Override PartName="/ppt/tags/tag603.xml" ContentType="application/vnd.openxmlformats-officedocument.presentationml.tags+xml"/>
  <Override PartName="/ppt/tags/tag650.xml" ContentType="application/vnd.openxmlformats-officedocument.presentationml.tags+xml"/>
  <Override PartName="/ppt/tags/tag748.xml" ContentType="application/vnd.openxmlformats-officedocument.presentationml.tags+xml"/>
  <Override PartName="/ppt/tags/tag795.xml" ContentType="application/vnd.openxmlformats-officedocument.presentationml.tags+xml"/>
  <Override PartName="/ppt/tags/tag934.xml" ContentType="application/vnd.openxmlformats-officedocument.presentationml.tags+xml"/>
  <Override PartName="/ppt/tags/tag981.xml" ContentType="application/vnd.openxmlformats-officedocument.presentationml.tags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tags/tag111.xml" ContentType="application/vnd.openxmlformats-officedocument.presentationml.tags+xml"/>
  <Override PartName="/ppt/tags/tag442.xml" ContentType="application/vnd.openxmlformats-officedocument.presentationml.tags+xml"/>
  <Override PartName="/ppt/tags/tag587.xml" ContentType="application/vnd.openxmlformats-officedocument.presentationml.tags+xml"/>
  <Override PartName="/ppt/tags/tag726.xml" ContentType="application/vnd.openxmlformats-officedocument.presentationml.tags+xml"/>
  <Override PartName="/ppt/tags/tag773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379.xml" ContentType="application/vnd.openxmlformats-officedocument.presentationml.tags+xml"/>
  <Override PartName="/ppt/tags/tag518.xml" ContentType="application/vnd.openxmlformats-officedocument.presentationml.tags+xml"/>
  <Override PartName="/ppt/tags/tag565.xml" ContentType="application/vnd.openxmlformats-officedocument.presentationml.tags+xml"/>
  <Override PartName="/ppt/tags/tag849.xml" ContentType="application/vnd.openxmlformats-officedocument.presentationml.tags+xml"/>
  <Override PartName="/ppt/tags/tag896.xml" ContentType="application/vnd.openxmlformats-officedocument.presentationml.tags+xml"/>
  <Override PartName="/ppt/tags/tag912.xml" ContentType="application/vnd.openxmlformats-officedocument.presentationml.tags+xml"/>
  <Override PartName="/ppt/tags/tag1058.xml" ContentType="application/vnd.openxmlformats-officedocument.presentationml.tags+xml"/>
  <Override PartName="/ppt/tags/tag56.xml" ContentType="application/vnd.openxmlformats-officedocument.presentationml.tags+xml"/>
  <Override PartName="/ppt/tags/tag357.xml" ContentType="application/vnd.openxmlformats-officedocument.presentationml.tags+xml"/>
  <Override PartName="/ppt/tags/tag420.xml" ContentType="application/vnd.openxmlformats-officedocument.presentationml.tags+xml"/>
  <Override PartName="/ppt/tags/tag688.xml" ContentType="application/vnd.openxmlformats-officedocument.presentationml.tags+xml"/>
  <Override PartName="/ppt/tags/tag704.xml" ContentType="application/vnd.openxmlformats-officedocument.presentationml.tags+xml"/>
  <Override PartName="/ppt/tags/tag751.xml" ContentType="application/vnd.openxmlformats-officedocument.presentationml.tags+xml"/>
  <Override PartName="/ppt/tags/tag1036.xml" ContentType="application/vnd.openxmlformats-officedocument.presentationml.tags+xml"/>
  <Override PartName="/ppt/slides/slide21.xml" ContentType="application/vnd.openxmlformats-officedocument.presentationml.slide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12.xml" ContentType="application/vnd.openxmlformats-officedocument.presentationml.tags+xml"/>
  <Override PartName="/ppt/tags/tag543.xml" ContentType="application/vnd.openxmlformats-officedocument.presentationml.tags+xml"/>
  <Override PartName="/ppt/tags/tag590.xml" ContentType="application/vnd.openxmlformats-officedocument.presentationml.tags+xml"/>
  <Override PartName="/ppt/tags/tag827.xml" ContentType="application/vnd.openxmlformats-officedocument.presentationml.tags+xml"/>
  <Override PartName="/ppt/tags/tag874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335.xml" ContentType="application/vnd.openxmlformats-officedocument.presentationml.tags+xml"/>
  <Override PartName="/ppt/tags/tag382.xml" ContentType="application/vnd.openxmlformats-officedocument.presentationml.tags+xml"/>
  <Override PartName="/ppt/tags/tag521.xml" ContentType="application/vnd.openxmlformats-officedocument.presentationml.tags+xml"/>
  <Override PartName="/ppt/tags/tag619.xml" ContentType="application/vnd.openxmlformats-officedocument.presentationml.tags+xml"/>
  <Override PartName="/ppt/tags/tag666.xml" ContentType="application/vnd.openxmlformats-officedocument.presentationml.tags+xml"/>
  <Override PartName="/ppt/tags/tag805.xml" ContentType="application/vnd.openxmlformats-officedocument.presentationml.tags+xml"/>
  <Override PartName="/ppt/tags/tag852.xml" ContentType="application/vnd.openxmlformats-officedocument.presentationml.tags+xml"/>
  <Override PartName="/ppt/tags/tag997.xml" ContentType="application/vnd.openxmlformats-officedocument.presentationml.tags+xml"/>
  <Override PartName="/ppt/tags/tag1014.xml" ContentType="application/vnd.openxmlformats-officedocument.presentationml.tags+xml"/>
  <Override PartName="/ppt/tags/tag1061.xml" ContentType="application/vnd.openxmlformats-officedocument.presentationml.tags+xml"/>
  <Override PartName="/ppt/tags/tag12.xml" ContentType="application/vnd.openxmlformats-officedocument.presentationml.tags+xml"/>
  <Override PartName="/ppt/tags/tag127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tags/tag458.xml" ContentType="application/vnd.openxmlformats-officedocument.presentationml.tags+xml"/>
  <Override PartName="/ppt/tags/tag644.xml" ContentType="application/vnd.openxmlformats-officedocument.presentationml.tags+xml"/>
  <Override PartName="/ppt/tags/tag691.xml" ContentType="application/vnd.openxmlformats-officedocument.presentationml.tags+xml"/>
  <Override PartName="/ppt/tags/tag789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436.xml" ContentType="application/vnd.openxmlformats-officedocument.presentationml.tags+xml"/>
  <Override PartName="/ppt/tags/tag483.xml" ContentType="application/vnd.openxmlformats-officedocument.presentationml.tags+xml"/>
  <Override PartName="/ppt/tags/tag830.xml" ContentType="application/vnd.openxmlformats-officedocument.presentationml.tags+xml"/>
  <Override PartName="/ppt/tags/tag928.xml" ContentType="application/vnd.openxmlformats-officedocument.presentationml.tags+xml"/>
  <Override PartName="/ppt/tags/tag975.xml" ContentType="application/vnd.openxmlformats-officedocument.presentationml.tags+xml"/>
  <Override PartName="/ppt/tags/tag228.xml" ContentType="application/vnd.openxmlformats-officedocument.presentationml.tags+xml"/>
  <Override PartName="/ppt/tags/tag275.xml" ContentType="application/vnd.openxmlformats-officedocument.presentationml.tags+xml"/>
  <Override PartName="/ppt/notesSlides/notesSlide3.xml" ContentType="application/vnd.openxmlformats-officedocument.presentationml.notesSlide+xml"/>
  <Override PartName="/ppt/tags/tag622.xml" ContentType="application/vnd.openxmlformats-officedocument.presentationml.tags+xml"/>
  <Override PartName="/ppt/tags/tag767.xml" ContentType="application/vnd.openxmlformats-officedocument.presentationml.tags+xml"/>
  <Override PartName="/ppt/tags/tag906.xml" ContentType="application/vnd.openxmlformats-officedocument.presentationml.tags+xml"/>
  <Override PartName="/ppt/tags/tag953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414.xml" ContentType="application/vnd.openxmlformats-officedocument.presentationml.tags+xml"/>
  <Override PartName="/ppt/tags/tag461.xml" ContentType="application/vnd.openxmlformats-officedocument.presentationml.tags+xml"/>
  <Override PartName="/ppt/tags/tag559.xml" ContentType="application/vnd.openxmlformats-officedocument.presentationml.tags+xml"/>
  <Override PartName="/ppt/tags/tag600.xml" ContentType="application/vnd.openxmlformats-officedocument.presentationml.tags+xml"/>
  <Override PartName="/ppt/tags/tag745.xml" ContentType="application/vnd.openxmlformats-officedocument.presentationml.tags+xml"/>
  <Override PartName="/ppt/tags/tag792.xml" ContentType="application/vnd.openxmlformats-officedocument.presentationml.tags+xml"/>
  <Override PartName="/ppt/slides/slide15.xml" ContentType="application/vnd.openxmlformats-officedocument.presentationml.slide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398.xml" ContentType="application/vnd.openxmlformats-officedocument.presentationml.tags+xml"/>
  <Override PartName="/ppt/tags/tag537.xml" ContentType="application/vnd.openxmlformats-officedocument.presentationml.tags+xml"/>
  <Override PartName="/ppt/tags/tag584.xml" ContentType="application/vnd.openxmlformats-officedocument.presentationml.tags+xml"/>
  <Override PartName="/ppt/tags/tag868.xml" ContentType="application/vnd.openxmlformats-officedocument.presentationml.tags+xml"/>
  <Override PartName="/ppt/tags/tag931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231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  <Override PartName="/ppt/tags/tag723.xml" ContentType="application/vnd.openxmlformats-officedocument.presentationml.tags+xml"/>
  <Override PartName="/ppt/tags/tag770.xml" ContentType="application/vnd.openxmlformats-officedocument.presentationml.tags+xml"/>
  <Override PartName="/ppt/tags/tag1008.xml" ContentType="application/vnd.openxmlformats-officedocument.presentationml.tags+xml"/>
  <Override PartName="/ppt/tags/tag1055.xml" ContentType="application/vnd.openxmlformats-officedocument.presentationml.tags+xml"/>
  <Override PartName="/ppt/tags/tag168.xml" ContentType="application/vnd.openxmlformats-officedocument.presentationml.tags+xml"/>
  <Override PartName="/ppt/tags/tag499.xml" ContentType="application/vnd.openxmlformats-officedocument.presentationml.tags+xml"/>
  <Override PartName="/ppt/tags/tag515.xml" ContentType="application/vnd.openxmlformats-officedocument.presentationml.tags+xml"/>
  <Override PartName="/ppt/tags/tag562.xml" ContentType="application/vnd.openxmlformats-officedocument.presentationml.tags+xml"/>
  <Override PartName="/ppt/tags/tag701.xml" ContentType="application/vnd.openxmlformats-officedocument.presentationml.tags+xml"/>
  <Override PartName="/ppt/tags/tag846.xml" ContentType="application/vnd.openxmlformats-officedocument.presentationml.tags+xml"/>
  <Override PartName="/ppt/tags/tag893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307.xml" ContentType="application/vnd.openxmlformats-officedocument.presentationml.tags+xml"/>
  <Override PartName="/ppt/tags/tag354.xml" ContentType="application/vnd.openxmlformats-officedocument.presentationml.tags+xml"/>
  <Override PartName="/ppt/tags/tag540.xml" ContentType="application/vnd.openxmlformats-officedocument.presentationml.tags+xml"/>
  <Override PartName="/ppt/tags/tag638.xml" ContentType="application/vnd.openxmlformats-officedocument.presentationml.tags+xml"/>
  <Override PartName="/ppt/tags/tag685.xml" ContentType="application/vnd.openxmlformats-officedocument.presentationml.tags+xml"/>
  <Override PartName="/ppt/tags/tag824.xml" ContentType="application/vnd.openxmlformats-officedocument.presentationml.tags+xml"/>
  <Override PartName="/ppt/tags/tag871.xml" ContentType="application/vnd.openxmlformats-officedocument.presentationml.tags+xml"/>
  <Override PartName="/ppt/tags/tag969.xml" ContentType="application/vnd.openxmlformats-officedocument.presentationml.tags+xml"/>
  <Override PartName="/ppt/tags/tag1033.xml" ContentType="application/vnd.openxmlformats-officedocument.presentationml.tags+xml"/>
  <Override PartName="/ppt/tags/tag31.xml" ContentType="application/vnd.openxmlformats-officedocument.presentationml.tags+xml"/>
  <Override PartName="/ppt/tags/tag146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tags/tag477.xml" ContentType="application/vnd.openxmlformats-officedocument.presentationml.tags+xml"/>
  <Override PartName="/ppt/tags/tag616.xml" ContentType="application/vnd.openxmlformats-officedocument.presentationml.tags+xml"/>
  <Override PartName="/ppt/tags/tag663.xml" ContentType="application/vnd.openxmlformats-officedocument.presentationml.tags+xml"/>
  <Override PartName="/ppt/tags/tag1011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408.xml" ContentType="application/vnd.openxmlformats-officedocument.presentationml.tags+xml"/>
  <Override PartName="/ppt/tags/tag455.xml" ContentType="application/vnd.openxmlformats-officedocument.presentationml.tags+xml"/>
  <Override PartName="/ppt/tags/tag739.xml" ContentType="application/vnd.openxmlformats-officedocument.presentationml.tags+xml"/>
  <Override PartName="/ppt/tags/tag802.xml" ContentType="application/vnd.openxmlformats-officedocument.presentationml.tags+xml"/>
  <Override PartName="/ppt/tags/tag947.xml" ContentType="application/vnd.openxmlformats-officedocument.presentationml.tags+xml"/>
  <Override PartName="/ppt/tags/tag994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tags/tag247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tags/tag578.xml" ContentType="application/vnd.openxmlformats-officedocument.presentationml.tags+xml"/>
  <Override PartName="/ppt/tags/tag641.xml" ContentType="application/vnd.openxmlformats-officedocument.presentationml.tags+xml"/>
  <Override PartName="/ppt/tags/tag786.xml" ContentType="application/vnd.openxmlformats-officedocument.presentationml.tags+xml"/>
  <Override PartName="/ppt/tags/tag925.xml" ContentType="application/vnd.openxmlformats-officedocument.presentationml.tags+xml"/>
  <Override PartName="/ppt/tags/tag972.xml" ContentType="application/vnd.openxmlformats-officedocument.presentationml.tags+xml"/>
  <Override PartName="/ppt/slideMasters/slideMaster1.xml" ContentType="application/vnd.openxmlformats-officedocument.presentationml.slideMaster+xml"/>
  <Override PartName="/ppt/tags/tag102.xml" ContentType="application/vnd.openxmlformats-officedocument.presentationml.tags+xml"/>
  <Override PartName="/ppt/tags/tag433.xml" ContentType="application/vnd.openxmlformats-officedocument.presentationml.tags+xml"/>
  <Override PartName="/ppt/tags/tag480.xml" ContentType="application/vnd.openxmlformats-officedocument.presentationml.tags+xml"/>
  <Override PartName="/ppt/tags/tag717.xml" ContentType="application/vnd.openxmlformats-officedocument.presentationml.tags+xml"/>
  <Override PartName="/ppt/tags/tag764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411.xml" ContentType="application/vnd.openxmlformats-officedocument.presentationml.tags+xml"/>
  <Override PartName="/ppt/tags/tag509.xml" ContentType="application/vnd.openxmlformats-officedocument.presentationml.tags+xml"/>
  <Override PartName="/ppt/tags/tag556.xml" ContentType="application/vnd.openxmlformats-officedocument.presentationml.tags+xml"/>
  <Override PartName="/ppt/tags/tag887.xml" ContentType="application/vnd.openxmlformats-officedocument.presentationml.tags+xml"/>
  <Override PartName="/ppt/tags/tag903.xml" ContentType="application/vnd.openxmlformats-officedocument.presentationml.tags+xml"/>
  <Override PartName="/ppt/tags/tag950.xml" ContentType="application/vnd.openxmlformats-officedocument.presentationml.tags+xml"/>
  <Override PartName="/ppt/tags/tag1049.xml" ContentType="application/vnd.openxmlformats-officedocument.presentationml.tags+xml"/>
  <Default Extension="rels" ContentType="application/vnd.openxmlformats-package.relationships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203.xml" ContentType="application/vnd.openxmlformats-officedocument.presentationml.tags+xml"/>
  <Override PartName="/ppt/tags/tag250.xml" ContentType="application/vnd.openxmlformats-officedocument.presentationml.tags+xml"/>
  <Override PartName="/ppt/tags/tag348.xml" ContentType="application/vnd.openxmlformats-officedocument.presentationml.tags+xml"/>
  <Override PartName="/ppt/tags/tag395.xml" ContentType="application/vnd.openxmlformats-officedocument.presentationml.tags+xml"/>
  <Override PartName="/ppt/tags/tag679.xml" ContentType="application/vnd.openxmlformats-officedocument.presentationml.tags+xml"/>
  <Override PartName="/ppt/tags/tag742.xml" ContentType="application/vnd.openxmlformats-officedocument.presentationml.tags+xml"/>
  <Override PartName="/ppt/tags/tag1027.xml" ContentType="application/vnd.openxmlformats-officedocument.presentationml.tags+xml"/>
  <Override PartName="/ppt/slides/slide12.xml" ContentType="application/vnd.openxmlformats-officedocument.presentationml.slide+xml"/>
  <Override PartName="/ppt/tags/tag187.xml" ContentType="application/vnd.openxmlformats-officedocument.presentationml.tags+xml"/>
  <Override PartName="/ppt/tags/tag534.xml" ContentType="application/vnd.openxmlformats-officedocument.presentationml.tags+xml"/>
  <Override PartName="/ppt/tags/tag581.xml" ContentType="application/vnd.openxmlformats-officedocument.presentationml.tags+xml"/>
  <Override PartName="/ppt/tags/tag720.xml" ContentType="application/vnd.openxmlformats-officedocument.presentationml.tags+xml"/>
  <Override PartName="/ppt/tags/tag818.xml" ContentType="application/vnd.openxmlformats-officedocument.presentationml.tags+xml"/>
  <Override PartName="/ppt/tags/tag865.xml" ContentType="application/vnd.openxmlformats-officedocument.presentationml.tags+xml"/>
  <Override PartName="/ppt/tags/tag25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65.xml" ContentType="application/vnd.openxmlformats-officedocument.presentationml.tags+xml"/>
  <Override PartName="/ppt/tags/tag326.xml" ContentType="application/vnd.openxmlformats-officedocument.presentationml.tags+xml"/>
  <Override PartName="/ppt/tags/tag373.xml" ContentType="application/vnd.openxmlformats-officedocument.presentationml.tags+xml"/>
  <Override PartName="/ppt/tags/tag512.xml" ContentType="application/vnd.openxmlformats-officedocument.presentationml.tags+xml"/>
  <Override PartName="/ppt/tags/tag657.xml" ContentType="application/vnd.openxmlformats-officedocument.presentationml.tags+xml"/>
  <Override PartName="/ppt/tags/tag843.xml" ContentType="application/vnd.openxmlformats-officedocument.presentationml.tags+xml"/>
  <Override PartName="/ppt/tags/tag890.xml" ContentType="application/vnd.openxmlformats-officedocument.presentationml.tags+xml"/>
  <Override PartName="/ppt/tags/tag988.xml" ContentType="application/vnd.openxmlformats-officedocument.presentationml.tags+xml"/>
  <Override PartName="/ppt/tags/tag1005.xml" ContentType="application/vnd.openxmlformats-officedocument.presentationml.tags+xml"/>
  <Override PartName="/ppt/tags/tag1052.xml" ContentType="application/vnd.openxmlformats-officedocument.presentationml.tags+xml"/>
  <Override PartName="/ppt/tags/tag50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tags/tag449.xml" ContentType="application/vnd.openxmlformats-officedocument.presentationml.tags+xml"/>
  <Override PartName="/ppt/tags/tag496.xml" ContentType="application/vnd.openxmlformats-officedocument.presentationml.tags+xml"/>
  <Override PartName="/ppt/tags/tag635.xml" ContentType="application/vnd.openxmlformats-officedocument.presentationml.tags+xml"/>
  <Override PartName="/ppt/tags/tag682.xml" ContentType="application/vnd.openxmlformats-officedocument.presentationml.tags+xml"/>
  <Override PartName="/ppt/tags/tag919.xml" ContentType="application/vnd.openxmlformats-officedocument.presentationml.tags+xml"/>
  <Override PartName="/ppt/tags/tag966.xml" ContentType="application/vnd.openxmlformats-officedocument.presentationml.tags+xml"/>
  <Override PartName="/ppt/tags/tag1030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88.xml" ContentType="application/vnd.openxmlformats-officedocument.presentationml.tags+xml"/>
  <Override PartName="/ppt/tags/tag427.xml" ContentType="application/vnd.openxmlformats-officedocument.presentationml.tags+xml"/>
  <Override PartName="/ppt/tags/tag474.xml" ContentType="application/vnd.openxmlformats-officedocument.presentationml.tags+xml"/>
  <Override PartName="/ppt/tags/tag758.xml" ContentType="application/vnd.openxmlformats-officedocument.presentationml.tags+xml"/>
  <Override PartName="/ppt/tags/tag821.xml" ContentType="application/vnd.openxmlformats-officedocument.presentationml.tags+xml"/>
  <Override PartName="/ppt/slides/slide28.xml" ContentType="application/vnd.openxmlformats-officedocument.presentationml.slide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tags/tag597.xml" ContentType="application/vnd.openxmlformats-officedocument.presentationml.tags+xml"/>
  <Override PartName="/ppt/tags/tag613.xml" ContentType="application/vnd.openxmlformats-officedocument.presentationml.tags+xml"/>
  <Override PartName="/ppt/tags/tag660.xml" ContentType="application/vnd.openxmlformats-officedocument.presentationml.tags+xml"/>
  <Override PartName="/ppt/tags/tag944.xml" ContentType="application/vnd.openxmlformats-officedocument.presentationml.tags+xml"/>
  <Override PartName="/ppt/tags/tag991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121.xml" ContentType="application/vnd.openxmlformats-officedocument.presentationml.tags+xml"/>
  <Override PartName="/ppt/tags/tag389.xml" ContentType="application/vnd.openxmlformats-officedocument.presentationml.tags+xml"/>
  <Override PartName="/ppt/tags/tag405.xml" ContentType="application/vnd.openxmlformats-officedocument.presentationml.tags+xml"/>
  <Override PartName="/ppt/tags/tag452.xml" ContentType="application/vnd.openxmlformats-officedocument.presentationml.tags+xml"/>
  <Override PartName="/ppt/tags/tag736.xml" ContentType="application/vnd.openxmlformats-officedocument.presentationml.tags+xml"/>
  <Override PartName="/ppt/tags/tag783.xml" ContentType="application/vnd.openxmlformats-officedocument.presentationml.tags+xml"/>
  <Override PartName="/ppt/tags/tag922.xml" ContentType="application/vnd.openxmlformats-officedocument.presentationml.tags+xml"/>
  <Override PartName="/ppt/tags/tag1068.xml" ContentType="application/vnd.openxmlformats-officedocument.presentationml.tags+xml"/>
  <Default Extension="jpeg" ContentType="image/jpeg"/>
  <Override PartName="/ppt/tags/tag88.xml" ContentType="application/vnd.openxmlformats-officedocument.presentationml.tags+xml"/>
  <Override PartName="/ppt/tags/tag244.xml" ContentType="application/vnd.openxmlformats-officedocument.presentationml.tags+xml"/>
  <Override PartName="/ppt/tags/tag291.xml" ContentType="application/vnd.openxmlformats-officedocument.presentationml.tags+xml"/>
  <Override PartName="/ppt/tags/tag430.xml" ContentType="application/vnd.openxmlformats-officedocument.presentationml.tags+xml"/>
  <Override PartName="/ppt/tags/tag528.xml" ContentType="application/vnd.openxmlformats-officedocument.presentationml.tags+xml"/>
  <Override PartName="/ppt/tags/tag575.xml" ContentType="application/vnd.openxmlformats-officedocument.presentationml.tags+xml"/>
  <Override PartName="/ppt/tags/tag714.xml" ContentType="application/vnd.openxmlformats-officedocument.presentationml.tags+xml"/>
  <Override PartName="/ppt/tags/tag761.xml" ContentType="application/vnd.openxmlformats-officedocument.presentationml.tags+xml"/>
  <Override PartName="/ppt/tags/tag859.xml" ContentType="application/vnd.openxmlformats-officedocument.presentationml.tags+xml"/>
  <Override PartName="/ppt/slides/slide31.xml" ContentType="application/vnd.openxmlformats-officedocument.presentationml.slide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tags/tag506.xml" ContentType="application/vnd.openxmlformats-officedocument.presentationml.tags+xml"/>
  <Override PartName="/ppt/tags/tag553.xml" ContentType="application/vnd.openxmlformats-officedocument.presentationml.tags+xml"/>
  <Override PartName="/ppt/tags/tag698.xml" ContentType="application/vnd.openxmlformats-officedocument.presentationml.tags+xml"/>
  <Override PartName="/ppt/tags/tag900.xml" ContentType="application/vnd.openxmlformats-officedocument.presentationml.tags+xml"/>
  <Override PartName="/ppt/tags/tag1046.xml" ContentType="application/vnd.openxmlformats-officedocument.presentationml.tags+xml"/>
  <Override PartName="/ppt/tags/tag159.xml" ContentType="application/vnd.openxmlformats-officedocument.presentationml.tags+xml"/>
  <Override PartName="/ppt/tags/tag345.xml" ContentType="application/vnd.openxmlformats-officedocument.presentationml.tags+xml"/>
  <Override PartName="/ppt/tags/tag392.xml" ContentType="application/vnd.openxmlformats-officedocument.presentationml.tags+xml"/>
  <Override PartName="/ppt/tags/tag837.xml" ContentType="application/vnd.openxmlformats-officedocument.presentationml.tags+xml"/>
  <Override PartName="/ppt/tags/tag884.xml" ContentType="application/vnd.openxmlformats-officedocument.presentationml.tags+xml"/>
  <Override PartName="/ppt/tags/tag1024.xml" ContentType="application/vnd.openxmlformats-officedocument.presentationml.tags+xml"/>
  <Override PartName="/ppt/tags/tag44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84.xml" ContentType="application/vnd.openxmlformats-officedocument.presentationml.tags+xml"/>
  <Override PartName="/ppt/tags/tag200.xml" ContentType="application/vnd.openxmlformats-officedocument.presentationml.tags+xml"/>
  <Override PartName="/ppt/tags/tag531.xml" ContentType="application/vnd.openxmlformats-officedocument.presentationml.tags+xml"/>
  <Override PartName="/ppt/tags/tag629.xml" ContentType="application/vnd.openxmlformats-officedocument.presentationml.tags+xml"/>
  <Override PartName="/ppt/tags/tag676.xml" ContentType="application/vnd.openxmlformats-officedocument.presentationml.tags+xml"/>
  <Override PartName="/ppt/tags/tag815.xml" ContentType="application/vnd.openxmlformats-officedocument.presentationml.tags+xml"/>
  <Override PartName="/ppt/tags/tag862.xml" ContentType="application/vnd.openxmlformats-officedocument.presentationml.tags+xml"/>
  <Override PartName="/ppt/tags/tag22.xml" ContentType="application/vnd.openxmlformats-officedocument.presentationml.tags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tags/tag468.xml" ContentType="application/vnd.openxmlformats-officedocument.presentationml.tags+xml"/>
  <Override PartName="/ppt/tags/tag607.xml" ContentType="application/vnd.openxmlformats-officedocument.presentationml.tags+xml"/>
  <Override PartName="/ppt/tags/tag654.xml" ContentType="application/vnd.openxmlformats-officedocument.presentationml.tags+xml"/>
  <Override PartName="/ppt/tags/tag799.xml" ContentType="application/vnd.openxmlformats-officedocument.presentationml.tags+xml"/>
  <Override PartName="/ppt/tags/tag938.xml" ContentType="application/vnd.openxmlformats-officedocument.presentationml.tags+xml"/>
  <Override PartName="/ppt/tags/tag985.xml" ContentType="application/vnd.openxmlformats-officedocument.presentationml.tags+xml"/>
  <Override PartName="/ppt/tags/tag1002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301.xml" ContentType="application/vnd.openxmlformats-officedocument.presentationml.tags+xml"/>
  <Override PartName="/ppt/tags/tag446.xml" ContentType="application/vnd.openxmlformats-officedocument.presentationml.tags+xml"/>
  <Override PartName="/ppt/tags/tag493.xml" ContentType="application/vnd.openxmlformats-officedocument.presentationml.tags+xml"/>
  <Override PartName="/ppt/tags/tag777.xml" ContentType="application/vnd.openxmlformats-officedocument.presentationml.tags+xml"/>
  <Override PartName="/ppt/tags/tag840.xml" ContentType="application/vnd.openxmlformats-officedocument.presentationml.tags+xml"/>
  <Override PartName="/ppt/tags/tag140.xml" ContentType="application/vnd.openxmlformats-officedocument.presentationml.tags+xml"/>
  <Override PartName="/ppt/tags/tag285.xml" ContentType="application/vnd.openxmlformats-officedocument.presentationml.tags+xml"/>
  <Override PartName="/ppt/tags/tag632.xml" ContentType="application/vnd.openxmlformats-officedocument.presentationml.tags+xml"/>
  <Override PartName="/ppt/tags/tag963.xml" ContentType="application/vnd.openxmlformats-officedocument.presentationml.tags+xml"/>
  <Override PartName="/ppt/tags/tag471.xml" ContentType="application/vnd.openxmlformats-officedocument.presentationml.tags+xml"/>
  <Override PartName="/ppt/tags/tag708.xml" ContentType="application/vnd.openxmlformats-officedocument.presentationml.tags+xml"/>
  <Override PartName="/ppt/tags/tag216.xml" ContentType="application/vnd.openxmlformats-officedocument.presentationml.tags+xml"/>
  <Override PartName="/ppt/tags/tag402.xml" ContentType="application/vnd.openxmlformats-officedocument.presentationml.tags+xml"/>
  <Override PartName="/ppt/tags/tag547.xml" ContentType="application/vnd.openxmlformats-officedocument.presentationml.tags+xml"/>
  <Override PartName="/ppt/tags/tag733.xml" ContentType="application/vnd.openxmlformats-officedocument.presentationml.tags+xml"/>
  <Override PartName="/ppt/tags/tag878.xml" ContentType="application/vnd.openxmlformats-officedocument.presentationml.tags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tags/tag386.xml" ContentType="application/vnd.openxmlformats-officedocument.presentationml.tags+xml"/>
  <Override PartName="/ppt/tags/tag572.xml" ContentType="application/vnd.openxmlformats-officedocument.presentationml.tags+xml"/>
  <Override PartName="/ppt/tags/tag1065.xml" ContentType="application/vnd.openxmlformats-officedocument.presentationml.tags+xml"/>
  <Override PartName="/ppt/tags/tag16.xml" ContentType="application/vnd.openxmlformats-officedocument.presentationml.tags+xml"/>
  <Override PartName="/ppt/tags/tag317.xml" ContentType="application/vnd.openxmlformats-officedocument.presentationml.tags+xml"/>
  <Override PartName="/ppt/tags/tag809.xml" ContentType="application/vnd.openxmlformats-officedocument.presentationml.tags+xml"/>
  <Override PartName="/ppt/tags/tag156.xml" ContentType="application/vnd.openxmlformats-officedocument.presentationml.tags+xml"/>
  <Override PartName="/ppt/tags/tag487.xml" ContentType="application/vnd.openxmlformats-officedocument.presentationml.tags+xml"/>
  <Override PartName="/ppt/tags/tag503.xml" ContentType="application/vnd.openxmlformats-officedocument.presentationml.tags+xml"/>
  <Override PartName="/ppt/tags/tag648.xml" ContentType="application/vnd.openxmlformats-officedocument.presentationml.tags+xml"/>
  <Override PartName="/ppt/tags/tag834.xml" ContentType="application/vnd.openxmlformats-officedocument.presentationml.tags+xml"/>
  <Override PartName="/ppt/tags/tag979.xml" ContentType="application/vnd.openxmlformats-officedocument.presentationml.tags+xml"/>
  <Override PartName="/ppt/tags/tag41.xml" ContentType="application/vnd.openxmlformats-officedocument.presentationml.tags+xml"/>
  <Override PartName="/ppt/tags/tag342.xml" ContentType="application/vnd.openxmlformats-officedocument.presentationml.tags+xml"/>
  <Override PartName="/ppt/tags/tag673.xml" ContentType="application/vnd.openxmlformats-officedocument.presentationml.tags+xml"/>
  <Override PartName="/ppt/tags/tag1021.xml" ContentType="application/vnd.openxmlformats-officedocument.presentationml.tags+xml"/>
  <Override PartName="/ppt/tags/tag181.xml" ContentType="application/vnd.openxmlformats-officedocument.presentationml.tags+xml"/>
  <Override PartName="/ppt/tags/tag418.xml" ContentType="application/vnd.openxmlformats-officedocument.presentationml.tags+xml"/>
  <Override PartName="/ppt/tags/tag749.xml" ContentType="application/vnd.openxmlformats-officedocument.presentationml.tags+xml"/>
  <Override PartName="/ppt/slides/slide19.xml" ContentType="application/vnd.openxmlformats-officedocument.presentationml.slide+xml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tags/tag588.xml" ContentType="application/vnd.openxmlformats-officedocument.presentationml.tags+xml"/>
  <Override PartName="/ppt/tags/tag604.xml" ContentType="application/vnd.openxmlformats-officedocument.presentationml.tags+xml"/>
  <Override PartName="/ppt/tags/tag935.xml" ContentType="application/vnd.openxmlformats-officedocument.presentationml.tags+xml"/>
  <Override PartName="/ppt/theme/theme2.xml" ContentType="application/vnd.openxmlformats-officedocument.theme+xml"/>
  <Override PartName="/ppt/tags/tag443.xml" ContentType="application/vnd.openxmlformats-officedocument.presentationml.tags+xml"/>
  <Override PartName="/ppt/tags/tag774.xml" ContentType="application/vnd.openxmlformats-officedocument.presentationml.tags+xml"/>
  <Override PartName="/ppt/tags/tag960.xml" ContentType="application/vnd.openxmlformats-officedocument.presentationml.tags+xml"/>
  <Default Extension="emf" ContentType="image/x-emf"/>
  <Override PartName="/ppt/tags/tag282.xml" ContentType="application/vnd.openxmlformats-officedocument.presentationml.tags+xml"/>
  <Override PartName="/ppt/tags/tag519.xml" ContentType="application/vnd.openxmlformats-officedocument.presentationml.tags+xml"/>
  <Override PartName="/ppt/tags/tag705.xml" ContentType="application/vnd.openxmlformats-officedocument.presentationml.tags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358.xml" ContentType="application/vnd.openxmlformats-officedocument.presentationml.tags+xml"/>
  <Override PartName="/ppt/tags/tag544.xml" ContentType="application/vnd.openxmlformats-officedocument.presentationml.tags+xml"/>
  <Override PartName="/ppt/tags/tag689.xml" ContentType="application/vnd.openxmlformats-officedocument.presentationml.tags+xml"/>
  <Override PartName="/ppt/tags/tag875.xml" ContentType="application/vnd.openxmlformats-officedocument.presentationml.tags+xml"/>
  <Override PartName="/ppt/tags/tag1037.xml" ContentType="application/vnd.openxmlformats-officedocument.presentationml.tags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tags/tag383.xml" ContentType="application/vnd.openxmlformats-officedocument.presentationml.tags+xml"/>
  <Override PartName="/ppt/tags/tag730.xml" ContentType="application/vnd.openxmlformats-officedocument.presentationml.tags+xml"/>
  <Override PartName="/ppt/tags/tag1062.xml" ContentType="application/vnd.openxmlformats-officedocument.presentationml.tags+xml"/>
  <Override PartName="/ppt/tags/tag128.xml" ContentType="application/vnd.openxmlformats-officedocument.presentationml.tags+xml"/>
  <Override PartName="/ppt/tags/tag459.xml" ContentType="application/vnd.openxmlformats-officedocument.presentationml.tags+xml"/>
  <Override PartName="/ppt/tags/tag806.xml" ContentType="application/vnd.openxmlformats-officedocument.presentationml.tags+xml"/>
  <Override PartName="/ppt/tags/tag13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500.xml" ContentType="application/vnd.openxmlformats-officedocument.presentationml.tags+xml"/>
  <Override PartName="/ppt/tags/tag645.xml" ContentType="application/vnd.openxmlformats-officedocument.presentationml.tags+xml"/>
  <Override PartName="/ppt/tags/tag831.xml" ContentType="application/vnd.openxmlformats-officedocument.presentationml.tags+xml"/>
  <Override PartName="/ppt/tags/tag976.xml" ContentType="application/vnd.openxmlformats-officedocument.presentationml.tags+xml"/>
  <Override PartName="/ppt/tags/tag153.xml" ContentType="application/vnd.openxmlformats-officedocument.presentationml.tags+xml"/>
  <Override PartName="/ppt/tags/tag484.xml" ContentType="application/vnd.openxmlformats-officedocument.presentationml.tags+xml"/>
  <Override PartName="/ppt/tags/tag670.xml" ContentType="application/vnd.openxmlformats-officedocument.presentationml.tags+xml"/>
  <Override PartName="/ppt/tags/tag229.xml" ContentType="application/vnd.openxmlformats-officedocument.presentationml.tags+xml"/>
  <Override PartName="/ppt/tags/tag415.xml" ContentType="application/vnd.openxmlformats-officedocument.presentationml.tags+xml"/>
  <Override PartName="/ppt/tags/tag907.xml" ContentType="application/vnd.openxmlformats-officedocument.presentationml.tags+xml"/>
  <Override PartName="/ppt/tags/tag98.xml" ContentType="application/vnd.openxmlformats-officedocument.presentationml.tags+xml"/>
  <Override PartName="/ppt/tags/tag254.xml" ContentType="application/vnd.openxmlformats-officedocument.presentationml.tags+xml"/>
  <Override PartName="/ppt/tags/tag399.xml" ContentType="application/vnd.openxmlformats-officedocument.presentationml.tags+xml"/>
  <Override PartName="/ppt/tags/tag601.xml" ContentType="application/vnd.openxmlformats-officedocument.presentationml.tags+xml"/>
  <Override PartName="/ppt/tags/tag746.xml" ContentType="application/vnd.openxmlformats-officedocument.presentationml.tags+xml"/>
  <Override PartName="/ppt/tags/tag932.xml" ContentType="application/vnd.openxmlformats-officedocument.presentationml.tags+xml"/>
  <Override PartName="/ppt/slides/slide16.xml" ContentType="application/vnd.openxmlformats-officedocument.presentationml.slide+xml"/>
  <Override PartName="/ppt/tags/tag440.xml" ContentType="application/vnd.openxmlformats-officedocument.presentationml.tags+xml"/>
  <Override PartName="/ppt/tags/tag585.xml" ContentType="application/vnd.openxmlformats-officedocument.presentationml.tags+xml"/>
  <Override PartName="/ppt/tags/tag771.xml" ContentType="application/vnd.openxmlformats-officedocument.presentationml.tags+xml"/>
  <Override PartName="/ppt/tags/tag29.xml" ContentType="application/vnd.openxmlformats-officedocument.presentationml.tags+xml"/>
  <Override PartName="/ppt/tags/tag516.xml" ContentType="application/vnd.openxmlformats-officedocument.presentationml.tags+xml"/>
  <Override PartName="/ppt/tags/tag847.xml" ContentType="application/vnd.openxmlformats-officedocument.presentationml.tags+xml"/>
  <Override PartName="/ppt/tags/tag1009.xml" ContentType="application/vnd.openxmlformats-officedocument.presentationml.tags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55.xml" ContentType="application/vnd.openxmlformats-officedocument.presentationml.tags+xml"/>
  <Override PartName="/ppt/tags/tag686.xml" ContentType="application/vnd.openxmlformats-officedocument.presentationml.tags+xml"/>
  <Override PartName="/ppt/tags/tag702.xml" ContentType="application/vnd.openxmlformats-officedocument.presentationml.tags+xml"/>
  <Override PartName="/ppt/tags/tag1034.xml" ContentType="application/vnd.openxmlformats-officedocument.presentationml.tags+xml"/>
  <Override PartName="/ppt/tags/tag194.xml" ContentType="application/vnd.openxmlformats-officedocument.presentationml.tags+xml"/>
  <Override PartName="/ppt/tags/tag541.xml" ContentType="application/vnd.openxmlformats-officedocument.presentationml.tags+xml"/>
  <Override PartName="/ppt/tags/tag872.xml" ContentType="application/vnd.openxmlformats-officedocument.presentationml.tags+xml"/>
  <Override PartName="/ppt/tags/tag380.xml" ContentType="application/vnd.openxmlformats-officedocument.presentationml.tags+xml"/>
  <Override PartName="/ppt/tags/tag617.xml" ContentType="application/vnd.openxmlformats-officedocument.presentationml.tags+xml"/>
  <Override PartName="/ppt/tags/tag803.xml" ContentType="application/vnd.openxmlformats-officedocument.presentationml.tags+xml"/>
  <Override PartName="/ppt/tags/tag948.xml" ContentType="application/vnd.openxmlformats-officedocument.presentationml.tags+xml"/>
  <Override PartName="/customXml/itemProps4.xml" ContentType="application/vnd.openxmlformats-officedocument.customXmlPropertie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125.xml" ContentType="application/vnd.openxmlformats-officedocument.presentationml.tags+xml"/>
  <Override PartName="/ppt/tags/tag311.xml" ContentType="application/vnd.openxmlformats-officedocument.presentationml.tags+xml"/>
  <Override PartName="/ppt/tags/tag456.xml" ContentType="application/vnd.openxmlformats-officedocument.presentationml.tags+xml"/>
  <Override PartName="/ppt/tags/tag642.xml" ContentType="application/vnd.openxmlformats-officedocument.presentationml.tags+xml"/>
  <Override PartName="/ppt/tags/tag787.xml" ContentType="application/vnd.openxmlformats-officedocument.presentationml.tags+xml"/>
  <Override PartName="/ppt/tags/tag150.xml" ContentType="application/vnd.openxmlformats-officedocument.presentationml.tags+xml"/>
  <Override PartName="/ppt/tags/tag295.xml" ContentType="application/vnd.openxmlformats-officedocument.presentationml.tags+xml"/>
  <Override PartName="/ppt/tags/tag481.xml" ContentType="application/vnd.openxmlformats-officedocument.presentationml.tags+xml"/>
  <Override PartName="/ppt/tags/tag973.xml" ContentType="application/vnd.openxmlformats-officedocument.presentationml.tags+xml"/>
  <Override PartName="/ppt/tags/tag226.xml" ContentType="application/vnd.openxmlformats-officedocument.presentationml.tags+xml"/>
  <Override PartName="/ppt/tags/tag718.xml" ContentType="application/vnd.openxmlformats-officedocument.presentationml.tags+xml"/>
  <Override PartName="/ppt/tags/tag904.xml" ContentType="application/vnd.openxmlformats-officedocument.presentationml.tags+xml"/>
  <Override PartName="/ppt/tags/tag412.xml" ContentType="application/vnd.openxmlformats-officedocument.presentationml.tags+xml"/>
  <Override PartName="/ppt/tags/tag557.xml" ContentType="application/vnd.openxmlformats-officedocument.presentationml.tags+xml"/>
  <Override PartName="/ppt/tags/tag743.xml" ContentType="application/vnd.openxmlformats-officedocument.presentationml.tags+xml"/>
  <Override PartName="/ppt/tags/tag888.xml" ContentType="application/vnd.openxmlformats-officedocument.presentationml.tags+xml"/>
  <Override PartName="/ppt/slides/slide13.xml" ContentType="application/vnd.openxmlformats-officedocument.presentationml.slide+xml"/>
  <Override PartName="/ppt/tags/tag95.xml" ContentType="application/vnd.openxmlformats-officedocument.presentationml.tags+xml"/>
  <Override PartName="/ppt/tags/tag251.xml" ContentType="application/vnd.openxmlformats-officedocument.presentationml.tags+xml"/>
  <Override PartName="/ppt/tags/tag396.xml" ContentType="application/vnd.openxmlformats-officedocument.presentationml.tags+xml"/>
  <Override PartName="/ppt/tags/tag582.xml" ContentType="application/vnd.openxmlformats-officedocument.presentationml.tags+xml"/>
  <Override PartName="/ppt/tags/tag819.xml" ContentType="application/vnd.openxmlformats-officedocument.presentationml.tags+xml"/>
  <Override PartName="/ppt/tags/tag26.xml" ContentType="application/vnd.openxmlformats-officedocument.presentationml.tags+xml"/>
  <Override PartName="/ppt/tags/tag327.xml" ContentType="application/vnd.openxmlformats-officedocument.presentationml.tags+xml"/>
  <Override PartName="/ppt/tags/tag658.xml" ContentType="application/vnd.openxmlformats-officedocument.presentationml.tags+xml"/>
  <Override PartName="/ppt/tags/tag989.xml" ContentType="application/vnd.openxmlformats-officedocument.presentationml.tags+xml"/>
  <Override PartName="/ppt/tags/tag1006.xml" ContentType="application/vnd.openxmlformats-officedocument.presentationml.tags+xml"/>
  <Override PartName="/ppt/tags/tag166.xml" ContentType="application/vnd.openxmlformats-officedocument.presentationml.tags+xml"/>
  <Override PartName="/ppt/tags/tag497.xml" ContentType="application/vnd.openxmlformats-officedocument.presentationml.tags+xml"/>
  <Override PartName="/ppt/tags/tag513.xml" ContentType="application/vnd.openxmlformats-officedocument.presentationml.tags+xml"/>
  <Override PartName="/ppt/tags/tag844.xml" ContentType="application/vnd.openxmlformats-officedocument.presentationml.tags+xml"/>
  <Override PartName="/ppt/tags/tag51.xml" ContentType="application/vnd.openxmlformats-officedocument.presentationml.tags+xml"/>
  <Override PartName="/ppt/tags/tag352.xml" ContentType="application/vnd.openxmlformats-officedocument.presentationml.tags+xml"/>
  <Override PartName="/ppt/tags/tag683.xml" ContentType="application/vnd.openxmlformats-officedocument.presentationml.tags+xml"/>
  <Override PartName="/ppt/tags/tag1031.xml" ContentType="application/vnd.openxmlformats-officedocument.presentationml.tags+xml"/>
  <Override PartName="/ppt/tags/tag191.xml" ContentType="application/vnd.openxmlformats-officedocument.presentationml.tags+xml"/>
  <Override PartName="/ppt/tags/tag428.xml" ContentType="application/vnd.openxmlformats-officedocument.presentationml.tags+xml"/>
  <Override PartName="/ppt/tags/tag614.xml" ContentType="application/vnd.openxmlformats-officedocument.presentationml.tags+xml"/>
  <Override PartName="/ppt/tags/tag759.xml" ContentType="application/vnd.openxmlformats-officedocument.presentationml.tags+xml"/>
  <Override PartName="/ppt/tags/tag945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tags/tag267.xml" ContentType="application/vnd.openxmlformats-officedocument.presentationml.tags+xml"/>
  <Override PartName="/ppt/tags/tag453.xml" ContentType="application/vnd.openxmlformats-officedocument.presentationml.tags+xml"/>
  <Override PartName="/ppt/tags/tag598.xml" ContentType="application/vnd.openxmlformats-officedocument.presentationml.tags+xml"/>
  <Override PartName="/ppt/tags/tag784.xml" ContentType="application/vnd.openxmlformats-officedocument.presentationml.tags+xml"/>
  <Override PartName="/ppt/tags/tag800.xml" ContentType="application/vnd.openxmlformats-officedocument.presentationml.tags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292.xml" ContentType="application/vnd.openxmlformats-officedocument.presentationml.tags+xml"/>
  <Override PartName="/ppt/tags/tag529.xml" ContentType="application/vnd.openxmlformats-officedocument.presentationml.tags+xml"/>
  <Override PartName="/ppt/tags/tag970.xml" ContentType="application/vnd.openxmlformats-officedocument.presentationml.tags+xml"/>
  <Override PartName="/ppt/tags/tag368.xml" ContentType="application/vnd.openxmlformats-officedocument.presentationml.tags+xml"/>
  <Override PartName="/ppt/tags/tag715.xml" ContentType="application/vnd.openxmlformats-officedocument.presentationml.tags+xml"/>
  <Override PartName="/ppt/tags/tag1047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554.xml" ContentType="application/vnd.openxmlformats-officedocument.presentationml.tags+xml"/>
  <Override PartName="/ppt/tags/tag699.xml" ContentType="application/vnd.openxmlformats-officedocument.presentationml.tags+xml"/>
  <Override PartName="/ppt/tags/tag885.xml" ContentType="application/vnd.openxmlformats-officedocument.presentationml.tags+xml"/>
  <Override PartName="/ppt/tags/tag901.xml" ContentType="application/vnd.openxmlformats-officedocument.presentationml.tags+xml"/>
  <Override PartName="/ppt/slides/slide10.xml" ContentType="application/vnd.openxmlformats-officedocument.presentationml.slide+xml"/>
  <Override PartName="/ppt/tags/tag92.xml" ContentType="application/vnd.openxmlformats-officedocument.presentationml.tags+xml"/>
  <Override PartName="/ppt/tags/tag393.xml" ContentType="application/vnd.openxmlformats-officedocument.presentationml.tags+xml"/>
  <Override PartName="/ppt/tags/tag740.xml" ContentType="application/vnd.openxmlformats-officedocument.presentationml.tags+xml"/>
  <Override PartName="/ppt/tags/tag138.xml" ContentType="application/vnd.openxmlformats-officedocument.presentationml.tags+xml"/>
  <Override PartName="/ppt/tags/tag324.xml" ContentType="application/vnd.openxmlformats-officedocument.presentationml.tags+xml"/>
  <Override PartName="/ppt/tags/tag469.xml" ContentType="application/vnd.openxmlformats-officedocument.presentationml.tags+xml"/>
  <Override PartName="/ppt/tags/tag816.xml" ContentType="application/vnd.openxmlformats-officedocument.presentationml.tags+xml"/>
  <Override PartName="/ppt/tags/tag23.xml" ContentType="application/vnd.openxmlformats-officedocument.presentationml.tags+xml"/>
  <Override PartName="/ppt/tags/tag163.xml" ContentType="application/vnd.openxmlformats-officedocument.presentationml.tags+xml"/>
  <Override PartName="/ppt/tags/tag510.xml" ContentType="application/vnd.openxmlformats-officedocument.presentationml.tags+xml"/>
  <Override PartName="/ppt/tags/tag655.xml" ContentType="application/vnd.openxmlformats-officedocument.presentationml.tags+xml"/>
  <Override PartName="/ppt/tags/tag841.xml" ContentType="application/vnd.openxmlformats-officedocument.presentationml.tags+xml"/>
  <Override PartName="/ppt/tags/tag986.xml" ContentType="application/vnd.openxmlformats-officedocument.presentationml.tags+xml"/>
  <Override PartName="/ppt/tags/tag1003.xml" ContentType="application/vnd.openxmlformats-officedocument.presentationml.tags+xml"/>
  <Override PartName="/ppt/tags/tag9.xml" ContentType="application/vnd.openxmlformats-officedocument.presentationml.tags+xml"/>
  <Override PartName="/ppt/tags/tag494.xml" ContentType="application/vnd.openxmlformats-officedocument.presentationml.tags+xml"/>
  <Override PartName="/ppt/tags/tag680.xml" ContentType="application/vnd.openxmlformats-officedocument.presentationml.tags+xml"/>
  <Override PartName="/ppt/tags/tag917.xml" ContentType="application/vnd.openxmlformats-officedocument.presentationml.tags+xml"/>
  <Default Extension="bin" ContentType="application/vnd.openxmlformats-officedocument.oleObject"/>
  <Override PartName="/ppt/tags/tag239.xml" ContentType="application/vnd.openxmlformats-officedocument.presentationml.tags+xml"/>
  <Override PartName="/ppt/tags/tag425.xml" ContentType="application/vnd.openxmlformats-officedocument.presentationml.tags+xml"/>
  <Override PartName="/ppt/tags/tag756.xml" ContentType="application/vnd.openxmlformats-officedocument.presentationml.tags+xml"/>
  <Override PartName="/ppt/slides/slide26.xml" ContentType="application/vnd.openxmlformats-officedocument.presentationml.slide+xml"/>
  <Override PartName="/ppt/tags/tag264.xml" ContentType="application/vnd.openxmlformats-officedocument.presentationml.tags+xml"/>
  <Override PartName="/ppt/tags/tag595.xml" ContentType="application/vnd.openxmlformats-officedocument.presentationml.tags+xml"/>
  <Override PartName="/ppt/tags/tag611.xml" ContentType="application/vnd.openxmlformats-officedocument.presentationml.tags+xml"/>
  <Override PartName="/ppt/tags/tag942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450.xml" ContentType="application/vnd.openxmlformats-officedocument.presentationml.tags+xml"/>
  <Override PartName="/ppt/tags/tag781.xml" ContentType="application/vnd.openxmlformats-officedocument.presentationml.tags+xml"/>
  <Override PartName="/ppt/tags/tag1019.xml" ContentType="application/vnd.openxmlformats-officedocument.presentationml.tags+xml"/>
  <Override PartName="/ppt/tags/tag179.xml" ContentType="application/vnd.openxmlformats-officedocument.presentationml.tags+xml"/>
  <Override PartName="/ppt/tags/tag526.xml" ContentType="application/vnd.openxmlformats-officedocument.presentationml.tags+xml"/>
  <Override PartName="/ppt/tags/tag712.xml" ContentType="application/vnd.openxmlformats-officedocument.presentationml.tags+xml"/>
  <Override PartName="/ppt/tags/tag857.xml" ContentType="application/vnd.openxmlformats-officedocument.presentationml.tags+xml"/>
  <Override PartName="/ppt/tags/tag64.xml" ContentType="application/vnd.openxmlformats-officedocument.presentationml.tags+xml"/>
  <Override PartName="/ppt/tags/tag220.xml" ContentType="application/vnd.openxmlformats-officedocument.presentationml.tags+xml"/>
  <Override PartName="/ppt/tags/tag365.xml" ContentType="application/vnd.openxmlformats-officedocument.presentationml.tags+xml"/>
  <Override PartName="/ppt/tags/tag551.xml" ContentType="application/vnd.openxmlformats-officedocument.presentationml.tags+xml"/>
  <Override PartName="/ppt/tags/tag696.xml" ContentType="application/vnd.openxmlformats-officedocument.presentationml.tags+xml"/>
  <Override PartName="/ppt/tags/tag1044.xml" ContentType="application/vnd.openxmlformats-officedocument.presentationml.tags+xml"/>
  <Default Extension="gif" ContentType="image/gif"/>
  <Override PartName="/ppt/tags/tag390.xml" ContentType="application/vnd.openxmlformats-officedocument.presentationml.tags+xml"/>
  <Override PartName="/ppt/tags/tag882.xml" ContentType="application/vnd.openxmlformats-officedocument.presentationml.tags+xml"/>
  <Override PartName="/ppt/tags/tag135.xml" ContentType="application/vnd.openxmlformats-officedocument.presentationml.tags+xml"/>
  <Override PartName="/ppt/tags/tag627.xml" ContentType="application/vnd.openxmlformats-officedocument.presentationml.tags+xml"/>
  <Override PartName="/ppt/tags/tag813.xml" ContentType="application/vnd.openxmlformats-officedocument.presentationml.tags+xml"/>
  <Override PartName="/ppt/tags/tag958.xml" ContentType="application/vnd.openxmlformats-officedocument.presentationml.tags+xml"/>
  <Override PartName="/ppt/tags/tag20.xml" ContentType="application/vnd.openxmlformats-officedocument.presentationml.tags+xml"/>
  <Override PartName="/ppt/tags/tag321.xml" ContentType="application/vnd.openxmlformats-officedocument.presentationml.tags+xml"/>
  <Override PartName="/ppt/tags/tag466.xml" ContentType="application/vnd.openxmlformats-officedocument.presentationml.tags+xml"/>
  <Override PartName="/ppt/tags/tag652.xml" ContentType="application/vnd.openxmlformats-officedocument.presentationml.tags+xml"/>
  <Override PartName="/ppt/tags/tag797.xml" ContentType="application/vnd.openxmlformats-officedocument.presentationml.tags+xml"/>
  <Override PartName="/ppt/tags/tag983.xml" ContentType="application/vnd.openxmlformats-officedocument.presentationml.tags+xml"/>
  <Override PartName="/ppt/tags/tag1000.xml" ContentType="application/vnd.openxmlformats-officedocument.presentationml.tags+xml"/>
  <Override PartName="/ppt/tags/tag6.xml" ContentType="application/vnd.openxmlformats-officedocument.presentationml.tags+xml"/>
  <Override PartName="/ppt/tags/tag160.xml" ContentType="application/vnd.openxmlformats-officedocument.presentationml.tags+xml"/>
  <Override PartName="/ppt/tags/tag491.xml" ContentType="application/vnd.openxmlformats-officedocument.presentationml.tags+xml"/>
  <Override PartName="/ppt/tags/tag728.xml" ContentType="application/vnd.openxmlformats-officedocument.presentationml.tags+xml"/>
  <Override PartName="/ppt/tags/tag236.xml" ContentType="application/vnd.openxmlformats-officedocument.presentationml.tags+xml"/>
  <Override PartName="/ppt/tags/tag567.xml" ContentType="application/vnd.openxmlformats-officedocument.presentationml.tags+xml"/>
  <Override PartName="/ppt/tags/tag898.xml" ContentType="application/vnd.openxmlformats-officedocument.presentationml.tags+xml"/>
  <Override PartName="/ppt/tags/tag914.xml" ContentType="application/vnd.openxmlformats-officedocument.presentationml.tags+xml"/>
  <Override PartName="/ppt/tags/tag422.xml" ContentType="application/vnd.openxmlformats-officedocument.presentationml.tags+xml"/>
  <Override PartName="/ppt/tags/tag753.xml" ContentType="application/vnd.openxmlformats-officedocument.presentationml.tags+xml"/>
  <Override PartName="/ppt/slides/slide23.xml" ContentType="application/vnd.openxmlformats-officedocument.presentationml.slide+xml"/>
  <Override PartName="/ppt/tags/tag261.xml" ContentType="application/vnd.openxmlformats-officedocument.presentationml.tags+xml"/>
  <Override PartName="/ppt/tags/tag592.xml" ContentType="application/vnd.openxmlformats-officedocument.presentationml.tags+xml"/>
  <Override PartName="/ppt/tags/tag829.xml" ContentType="application/vnd.openxmlformats-officedocument.presentationml.tags+xml"/>
  <Override PartName="/ppt/tags/tag36.xml" ContentType="application/vnd.openxmlformats-officedocument.presentationml.tags+xml"/>
  <Override PartName="/ppt/tags/tag337.xml" ContentType="application/vnd.openxmlformats-officedocument.presentationml.tags+xml"/>
  <Override PartName="/ppt/tags/tag523.xml" ContentType="application/vnd.openxmlformats-officedocument.presentationml.tags+xml"/>
  <Override PartName="/ppt/tags/tag668.xml" ContentType="application/vnd.openxmlformats-officedocument.presentationml.tags+xml"/>
  <Override PartName="/ppt/tags/tag854.xml" ContentType="application/vnd.openxmlformats-officedocument.presentationml.tags+xml"/>
  <Override PartName="/ppt/tags/tag999.xml" ContentType="application/vnd.openxmlformats-officedocument.presentationml.tags+xml"/>
  <Override PartName="/ppt/tags/tag1016.xml" ContentType="application/vnd.openxmlformats-officedocument.presentationml.tags+xml"/>
  <Override PartName="/ppt/tags/tag61.xml" ContentType="application/vnd.openxmlformats-officedocument.presentationml.tags+xml"/>
  <Override PartName="/ppt/tags/tag176.xml" ContentType="application/vnd.openxmlformats-officedocument.presentationml.tags+xml"/>
  <Override PartName="/ppt/tags/tag362.xml" ContentType="application/vnd.openxmlformats-officedocument.presentationml.tags+xml"/>
  <Override PartName="/ppt/tags/tag693.xml" ContentType="application/vnd.openxmlformats-officedocument.presentationml.tags+xml"/>
  <Override PartName="/ppt/tags/tag1041.xml" ContentType="application/vnd.openxmlformats-officedocument.presentationml.tags+xml"/>
  <Override PartName="/ppt/tags/tag107.xml" ContentType="application/vnd.openxmlformats-officedocument.presentationml.tags+xml"/>
  <Override PartName="/ppt/tags/tag438.xml" ContentType="application/vnd.openxmlformats-officedocument.presentationml.tags+xml"/>
  <Override PartName="/ppt/tags/tag277.xml" ContentType="application/vnd.openxmlformats-officedocument.presentationml.tags+xml"/>
  <Override PartName="/ppt/tags/tag624.xml" ContentType="application/vnd.openxmlformats-officedocument.presentationml.tags+xml"/>
  <Override PartName="/ppt/notesSlides/notesSlide5.xml" ContentType="application/vnd.openxmlformats-officedocument.presentationml.notesSlide+xml"/>
  <Override PartName="/ppt/tags/tag769.xml" ContentType="application/vnd.openxmlformats-officedocument.presentationml.tags+xml"/>
  <Override PartName="/ppt/tags/tag955.xml" ContentType="application/vnd.openxmlformats-officedocument.presentationml.tags+xml"/>
  <Override PartName="/ppt/tags/tag132.xml" ContentType="application/vnd.openxmlformats-officedocument.presentationml.tags+xml"/>
  <Override PartName="/ppt/tags/tag463.xml" ContentType="application/vnd.openxmlformats-officedocument.presentationml.tags+xml"/>
  <Override PartName="/ppt/tags/tag794.xml" ContentType="application/vnd.openxmlformats-officedocument.presentationml.tags+xml"/>
  <Override PartName="/ppt/tags/tag810.xml" ContentType="application/vnd.openxmlformats-officedocument.presentationml.tags+xml"/>
  <Override PartName="/ppt/tags/tag208.xml" ContentType="application/vnd.openxmlformats-officedocument.presentationml.tags+xml"/>
  <Override PartName="/ppt/tags/tag539.xml" ContentType="application/vnd.openxmlformats-officedocument.presentationml.tags+xml"/>
  <Override PartName="/ppt/tags/tag980.xml" ContentType="application/vnd.openxmlformats-officedocument.presentationml.tags+xml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233.xml" ContentType="application/vnd.openxmlformats-officedocument.presentationml.tags+xml"/>
  <Override PartName="/ppt/tags/tag378.xml" ContentType="application/vnd.openxmlformats-officedocument.presentationml.tags+xml"/>
  <Override PartName="/ppt/tags/tag725.xml" ContentType="application/vnd.openxmlformats-officedocument.presentationml.tags+xml"/>
  <Override PartName="/ppt/tags/tag911.xml" ContentType="application/vnd.openxmlformats-officedocument.presentationml.tags+xml"/>
  <Override PartName="/ppt/tags/tag1057.xml" ContentType="application/vnd.openxmlformats-officedocument.presentationml.tags+xml"/>
  <Override PartName="/ppt/tags/tag564.xml" ContentType="application/vnd.openxmlformats-officedocument.presentationml.tags+xml"/>
  <Override PartName="/ppt/tags/tag750.xml" ContentType="application/vnd.openxmlformats-officedocument.presentationml.tags+xml"/>
  <Override PartName="/ppt/tags/tag895.xml" ContentType="application/vnd.openxmlformats-officedocument.presentationml.tags+xml"/>
  <Override PartName="/ppt/slides/slide20.xml" ContentType="application/vnd.openxmlformats-officedocument.presentationml.slide+xml"/>
  <Override PartName="/ppt/tags/tag309.xml" ContentType="application/vnd.openxmlformats-officedocument.presentationml.tags+xml"/>
  <Override PartName="/ppt/tags/tag826.xml" ContentType="application/vnd.openxmlformats-officedocument.presentationml.tags+xml"/>
  <Override PartName="/ppt/tags/tag33.xml" ContentType="application/vnd.openxmlformats-officedocument.presentationml.tags+xml"/>
  <Override PartName="/ppt/tags/tag148.xml" ContentType="application/vnd.openxmlformats-officedocument.presentationml.tags+xml"/>
  <Override PartName="/ppt/tags/tag334.xml" ContentType="application/vnd.openxmlformats-officedocument.presentationml.tags+xml"/>
  <Override PartName="/ppt/tags/tag479.xml" ContentType="application/vnd.openxmlformats-officedocument.presentationml.tags+xml"/>
  <Override PartName="/ppt/tags/tag665.xml" ContentType="application/vnd.openxmlformats-officedocument.presentationml.tags+xml"/>
  <Override PartName="/ppt/tags/tag101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5"/>
  </p:sldMasterIdLst>
  <p:notesMasterIdLst>
    <p:notesMasterId r:id="rId39"/>
  </p:notesMasterIdLst>
  <p:sldIdLst>
    <p:sldId id="303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5" r:id="rId14"/>
    <p:sldId id="266" r:id="rId15"/>
    <p:sldId id="267" r:id="rId16"/>
    <p:sldId id="296" r:id="rId17"/>
    <p:sldId id="299" r:id="rId18"/>
    <p:sldId id="271" r:id="rId19"/>
    <p:sldId id="287" r:id="rId20"/>
    <p:sldId id="274" r:id="rId21"/>
    <p:sldId id="275" r:id="rId22"/>
    <p:sldId id="276" r:id="rId23"/>
    <p:sldId id="302" r:id="rId24"/>
    <p:sldId id="288" r:id="rId25"/>
    <p:sldId id="289" r:id="rId26"/>
    <p:sldId id="279" r:id="rId27"/>
    <p:sldId id="290" r:id="rId28"/>
    <p:sldId id="291" r:id="rId29"/>
    <p:sldId id="292" r:id="rId30"/>
    <p:sldId id="308" r:id="rId31"/>
    <p:sldId id="280" r:id="rId32"/>
    <p:sldId id="293" r:id="rId33"/>
    <p:sldId id="294" r:id="rId34"/>
    <p:sldId id="282" r:id="rId35"/>
    <p:sldId id="281" r:id="rId36"/>
    <p:sldId id="295" r:id="rId37"/>
    <p:sldId id="307" r:id="rId38"/>
  </p:sldIdLst>
  <p:sldSz cx="9906000" cy="6858000" type="A4"/>
  <p:notesSz cx="6858000" cy="9144000"/>
  <p:custDataLst>
    <p:tags r:id="rId4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BAD87"/>
    <a:srgbClr val="CEA09D"/>
    <a:srgbClr val="000000"/>
    <a:srgbClr val="4D4D4D"/>
    <a:srgbClr val="80808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4111" autoAdjust="0"/>
    <p:restoredTop sz="94643" autoAdjust="0"/>
  </p:normalViewPr>
  <p:slideViewPr>
    <p:cSldViewPr snapToGrid="0" showGuides="1">
      <p:cViewPr varScale="1">
        <p:scale>
          <a:sx n="66" d="100"/>
          <a:sy n="66" d="100"/>
        </p:scale>
        <p:origin x="-1296" y="-102"/>
      </p:cViewPr>
      <p:guideLst>
        <p:guide orient="horz" pos="1509"/>
        <p:guide orient="horz" pos="3953"/>
        <p:guide pos="3023"/>
        <p:guide pos="3214"/>
        <p:guide pos="5961"/>
        <p:guide pos="29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2406"/>
    </p:cViewPr>
  </p:sorterViewPr>
  <p:notesViewPr>
    <p:cSldViewPr snapToGrid="0">
      <p:cViewPr varScale="1">
        <p:scale>
          <a:sx n="67" d="100"/>
          <a:sy n="67" d="100"/>
        </p:scale>
        <p:origin x="-2250" y="-114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35.emf"/><Relationship Id="rId1" Type="http://schemas.openxmlformats.org/officeDocument/2006/relationships/image" Target="../media/image3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4.vml.rels><?xml version="1.0" encoding="UTF-8" standalone="yes"?>
<Relationships xmlns="http://schemas.openxmlformats.org/package/2006/relationships"><Relationship Id="rId8" Type="http://schemas.openxmlformats.org/officeDocument/2006/relationships/image" Target="../media/image45.emf"/><Relationship Id="rId13" Type="http://schemas.openxmlformats.org/officeDocument/2006/relationships/image" Target="../media/image50.emf"/><Relationship Id="rId18" Type="http://schemas.openxmlformats.org/officeDocument/2006/relationships/image" Target="../media/image55.emf"/><Relationship Id="rId3" Type="http://schemas.openxmlformats.org/officeDocument/2006/relationships/image" Target="../media/image40.emf"/><Relationship Id="rId7" Type="http://schemas.openxmlformats.org/officeDocument/2006/relationships/image" Target="../media/image44.emf"/><Relationship Id="rId12" Type="http://schemas.openxmlformats.org/officeDocument/2006/relationships/image" Target="../media/image49.emf"/><Relationship Id="rId17" Type="http://schemas.openxmlformats.org/officeDocument/2006/relationships/image" Target="../media/image54.emf"/><Relationship Id="rId2" Type="http://schemas.openxmlformats.org/officeDocument/2006/relationships/image" Target="../media/image39.emf"/><Relationship Id="rId16" Type="http://schemas.openxmlformats.org/officeDocument/2006/relationships/image" Target="../media/image53.emf"/><Relationship Id="rId20" Type="http://schemas.openxmlformats.org/officeDocument/2006/relationships/image" Target="../media/image57.emf"/><Relationship Id="rId1" Type="http://schemas.openxmlformats.org/officeDocument/2006/relationships/image" Target="../media/image38.emf"/><Relationship Id="rId6" Type="http://schemas.openxmlformats.org/officeDocument/2006/relationships/image" Target="../media/image43.emf"/><Relationship Id="rId11" Type="http://schemas.openxmlformats.org/officeDocument/2006/relationships/image" Target="../media/image48.emf"/><Relationship Id="rId5" Type="http://schemas.openxmlformats.org/officeDocument/2006/relationships/image" Target="../media/image42.emf"/><Relationship Id="rId15" Type="http://schemas.openxmlformats.org/officeDocument/2006/relationships/image" Target="../media/image52.emf"/><Relationship Id="rId10" Type="http://schemas.openxmlformats.org/officeDocument/2006/relationships/image" Target="../media/image47.emf"/><Relationship Id="rId19" Type="http://schemas.openxmlformats.org/officeDocument/2006/relationships/image" Target="../media/image56.emf"/><Relationship Id="rId4" Type="http://schemas.openxmlformats.org/officeDocument/2006/relationships/image" Target="../media/image41.emf"/><Relationship Id="rId9" Type="http://schemas.openxmlformats.org/officeDocument/2006/relationships/image" Target="../media/image46.emf"/><Relationship Id="rId14" Type="http://schemas.openxmlformats.org/officeDocument/2006/relationships/image" Target="../media/image5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7.vml.rels><?xml version="1.0" encoding="UTF-8" standalone="yes"?>
<Relationships xmlns="http://schemas.openxmlformats.org/package/2006/relationships"><Relationship Id="rId3" Type="http://schemas.openxmlformats.org/officeDocument/2006/relationships/image" Target="../media/image89.emf"/><Relationship Id="rId2" Type="http://schemas.openxmlformats.org/officeDocument/2006/relationships/image" Target="../media/image88.emf"/><Relationship Id="rId1" Type="http://schemas.openxmlformats.org/officeDocument/2006/relationships/image" Target="../media/image31.emf"/></Relationships>
</file>

<file path=ppt/drawings/_rels/vmlDrawing18.vml.rels><?xml version="1.0" encoding="UTF-8" standalone="yes"?>
<Relationships xmlns="http://schemas.openxmlformats.org/package/2006/relationships"><Relationship Id="rId3" Type="http://schemas.openxmlformats.org/officeDocument/2006/relationships/image" Target="../media/image91.emf"/><Relationship Id="rId2" Type="http://schemas.openxmlformats.org/officeDocument/2006/relationships/image" Target="../media/image90.emf"/><Relationship Id="rId1" Type="http://schemas.openxmlformats.org/officeDocument/2006/relationships/image" Target="../media/image31.emf"/></Relationships>
</file>

<file path=ppt/drawings/_rels/vmlDrawing19.vml.rels><?xml version="1.0" encoding="UTF-8" standalone="yes"?>
<Relationships xmlns="http://schemas.openxmlformats.org/package/2006/relationships"><Relationship Id="rId2" Type="http://schemas.openxmlformats.org/officeDocument/2006/relationships/image" Target="../media/image92.emf"/><Relationship Id="rId1" Type="http://schemas.openxmlformats.org/officeDocument/2006/relationships/image" Target="../media/image31.emf"/></Relationships>
</file>

<file path=ppt/drawings/_rels/vmlDrawing20.vml.rels><?xml version="1.0" encoding="UTF-8" standalone="yes"?>
<Relationships xmlns="http://schemas.openxmlformats.org/package/2006/relationships"><Relationship Id="rId2" Type="http://schemas.openxmlformats.org/officeDocument/2006/relationships/image" Target="../media/image93.emf"/><Relationship Id="rId1" Type="http://schemas.openxmlformats.org/officeDocument/2006/relationships/image" Target="../media/image2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emf"/><Relationship Id="rId1" Type="http://schemas.openxmlformats.org/officeDocument/2006/relationships/image" Target="../media/image3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image" Target="../media/image3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4/10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n-US" smtClean="0"/>
              <a:pPr/>
              <a:t>0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CBE1EA-4B56-4533-AA27-12FB0F6A41EC}" type="slidenum">
              <a:rPr lang="en-US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528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838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Productivity rankings for later slide</a:t>
            </a:r>
          </a:p>
          <a:p>
            <a:endParaRPr lang="en-US" sz="1200" b="1" dirty="0" smtClean="0">
              <a:solidFill>
                <a:srgbClr val="000000"/>
              </a:solidFill>
              <a:latin typeface="Arial"/>
            </a:endParaRPr>
          </a:p>
          <a:p>
            <a:r>
              <a:rPr lang="en-US" sz="1200" b="1" u="sng" dirty="0" smtClean="0">
                <a:solidFill>
                  <a:srgbClr val="000000"/>
                </a:solidFill>
                <a:latin typeface="Arial"/>
              </a:rPr>
              <a:t>2006:</a:t>
            </a:r>
          </a:p>
          <a:p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1. Slovakia</a:t>
            </a:r>
          </a:p>
          <a:p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2. Ireland (driven by focus</a:t>
            </a:r>
            <a:r>
              <a:rPr lang="en-US" sz="1200" b="1" baseline="0" dirty="0" smtClean="0">
                <a:solidFill>
                  <a:srgbClr val="000000"/>
                </a:solidFill>
                <a:latin typeface="Arial"/>
              </a:rPr>
              <a:t> on production of high-value add goods, e.g., medical products, electronics)</a:t>
            </a:r>
            <a:endParaRPr lang="en-US" sz="1200" b="1" dirty="0" smtClean="0">
              <a:solidFill>
                <a:srgbClr val="000000"/>
              </a:solidFill>
              <a:latin typeface="Arial"/>
            </a:endParaRPr>
          </a:p>
          <a:p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3. Norway</a:t>
            </a:r>
          </a:p>
          <a:p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4. Sweden</a:t>
            </a:r>
          </a:p>
          <a:p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5. Switzerland</a:t>
            </a:r>
          </a:p>
          <a:p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6. Austria</a:t>
            </a:r>
          </a:p>
          <a:p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7. Finland</a:t>
            </a:r>
          </a:p>
          <a:p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8. United States</a:t>
            </a:r>
          </a:p>
          <a:p>
            <a:endParaRPr lang="en-US" sz="1200" b="1" dirty="0" smtClean="0">
              <a:solidFill>
                <a:srgbClr val="000000"/>
              </a:solidFill>
              <a:latin typeface="Arial"/>
            </a:endParaRPr>
          </a:p>
          <a:p>
            <a:r>
              <a:rPr lang="en-US" sz="1200" b="1" u="sng" dirty="0" smtClean="0">
                <a:solidFill>
                  <a:srgbClr val="000000"/>
                </a:solidFill>
                <a:latin typeface="Arial"/>
              </a:rPr>
              <a:t>Average for country's since 2000</a:t>
            </a:r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 (some averages are only through 2004 or 2005, but most countries have data through 2006)</a:t>
            </a:r>
          </a:p>
          <a:p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1. Slovakia</a:t>
            </a:r>
          </a:p>
          <a:p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2. Ireland</a:t>
            </a:r>
          </a:p>
          <a:p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3. United States</a:t>
            </a:r>
          </a:p>
          <a:p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4. Switzerland</a:t>
            </a:r>
          </a:p>
          <a:p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5. Austria</a:t>
            </a:r>
          </a:p>
          <a:p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6. Sweden</a:t>
            </a:r>
          </a:p>
          <a:p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7. Finland</a:t>
            </a:r>
          </a:p>
          <a:p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8. Norway</a:t>
            </a:r>
          </a:p>
          <a:p>
            <a:endParaRPr lang="en-US" sz="1200" b="1" dirty="0" smtClean="0">
              <a:solidFill>
                <a:srgbClr val="000000"/>
              </a:solidFill>
              <a:latin typeface="Arial"/>
            </a:endParaRPr>
          </a:p>
          <a:p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Change in US' ranking is driven by other countries increasing much faster than US since 2006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n-US" smtClean="0"/>
              <a:pPr/>
              <a:t>15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9212DFD1-EBE6-4E70-8886-E1A0930577E7}" type="slidenum">
              <a:rPr lang="en-US">
                <a:solidFill>
                  <a:prstClr val="black"/>
                </a:solidFill>
              </a:rPr>
              <a:pPr>
                <a:defRPr/>
              </a:pPr>
              <a:t>2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816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8163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n-US" smtClean="0"/>
              <a:pPr/>
              <a:t>32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0"/>
            <a:ext cx="9906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pic>
        <p:nvPicPr>
          <p:cNvPr id="8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5775" y="677863"/>
            <a:ext cx="1619250" cy="673100"/>
          </a:xfrm>
          <a:prstGeom prst="rect">
            <a:avLst/>
          </a:prstGeom>
          <a:noFill/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48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Placeholder for client logo</a:t>
            </a:r>
            <a:endParaRPr lang="en-US" dirty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25350" y="5821402"/>
            <a:ext cx="4241800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9" y="1508760"/>
            <a:ext cx="8997696" cy="4590288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0" indent="-173038"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28650" indent="-228600">
              <a:buFont typeface="Arial" pitchFamily="34" charset="0"/>
              <a:buChar char="–"/>
              <a:defRPr/>
            </a:lvl2pPr>
            <a:lvl3pPr marL="1074738" indent="-228600">
              <a:defRPr/>
            </a:lvl3pPr>
            <a:lvl4pPr marL="1545336" indent="-228600"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8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003300"/>
            <a:ext cx="9906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endParaRPr lang="en-US" noProof="0"/>
          </a:p>
        </p:txBody>
      </p:sp>
      <p:pic>
        <p:nvPicPr>
          <p:cNvPr id="9" name="Picture 119" descr="BCG_Logotype_Regular_RGB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17950" y="6675438"/>
            <a:ext cx="2070100" cy="125412"/>
          </a:xfrm>
          <a:prstGeom prst="rect">
            <a:avLst/>
          </a:prstGeom>
          <a:noFill/>
        </p:spPr>
      </p:pic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769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7" r:id="rId3"/>
    <p:sldLayoutId id="2147483654" r:id="rId4"/>
    <p:sldLayoutId id="2147483655" r:id="rId5"/>
    <p:sldLayoutId id="2147483659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4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18" Type="http://schemas.openxmlformats.org/officeDocument/2006/relationships/tags" Target="../tags/tag78.xml"/><Relationship Id="rId26" Type="http://schemas.openxmlformats.org/officeDocument/2006/relationships/tags" Target="../tags/tag86.xml"/><Relationship Id="rId39" Type="http://schemas.openxmlformats.org/officeDocument/2006/relationships/slideLayout" Target="../slideLayouts/slideLayout2.xml"/><Relationship Id="rId3" Type="http://schemas.openxmlformats.org/officeDocument/2006/relationships/tags" Target="../tags/tag63.xml"/><Relationship Id="rId21" Type="http://schemas.openxmlformats.org/officeDocument/2006/relationships/tags" Target="../tags/tag81.xml"/><Relationship Id="rId34" Type="http://schemas.openxmlformats.org/officeDocument/2006/relationships/tags" Target="../tags/tag94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17" Type="http://schemas.openxmlformats.org/officeDocument/2006/relationships/tags" Target="../tags/tag77.xml"/><Relationship Id="rId25" Type="http://schemas.openxmlformats.org/officeDocument/2006/relationships/tags" Target="../tags/tag85.xml"/><Relationship Id="rId33" Type="http://schemas.openxmlformats.org/officeDocument/2006/relationships/tags" Target="../tags/tag93.xml"/><Relationship Id="rId38" Type="http://schemas.openxmlformats.org/officeDocument/2006/relationships/tags" Target="../tags/tag98.xml"/><Relationship Id="rId2" Type="http://schemas.openxmlformats.org/officeDocument/2006/relationships/tags" Target="../tags/tag62.xml"/><Relationship Id="rId16" Type="http://schemas.openxmlformats.org/officeDocument/2006/relationships/tags" Target="../tags/tag76.xml"/><Relationship Id="rId20" Type="http://schemas.openxmlformats.org/officeDocument/2006/relationships/tags" Target="../tags/tag80.xml"/><Relationship Id="rId29" Type="http://schemas.openxmlformats.org/officeDocument/2006/relationships/tags" Target="../tags/tag89.xml"/><Relationship Id="rId41" Type="http://schemas.openxmlformats.org/officeDocument/2006/relationships/oleObject" Target="../embeddings/oleObject6.bin"/><Relationship Id="rId1" Type="http://schemas.openxmlformats.org/officeDocument/2006/relationships/vmlDrawing" Target="../drawings/vmlDrawing5.v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24" Type="http://schemas.openxmlformats.org/officeDocument/2006/relationships/tags" Target="../tags/tag84.xml"/><Relationship Id="rId32" Type="http://schemas.openxmlformats.org/officeDocument/2006/relationships/tags" Target="../tags/tag92.xml"/><Relationship Id="rId37" Type="http://schemas.openxmlformats.org/officeDocument/2006/relationships/tags" Target="../tags/tag97.xml"/><Relationship Id="rId40" Type="http://schemas.openxmlformats.org/officeDocument/2006/relationships/oleObject" Target="../embeddings/oleObject5.bin"/><Relationship Id="rId5" Type="http://schemas.openxmlformats.org/officeDocument/2006/relationships/tags" Target="../tags/tag65.xml"/><Relationship Id="rId15" Type="http://schemas.openxmlformats.org/officeDocument/2006/relationships/tags" Target="../tags/tag75.xml"/><Relationship Id="rId23" Type="http://schemas.openxmlformats.org/officeDocument/2006/relationships/tags" Target="../tags/tag83.xml"/><Relationship Id="rId28" Type="http://schemas.openxmlformats.org/officeDocument/2006/relationships/tags" Target="../tags/tag88.xml"/><Relationship Id="rId36" Type="http://schemas.openxmlformats.org/officeDocument/2006/relationships/tags" Target="../tags/tag96.xml"/><Relationship Id="rId10" Type="http://schemas.openxmlformats.org/officeDocument/2006/relationships/tags" Target="../tags/tag70.xml"/><Relationship Id="rId19" Type="http://schemas.openxmlformats.org/officeDocument/2006/relationships/tags" Target="../tags/tag79.xml"/><Relationship Id="rId31" Type="http://schemas.openxmlformats.org/officeDocument/2006/relationships/tags" Target="../tags/tag91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tags" Target="../tags/tag74.xml"/><Relationship Id="rId22" Type="http://schemas.openxmlformats.org/officeDocument/2006/relationships/tags" Target="../tags/tag82.xml"/><Relationship Id="rId27" Type="http://schemas.openxmlformats.org/officeDocument/2006/relationships/tags" Target="../tags/tag87.xml"/><Relationship Id="rId30" Type="http://schemas.openxmlformats.org/officeDocument/2006/relationships/tags" Target="../tags/tag90.xml"/><Relationship Id="rId35" Type="http://schemas.openxmlformats.org/officeDocument/2006/relationships/tags" Target="../tags/tag9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3.jpeg"/><Relationship Id="rId4" Type="http://schemas.openxmlformats.org/officeDocument/2006/relationships/oleObject" Target="../embeddings/oleObject7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13" Type="http://schemas.openxmlformats.org/officeDocument/2006/relationships/tags" Target="../tags/tag111.xml"/><Relationship Id="rId18" Type="http://schemas.openxmlformats.org/officeDocument/2006/relationships/tags" Target="../tags/tag116.xml"/><Relationship Id="rId26" Type="http://schemas.openxmlformats.org/officeDocument/2006/relationships/tags" Target="../tags/tag124.xml"/><Relationship Id="rId3" Type="http://schemas.openxmlformats.org/officeDocument/2006/relationships/tags" Target="../tags/tag101.xml"/><Relationship Id="rId21" Type="http://schemas.openxmlformats.org/officeDocument/2006/relationships/tags" Target="../tags/tag119.xml"/><Relationship Id="rId34" Type="http://schemas.openxmlformats.org/officeDocument/2006/relationships/slideLayout" Target="../slideLayouts/slideLayout2.xml"/><Relationship Id="rId7" Type="http://schemas.openxmlformats.org/officeDocument/2006/relationships/tags" Target="../tags/tag105.xml"/><Relationship Id="rId12" Type="http://schemas.openxmlformats.org/officeDocument/2006/relationships/tags" Target="../tags/tag110.xml"/><Relationship Id="rId17" Type="http://schemas.openxmlformats.org/officeDocument/2006/relationships/tags" Target="../tags/tag115.xml"/><Relationship Id="rId25" Type="http://schemas.openxmlformats.org/officeDocument/2006/relationships/tags" Target="../tags/tag123.xml"/><Relationship Id="rId33" Type="http://schemas.openxmlformats.org/officeDocument/2006/relationships/tags" Target="../tags/tag131.xml"/><Relationship Id="rId2" Type="http://schemas.openxmlformats.org/officeDocument/2006/relationships/tags" Target="../tags/tag100.xml"/><Relationship Id="rId16" Type="http://schemas.openxmlformats.org/officeDocument/2006/relationships/tags" Target="../tags/tag114.xml"/><Relationship Id="rId20" Type="http://schemas.openxmlformats.org/officeDocument/2006/relationships/tags" Target="../tags/tag118.xml"/><Relationship Id="rId29" Type="http://schemas.openxmlformats.org/officeDocument/2006/relationships/tags" Target="../tags/tag127.xml"/><Relationship Id="rId1" Type="http://schemas.openxmlformats.org/officeDocument/2006/relationships/vmlDrawing" Target="../drawings/vmlDrawing7.vml"/><Relationship Id="rId6" Type="http://schemas.openxmlformats.org/officeDocument/2006/relationships/tags" Target="../tags/tag104.xml"/><Relationship Id="rId11" Type="http://schemas.openxmlformats.org/officeDocument/2006/relationships/tags" Target="../tags/tag109.xml"/><Relationship Id="rId24" Type="http://schemas.openxmlformats.org/officeDocument/2006/relationships/tags" Target="../tags/tag122.xml"/><Relationship Id="rId32" Type="http://schemas.openxmlformats.org/officeDocument/2006/relationships/tags" Target="../tags/tag130.xml"/><Relationship Id="rId37" Type="http://schemas.openxmlformats.org/officeDocument/2006/relationships/image" Target="../media/image26.jpeg"/><Relationship Id="rId5" Type="http://schemas.openxmlformats.org/officeDocument/2006/relationships/tags" Target="../tags/tag103.xml"/><Relationship Id="rId15" Type="http://schemas.openxmlformats.org/officeDocument/2006/relationships/tags" Target="../tags/tag113.xml"/><Relationship Id="rId23" Type="http://schemas.openxmlformats.org/officeDocument/2006/relationships/tags" Target="../tags/tag121.xml"/><Relationship Id="rId28" Type="http://schemas.openxmlformats.org/officeDocument/2006/relationships/tags" Target="../tags/tag126.xml"/><Relationship Id="rId36" Type="http://schemas.openxmlformats.org/officeDocument/2006/relationships/image" Target="../media/image25.jpeg"/><Relationship Id="rId10" Type="http://schemas.openxmlformats.org/officeDocument/2006/relationships/tags" Target="../tags/tag108.xml"/><Relationship Id="rId19" Type="http://schemas.openxmlformats.org/officeDocument/2006/relationships/tags" Target="../tags/tag117.xml"/><Relationship Id="rId31" Type="http://schemas.openxmlformats.org/officeDocument/2006/relationships/tags" Target="../tags/tag129.xml"/><Relationship Id="rId4" Type="http://schemas.openxmlformats.org/officeDocument/2006/relationships/tags" Target="../tags/tag102.xml"/><Relationship Id="rId9" Type="http://schemas.openxmlformats.org/officeDocument/2006/relationships/tags" Target="../tags/tag107.xml"/><Relationship Id="rId14" Type="http://schemas.openxmlformats.org/officeDocument/2006/relationships/tags" Target="../tags/tag112.xml"/><Relationship Id="rId22" Type="http://schemas.openxmlformats.org/officeDocument/2006/relationships/tags" Target="../tags/tag120.xml"/><Relationship Id="rId27" Type="http://schemas.openxmlformats.org/officeDocument/2006/relationships/tags" Target="../tags/tag125.xml"/><Relationship Id="rId30" Type="http://schemas.openxmlformats.org/officeDocument/2006/relationships/tags" Target="../tags/tag128.xml"/><Relationship Id="rId35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143.xml"/><Relationship Id="rId18" Type="http://schemas.openxmlformats.org/officeDocument/2006/relationships/tags" Target="../tags/tag148.xml"/><Relationship Id="rId26" Type="http://schemas.openxmlformats.org/officeDocument/2006/relationships/tags" Target="../tags/tag156.xml"/><Relationship Id="rId39" Type="http://schemas.openxmlformats.org/officeDocument/2006/relationships/tags" Target="../tags/tag169.xml"/><Relationship Id="rId21" Type="http://schemas.openxmlformats.org/officeDocument/2006/relationships/tags" Target="../tags/tag151.xml"/><Relationship Id="rId34" Type="http://schemas.openxmlformats.org/officeDocument/2006/relationships/tags" Target="../tags/tag164.xml"/><Relationship Id="rId42" Type="http://schemas.openxmlformats.org/officeDocument/2006/relationships/tags" Target="../tags/tag172.xml"/><Relationship Id="rId47" Type="http://schemas.openxmlformats.org/officeDocument/2006/relationships/tags" Target="../tags/tag177.xml"/><Relationship Id="rId50" Type="http://schemas.openxmlformats.org/officeDocument/2006/relationships/tags" Target="../tags/tag180.xml"/><Relationship Id="rId55" Type="http://schemas.openxmlformats.org/officeDocument/2006/relationships/tags" Target="../tags/tag185.xml"/><Relationship Id="rId63" Type="http://schemas.openxmlformats.org/officeDocument/2006/relationships/tags" Target="../tags/tag193.xml"/><Relationship Id="rId68" Type="http://schemas.openxmlformats.org/officeDocument/2006/relationships/tags" Target="../tags/tag198.xml"/><Relationship Id="rId76" Type="http://schemas.openxmlformats.org/officeDocument/2006/relationships/tags" Target="../tags/tag206.xml"/><Relationship Id="rId84" Type="http://schemas.openxmlformats.org/officeDocument/2006/relationships/tags" Target="../tags/tag214.xml"/><Relationship Id="rId89" Type="http://schemas.openxmlformats.org/officeDocument/2006/relationships/slideLayout" Target="../slideLayouts/slideLayout4.xml"/><Relationship Id="rId7" Type="http://schemas.openxmlformats.org/officeDocument/2006/relationships/tags" Target="../tags/tag137.xml"/><Relationship Id="rId71" Type="http://schemas.openxmlformats.org/officeDocument/2006/relationships/tags" Target="../tags/tag201.xml"/><Relationship Id="rId2" Type="http://schemas.openxmlformats.org/officeDocument/2006/relationships/tags" Target="../tags/tag132.xml"/><Relationship Id="rId16" Type="http://schemas.openxmlformats.org/officeDocument/2006/relationships/tags" Target="../tags/tag146.xml"/><Relationship Id="rId29" Type="http://schemas.openxmlformats.org/officeDocument/2006/relationships/tags" Target="../tags/tag159.xml"/><Relationship Id="rId11" Type="http://schemas.openxmlformats.org/officeDocument/2006/relationships/tags" Target="../tags/tag141.xml"/><Relationship Id="rId24" Type="http://schemas.openxmlformats.org/officeDocument/2006/relationships/tags" Target="../tags/tag154.xml"/><Relationship Id="rId32" Type="http://schemas.openxmlformats.org/officeDocument/2006/relationships/tags" Target="../tags/tag162.xml"/><Relationship Id="rId37" Type="http://schemas.openxmlformats.org/officeDocument/2006/relationships/tags" Target="../tags/tag167.xml"/><Relationship Id="rId40" Type="http://schemas.openxmlformats.org/officeDocument/2006/relationships/tags" Target="../tags/tag170.xml"/><Relationship Id="rId45" Type="http://schemas.openxmlformats.org/officeDocument/2006/relationships/tags" Target="../tags/tag175.xml"/><Relationship Id="rId53" Type="http://schemas.openxmlformats.org/officeDocument/2006/relationships/tags" Target="../tags/tag183.xml"/><Relationship Id="rId58" Type="http://schemas.openxmlformats.org/officeDocument/2006/relationships/tags" Target="../tags/tag188.xml"/><Relationship Id="rId66" Type="http://schemas.openxmlformats.org/officeDocument/2006/relationships/tags" Target="../tags/tag196.xml"/><Relationship Id="rId74" Type="http://schemas.openxmlformats.org/officeDocument/2006/relationships/tags" Target="../tags/tag204.xml"/><Relationship Id="rId79" Type="http://schemas.openxmlformats.org/officeDocument/2006/relationships/tags" Target="../tags/tag209.xml"/><Relationship Id="rId87" Type="http://schemas.openxmlformats.org/officeDocument/2006/relationships/tags" Target="../tags/tag217.xml"/><Relationship Id="rId5" Type="http://schemas.openxmlformats.org/officeDocument/2006/relationships/tags" Target="../tags/tag135.xml"/><Relationship Id="rId61" Type="http://schemas.openxmlformats.org/officeDocument/2006/relationships/tags" Target="../tags/tag191.xml"/><Relationship Id="rId82" Type="http://schemas.openxmlformats.org/officeDocument/2006/relationships/tags" Target="../tags/tag212.xml"/><Relationship Id="rId90" Type="http://schemas.openxmlformats.org/officeDocument/2006/relationships/oleObject" Target="../embeddings/oleObject9.bin"/><Relationship Id="rId19" Type="http://schemas.openxmlformats.org/officeDocument/2006/relationships/tags" Target="../tags/tag149.xml"/><Relationship Id="rId4" Type="http://schemas.openxmlformats.org/officeDocument/2006/relationships/tags" Target="../tags/tag134.xml"/><Relationship Id="rId9" Type="http://schemas.openxmlformats.org/officeDocument/2006/relationships/tags" Target="../tags/tag139.xml"/><Relationship Id="rId14" Type="http://schemas.openxmlformats.org/officeDocument/2006/relationships/tags" Target="../tags/tag144.xml"/><Relationship Id="rId22" Type="http://schemas.openxmlformats.org/officeDocument/2006/relationships/tags" Target="../tags/tag152.xml"/><Relationship Id="rId27" Type="http://schemas.openxmlformats.org/officeDocument/2006/relationships/tags" Target="../tags/tag157.xml"/><Relationship Id="rId30" Type="http://schemas.openxmlformats.org/officeDocument/2006/relationships/tags" Target="../tags/tag160.xml"/><Relationship Id="rId35" Type="http://schemas.openxmlformats.org/officeDocument/2006/relationships/tags" Target="../tags/tag165.xml"/><Relationship Id="rId43" Type="http://schemas.openxmlformats.org/officeDocument/2006/relationships/tags" Target="../tags/tag173.xml"/><Relationship Id="rId48" Type="http://schemas.openxmlformats.org/officeDocument/2006/relationships/tags" Target="../tags/tag178.xml"/><Relationship Id="rId56" Type="http://schemas.openxmlformats.org/officeDocument/2006/relationships/tags" Target="../tags/tag186.xml"/><Relationship Id="rId64" Type="http://schemas.openxmlformats.org/officeDocument/2006/relationships/tags" Target="../tags/tag194.xml"/><Relationship Id="rId69" Type="http://schemas.openxmlformats.org/officeDocument/2006/relationships/tags" Target="../tags/tag199.xml"/><Relationship Id="rId77" Type="http://schemas.openxmlformats.org/officeDocument/2006/relationships/tags" Target="../tags/tag207.xml"/><Relationship Id="rId8" Type="http://schemas.openxmlformats.org/officeDocument/2006/relationships/tags" Target="../tags/tag138.xml"/><Relationship Id="rId51" Type="http://schemas.openxmlformats.org/officeDocument/2006/relationships/tags" Target="../tags/tag181.xml"/><Relationship Id="rId72" Type="http://schemas.openxmlformats.org/officeDocument/2006/relationships/tags" Target="../tags/tag202.xml"/><Relationship Id="rId80" Type="http://schemas.openxmlformats.org/officeDocument/2006/relationships/tags" Target="../tags/tag210.xml"/><Relationship Id="rId85" Type="http://schemas.openxmlformats.org/officeDocument/2006/relationships/tags" Target="../tags/tag215.xml"/><Relationship Id="rId3" Type="http://schemas.openxmlformats.org/officeDocument/2006/relationships/tags" Target="../tags/tag133.xml"/><Relationship Id="rId12" Type="http://schemas.openxmlformats.org/officeDocument/2006/relationships/tags" Target="../tags/tag142.xml"/><Relationship Id="rId17" Type="http://schemas.openxmlformats.org/officeDocument/2006/relationships/tags" Target="../tags/tag147.xml"/><Relationship Id="rId25" Type="http://schemas.openxmlformats.org/officeDocument/2006/relationships/tags" Target="../tags/tag155.xml"/><Relationship Id="rId33" Type="http://schemas.openxmlformats.org/officeDocument/2006/relationships/tags" Target="../tags/tag163.xml"/><Relationship Id="rId38" Type="http://schemas.openxmlformats.org/officeDocument/2006/relationships/tags" Target="../tags/tag168.xml"/><Relationship Id="rId46" Type="http://schemas.openxmlformats.org/officeDocument/2006/relationships/tags" Target="../tags/tag176.xml"/><Relationship Id="rId59" Type="http://schemas.openxmlformats.org/officeDocument/2006/relationships/tags" Target="../tags/tag189.xml"/><Relationship Id="rId67" Type="http://schemas.openxmlformats.org/officeDocument/2006/relationships/tags" Target="../tags/tag197.xml"/><Relationship Id="rId20" Type="http://schemas.openxmlformats.org/officeDocument/2006/relationships/tags" Target="../tags/tag150.xml"/><Relationship Id="rId41" Type="http://schemas.openxmlformats.org/officeDocument/2006/relationships/tags" Target="../tags/tag171.xml"/><Relationship Id="rId54" Type="http://schemas.openxmlformats.org/officeDocument/2006/relationships/tags" Target="../tags/tag184.xml"/><Relationship Id="rId62" Type="http://schemas.openxmlformats.org/officeDocument/2006/relationships/tags" Target="../tags/tag192.xml"/><Relationship Id="rId70" Type="http://schemas.openxmlformats.org/officeDocument/2006/relationships/tags" Target="../tags/tag200.xml"/><Relationship Id="rId75" Type="http://schemas.openxmlformats.org/officeDocument/2006/relationships/tags" Target="../tags/tag205.xml"/><Relationship Id="rId83" Type="http://schemas.openxmlformats.org/officeDocument/2006/relationships/tags" Target="../tags/tag213.xml"/><Relationship Id="rId88" Type="http://schemas.openxmlformats.org/officeDocument/2006/relationships/tags" Target="../tags/tag218.xml"/><Relationship Id="rId1" Type="http://schemas.openxmlformats.org/officeDocument/2006/relationships/vmlDrawing" Target="../drawings/vmlDrawing8.vml"/><Relationship Id="rId6" Type="http://schemas.openxmlformats.org/officeDocument/2006/relationships/tags" Target="../tags/tag136.xml"/><Relationship Id="rId15" Type="http://schemas.openxmlformats.org/officeDocument/2006/relationships/tags" Target="../tags/tag145.xml"/><Relationship Id="rId23" Type="http://schemas.openxmlformats.org/officeDocument/2006/relationships/tags" Target="../tags/tag153.xml"/><Relationship Id="rId28" Type="http://schemas.openxmlformats.org/officeDocument/2006/relationships/tags" Target="../tags/tag158.xml"/><Relationship Id="rId36" Type="http://schemas.openxmlformats.org/officeDocument/2006/relationships/tags" Target="../tags/tag166.xml"/><Relationship Id="rId49" Type="http://schemas.openxmlformats.org/officeDocument/2006/relationships/tags" Target="../tags/tag179.xml"/><Relationship Id="rId57" Type="http://schemas.openxmlformats.org/officeDocument/2006/relationships/tags" Target="../tags/tag187.xml"/><Relationship Id="rId10" Type="http://schemas.openxmlformats.org/officeDocument/2006/relationships/tags" Target="../tags/tag140.xml"/><Relationship Id="rId31" Type="http://schemas.openxmlformats.org/officeDocument/2006/relationships/tags" Target="../tags/tag161.xml"/><Relationship Id="rId44" Type="http://schemas.openxmlformats.org/officeDocument/2006/relationships/tags" Target="../tags/tag174.xml"/><Relationship Id="rId52" Type="http://schemas.openxmlformats.org/officeDocument/2006/relationships/tags" Target="../tags/tag182.xml"/><Relationship Id="rId60" Type="http://schemas.openxmlformats.org/officeDocument/2006/relationships/tags" Target="../tags/tag190.xml"/><Relationship Id="rId65" Type="http://schemas.openxmlformats.org/officeDocument/2006/relationships/tags" Target="../tags/tag195.xml"/><Relationship Id="rId73" Type="http://schemas.openxmlformats.org/officeDocument/2006/relationships/tags" Target="../tags/tag203.xml"/><Relationship Id="rId78" Type="http://schemas.openxmlformats.org/officeDocument/2006/relationships/tags" Target="../tags/tag208.xml"/><Relationship Id="rId81" Type="http://schemas.openxmlformats.org/officeDocument/2006/relationships/tags" Target="../tags/tag211.xml"/><Relationship Id="rId86" Type="http://schemas.openxmlformats.org/officeDocument/2006/relationships/tags" Target="../tags/tag216.xml"/></Relationships>
</file>

<file path=ppt/slides/_rels/slide14.xml.rels><?xml version="1.0" encoding="UTF-8" standalone="yes"?>
<Relationships xmlns="http://schemas.openxmlformats.org/package/2006/relationships"><Relationship Id="rId26" Type="http://schemas.openxmlformats.org/officeDocument/2006/relationships/tags" Target="../tags/tag243.xml"/><Relationship Id="rId117" Type="http://schemas.openxmlformats.org/officeDocument/2006/relationships/tags" Target="../tags/tag334.xml"/><Relationship Id="rId21" Type="http://schemas.openxmlformats.org/officeDocument/2006/relationships/tags" Target="../tags/tag238.xml"/><Relationship Id="rId42" Type="http://schemas.openxmlformats.org/officeDocument/2006/relationships/tags" Target="../tags/tag259.xml"/><Relationship Id="rId47" Type="http://schemas.openxmlformats.org/officeDocument/2006/relationships/tags" Target="../tags/tag264.xml"/><Relationship Id="rId63" Type="http://schemas.openxmlformats.org/officeDocument/2006/relationships/tags" Target="../tags/tag280.xml"/><Relationship Id="rId68" Type="http://schemas.openxmlformats.org/officeDocument/2006/relationships/tags" Target="../tags/tag285.xml"/><Relationship Id="rId84" Type="http://schemas.openxmlformats.org/officeDocument/2006/relationships/tags" Target="../tags/tag301.xml"/><Relationship Id="rId89" Type="http://schemas.openxmlformats.org/officeDocument/2006/relationships/tags" Target="../tags/tag306.xml"/><Relationship Id="rId112" Type="http://schemas.openxmlformats.org/officeDocument/2006/relationships/tags" Target="../tags/tag329.xml"/><Relationship Id="rId16" Type="http://schemas.openxmlformats.org/officeDocument/2006/relationships/tags" Target="../tags/tag233.xml"/><Relationship Id="rId107" Type="http://schemas.openxmlformats.org/officeDocument/2006/relationships/tags" Target="../tags/tag324.xml"/><Relationship Id="rId11" Type="http://schemas.openxmlformats.org/officeDocument/2006/relationships/tags" Target="../tags/tag228.xml"/><Relationship Id="rId32" Type="http://schemas.openxmlformats.org/officeDocument/2006/relationships/tags" Target="../tags/tag249.xml"/><Relationship Id="rId37" Type="http://schemas.openxmlformats.org/officeDocument/2006/relationships/tags" Target="../tags/tag254.xml"/><Relationship Id="rId53" Type="http://schemas.openxmlformats.org/officeDocument/2006/relationships/tags" Target="../tags/tag270.xml"/><Relationship Id="rId58" Type="http://schemas.openxmlformats.org/officeDocument/2006/relationships/tags" Target="../tags/tag275.xml"/><Relationship Id="rId74" Type="http://schemas.openxmlformats.org/officeDocument/2006/relationships/tags" Target="../tags/tag291.xml"/><Relationship Id="rId79" Type="http://schemas.openxmlformats.org/officeDocument/2006/relationships/tags" Target="../tags/tag296.xml"/><Relationship Id="rId102" Type="http://schemas.openxmlformats.org/officeDocument/2006/relationships/tags" Target="../tags/tag319.xml"/><Relationship Id="rId123" Type="http://schemas.openxmlformats.org/officeDocument/2006/relationships/slideLayout" Target="../slideLayouts/slideLayout2.xml"/><Relationship Id="rId5" Type="http://schemas.openxmlformats.org/officeDocument/2006/relationships/tags" Target="../tags/tag222.xml"/><Relationship Id="rId61" Type="http://schemas.openxmlformats.org/officeDocument/2006/relationships/tags" Target="../tags/tag278.xml"/><Relationship Id="rId82" Type="http://schemas.openxmlformats.org/officeDocument/2006/relationships/tags" Target="../tags/tag299.xml"/><Relationship Id="rId90" Type="http://schemas.openxmlformats.org/officeDocument/2006/relationships/tags" Target="../tags/tag307.xml"/><Relationship Id="rId95" Type="http://schemas.openxmlformats.org/officeDocument/2006/relationships/tags" Target="../tags/tag312.xml"/><Relationship Id="rId19" Type="http://schemas.openxmlformats.org/officeDocument/2006/relationships/tags" Target="../tags/tag236.xml"/><Relationship Id="rId14" Type="http://schemas.openxmlformats.org/officeDocument/2006/relationships/tags" Target="../tags/tag231.xml"/><Relationship Id="rId22" Type="http://schemas.openxmlformats.org/officeDocument/2006/relationships/tags" Target="../tags/tag239.xml"/><Relationship Id="rId27" Type="http://schemas.openxmlformats.org/officeDocument/2006/relationships/tags" Target="../tags/tag244.xml"/><Relationship Id="rId30" Type="http://schemas.openxmlformats.org/officeDocument/2006/relationships/tags" Target="../tags/tag247.xml"/><Relationship Id="rId35" Type="http://schemas.openxmlformats.org/officeDocument/2006/relationships/tags" Target="../tags/tag252.xml"/><Relationship Id="rId43" Type="http://schemas.openxmlformats.org/officeDocument/2006/relationships/tags" Target="../tags/tag260.xml"/><Relationship Id="rId48" Type="http://schemas.openxmlformats.org/officeDocument/2006/relationships/tags" Target="../tags/tag265.xml"/><Relationship Id="rId56" Type="http://schemas.openxmlformats.org/officeDocument/2006/relationships/tags" Target="../tags/tag273.xml"/><Relationship Id="rId64" Type="http://schemas.openxmlformats.org/officeDocument/2006/relationships/tags" Target="../tags/tag281.xml"/><Relationship Id="rId69" Type="http://schemas.openxmlformats.org/officeDocument/2006/relationships/tags" Target="../tags/tag286.xml"/><Relationship Id="rId77" Type="http://schemas.openxmlformats.org/officeDocument/2006/relationships/tags" Target="../tags/tag294.xml"/><Relationship Id="rId100" Type="http://schemas.openxmlformats.org/officeDocument/2006/relationships/tags" Target="../tags/tag317.xml"/><Relationship Id="rId105" Type="http://schemas.openxmlformats.org/officeDocument/2006/relationships/tags" Target="../tags/tag322.xml"/><Relationship Id="rId113" Type="http://schemas.openxmlformats.org/officeDocument/2006/relationships/tags" Target="../tags/tag330.xml"/><Relationship Id="rId118" Type="http://schemas.openxmlformats.org/officeDocument/2006/relationships/tags" Target="../tags/tag335.xml"/><Relationship Id="rId8" Type="http://schemas.openxmlformats.org/officeDocument/2006/relationships/tags" Target="../tags/tag225.xml"/><Relationship Id="rId51" Type="http://schemas.openxmlformats.org/officeDocument/2006/relationships/tags" Target="../tags/tag268.xml"/><Relationship Id="rId72" Type="http://schemas.openxmlformats.org/officeDocument/2006/relationships/tags" Target="../tags/tag289.xml"/><Relationship Id="rId80" Type="http://schemas.openxmlformats.org/officeDocument/2006/relationships/tags" Target="../tags/tag297.xml"/><Relationship Id="rId85" Type="http://schemas.openxmlformats.org/officeDocument/2006/relationships/tags" Target="../tags/tag302.xml"/><Relationship Id="rId93" Type="http://schemas.openxmlformats.org/officeDocument/2006/relationships/tags" Target="../tags/tag310.xml"/><Relationship Id="rId98" Type="http://schemas.openxmlformats.org/officeDocument/2006/relationships/tags" Target="../tags/tag315.xml"/><Relationship Id="rId121" Type="http://schemas.openxmlformats.org/officeDocument/2006/relationships/tags" Target="../tags/tag338.xml"/><Relationship Id="rId3" Type="http://schemas.openxmlformats.org/officeDocument/2006/relationships/tags" Target="../tags/tag220.xml"/><Relationship Id="rId12" Type="http://schemas.openxmlformats.org/officeDocument/2006/relationships/tags" Target="../tags/tag229.xml"/><Relationship Id="rId17" Type="http://schemas.openxmlformats.org/officeDocument/2006/relationships/tags" Target="../tags/tag234.xml"/><Relationship Id="rId25" Type="http://schemas.openxmlformats.org/officeDocument/2006/relationships/tags" Target="../tags/tag242.xml"/><Relationship Id="rId33" Type="http://schemas.openxmlformats.org/officeDocument/2006/relationships/tags" Target="../tags/tag250.xml"/><Relationship Id="rId38" Type="http://schemas.openxmlformats.org/officeDocument/2006/relationships/tags" Target="../tags/tag255.xml"/><Relationship Id="rId46" Type="http://schemas.openxmlformats.org/officeDocument/2006/relationships/tags" Target="../tags/tag263.xml"/><Relationship Id="rId59" Type="http://schemas.openxmlformats.org/officeDocument/2006/relationships/tags" Target="../tags/tag276.xml"/><Relationship Id="rId67" Type="http://schemas.openxmlformats.org/officeDocument/2006/relationships/tags" Target="../tags/tag284.xml"/><Relationship Id="rId103" Type="http://schemas.openxmlformats.org/officeDocument/2006/relationships/tags" Target="../tags/tag320.xml"/><Relationship Id="rId108" Type="http://schemas.openxmlformats.org/officeDocument/2006/relationships/tags" Target="../tags/tag325.xml"/><Relationship Id="rId116" Type="http://schemas.openxmlformats.org/officeDocument/2006/relationships/tags" Target="../tags/tag333.xml"/><Relationship Id="rId124" Type="http://schemas.openxmlformats.org/officeDocument/2006/relationships/oleObject" Target="../embeddings/oleObject10.bin"/><Relationship Id="rId20" Type="http://schemas.openxmlformats.org/officeDocument/2006/relationships/tags" Target="../tags/tag237.xml"/><Relationship Id="rId41" Type="http://schemas.openxmlformats.org/officeDocument/2006/relationships/tags" Target="../tags/tag258.xml"/><Relationship Id="rId54" Type="http://schemas.openxmlformats.org/officeDocument/2006/relationships/tags" Target="../tags/tag271.xml"/><Relationship Id="rId62" Type="http://schemas.openxmlformats.org/officeDocument/2006/relationships/tags" Target="../tags/tag279.xml"/><Relationship Id="rId70" Type="http://schemas.openxmlformats.org/officeDocument/2006/relationships/tags" Target="../tags/tag287.xml"/><Relationship Id="rId75" Type="http://schemas.openxmlformats.org/officeDocument/2006/relationships/tags" Target="../tags/tag292.xml"/><Relationship Id="rId83" Type="http://schemas.openxmlformats.org/officeDocument/2006/relationships/tags" Target="../tags/tag300.xml"/><Relationship Id="rId88" Type="http://schemas.openxmlformats.org/officeDocument/2006/relationships/tags" Target="../tags/tag305.xml"/><Relationship Id="rId91" Type="http://schemas.openxmlformats.org/officeDocument/2006/relationships/tags" Target="../tags/tag308.xml"/><Relationship Id="rId96" Type="http://schemas.openxmlformats.org/officeDocument/2006/relationships/tags" Target="../tags/tag313.xml"/><Relationship Id="rId111" Type="http://schemas.openxmlformats.org/officeDocument/2006/relationships/tags" Target="../tags/tag328.xml"/><Relationship Id="rId1" Type="http://schemas.openxmlformats.org/officeDocument/2006/relationships/vmlDrawing" Target="../drawings/vmlDrawing9.vml"/><Relationship Id="rId6" Type="http://schemas.openxmlformats.org/officeDocument/2006/relationships/tags" Target="../tags/tag223.xml"/><Relationship Id="rId15" Type="http://schemas.openxmlformats.org/officeDocument/2006/relationships/tags" Target="../tags/tag232.xml"/><Relationship Id="rId23" Type="http://schemas.openxmlformats.org/officeDocument/2006/relationships/tags" Target="../tags/tag240.xml"/><Relationship Id="rId28" Type="http://schemas.openxmlformats.org/officeDocument/2006/relationships/tags" Target="../tags/tag245.xml"/><Relationship Id="rId36" Type="http://schemas.openxmlformats.org/officeDocument/2006/relationships/tags" Target="../tags/tag253.xml"/><Relationship Id="rId49" Type="http://schemas.openxmlformats.org/officeDocument/2006/relationships/tags" Target="../tags/tag266.xml"/><Relationship Id="rId57" Type="http://schemas.openxmlformats.org/officeDocument/2006/relationships/tags" Target="../tags/tag274.xml"/><Relationship Id="rId106" Type="http://schemas.openxmlformats.org/officeDocument/2006/relationships/tags" Target="../tags/tag323.xml"/><Relationship Id="rId114" Type="http://schemas.openxmlformats.org/officeDocument/2006/relationships/tags" Target="../tags/tag331.xml"/><Relationship Id="rId119" Type="http://schemas.openxmlformats.org/officeDocument/2006/relationships/tags" Target="../tags/tag336.xml"/><Relationship Id="rId10" Type="http://schemas.openxmlformats.org/officeDocument/2006/relationships/tags" Target="../tags/tag227.xml"/><Relationship Id="rId31" Type="http://schemas.openxmlformats.org/officeDocument/2006/relationships/tags" Target="../tags/tag248.xml"/><Relationship Id="rId44" Type="http://schemas.openxmlformats.org/officeDocument/2006/relationships/tags" Target="../tags/tag261.xml"/><Relationship Id="rId52" Type="http://schemas.openxmlformats.org/officeDocument/2006/relationships/tags" Target="../tags/tag269.xml"/><Relationship Id="rId60" Type="http://schemas.openxmlformats.org/officeDocument/2006/relationships/tags" Target="../tags/tag277.xml"/><Relationship Id="rId65" Type="http://schemas.openxmlformats.org/officeDocument/2006/relationships/tags" Target="../tags/tag282.xml"/><Relationship Id="rId73" Type="http://schemas.openxmlformats.org/officeDocument/2006/relationships/tags" Target="../tags/tag290.xml"/><Relationship Id="rId78" Type="http://schemas.openxmlformats.org/officeDocument/2006/relationships/tags" Target="../tags/tag295.xml"/><Relationship Id="rId81" Type="http://schemas.openxmlformats.org/officeDocument/2006/relationships/tags" Target="../tags/tag298.xml"/><Relationship Id="rId86" Type="http://schemas.openxmlformats.org/officeDocument/2006/relationships/tags" Target="../tags/tag303.xml"/><Relationship Id="rId94" Type="http://schemas.openxmlformats.org/officeDocument/2006/relationships/tags" Target="../tags/tag311.xml"/><Relationship Id="rId99" Type="http://schemas.openxmlformats.org/officeDocument/2006/relationships/tags" Target="../tags/tag316.xml"/><Relationship Id="rId101" Type="http://schemas.openxmlformats.org/officeDocument/2006/relationships/tags" Target="../tags/tag318.xml"/><Relationship Id="rId122" Type="http://schemas.openxmlformats.org/officeDocument/2006/relationships/tags" Target="../tags/tag339.xml"/><Relationship Id="rId4" Type="http://schemas.openxmlformats.org/officeDocument/2006/relationships/tags" Target="../tags/tag221.xml"/><Relationship Id="rId9" Type="http://schemas.openxmlformats.org/officeDocument/2006/relationships/tags" Target="../tags/tag226.xml"/><Relationship Id="rId13" Type="http://schemas.openxmlformats.org/officeDocument/2006/relationships/tags" Target="../tags/tag230.xml"/><Relationship Id="rId18" Type="http://schemas.openxmlformats.org/officeDocument/2006/relationships/tags" Target="../tags/tag235.xml"/><Relationship Id="rId39" Type="http://schemas.openxmlformats.org/officeDocument/2006/relationships/tags" Target="../tags/tag256.xml"/><Relationship Id="rId109" Type="http://schemas.openxmlformats.org/officeDocument/2006/relationships/tags" Target="../tags/tag326.xml"/><Relationship Id="rId34" Type="http://schemas.openxmlformats.org/officeDocument/2006/relationships/tags" Target="../tags/tag251.xml"/><Relationship Id="rId50" Type="http://schemas.openxmlformats.org/officeDocument/2006/relationships/tags" Target="../tags/tag267.xml"/><Relationship Id="rId55" Type="http://schemas.openxmlformats.org/officeDocument/2006/relationships/tags" Target="../tags/tag272.xml"/><Relationship Id="rId76" Type="http://schemas.openxmlformats.org/officeDocument/2006/relationships/tags" Target="../tags/tag293.xml"/><Relationship Id="rId97" Type="http://schemas.openxmlformats.org/officeDocument/2006/relationships/tags" Target="../tags/tag314.xml"/><Relationship Id="rId104" Type="http://schemas.openxmlformats.org/officeDocument/2006/relationships/tags" Target="../tags/tag321.xml"/><Relationship Id="rId120" Type="http://schemas.openxmlformats.org/officeDocument/2006/relationships/tags" Target="../tags/tag337.xml"/><Relationship Id="rId7" Type="http://schemas.openxmlformats.org/officeDocument/2006/relationships/tags" Target="../tags/tag224.xml"/><Relationship Id="rId71" Type="http://schemas.openxmlformats.org/officeDocument/2006/relationships/tags" Target="../tags/tag288.xml"/><Relationship Id="rId92" Type="http://schemas.openxmlformats.org/officeDocument/2006/relationships/tags" Target="../tags/tag309.xml"/><Relationship Id="rId2" Type="http://schemas.openxmlformats.org/officeDocument/2006/relationships/tags" Target="../tags/tag219.xml"/><Relationship Id="rId29" Type="http://schemas.openxmlformats.org/officeDocument/2006/relationships/tags" Target="../tags/tag246.xml"/><Relationship Id="rId24" Type="http://schemas.openxmlformats.org/officeDocument/2006/relationships/tags" Target="../tags/tag241.xml"/><Relationship Id="rId40" Type="http://schemas.openxmlformats.org/officeDocument/2006/relationships/tags" Target="../tags/tag257.xml"/><Relationship Id="rId45" Type="http://schemas.openxmlformats.org/officeDocument/2006/relationships/tags" Target="../tags/tag262.xml"/><Relationship Id="rId66" Type="http://schemas.openxmlformats.org/officeDocument/2006/relationships/tags" Target="../tags/tag283.xml"/><Relationship Id="rId87" Type="http://schemas.openxmlformats.org/officeDocument/2006/relationships/tags" Target="../tags/tag304.xml"/><Relationship Id="rId110" Type="http://schemas.openxmlformats.org/officeDocument/2006/relationships/tags" Target="../tags/tag327.xml"/><Relationship Id="rId115" Type="http://schemas.openxmlformats.org/officeDocument/2006/relationships/tags" Target="../tags/tag332.xml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351.xml"/><Relationship Id="rId18" Type="http://schemas.openxmlformats.org/officeDocument/2006/relationships/tags" Target="../tags/tag356.xml"/><Relationship Id="rId26" Type="http://schemas.openxmlformats.org/officeDocument/2006/relationships/tags" Target="../tags/tag364.xml"/><Relationship Id="rId39" Type="http://schemas.openxmlformats.org/officeDocument/2006/relationships/tags" Target="../tags/tag377.xml"/><Relationship Id="rId21" Type="http://schemas.openxmlformats.org/officeDocument/2006/relationships/tags" Target="../tags/tag359.xml"/><Relationship Id="rId34" Type="http://schemas.openxmlformats.org/officeDocument/2006/relationships/tags" Target="../tags/tag372.xml"/><Relationship Id="rId42" Type="http://schemas.openxmlformats.org/officeDocument/2006/relationships/tags" Target="../tags/tag380.xml"/><Relationship Id="rId47" Type="http://schemas.openxmlformats.org/officeDocument/2006/relationships/tags" Target="../tags/tag385.xml"/><Relationship Id="rId50" Type="http://schemas.openxmlformats.org/officeDocument/2006/relationships/tags" Target="../tags/tag388.xml"/><Relationship Id="rId55" Type="http://schemas.openxmlformats.org/officeDocument/2006/relationships/tags" Target="../tags/tag393.xml"/><Relationship Id="rId63" Type="http://schemas.openxmlformats.org/officeDocument/2006/relationships/tags" Target="../tags/tag401.xml"/><Relationship Id="rId68" Type="http://schemas.openxmlformats.org/officeDocument/2006/relationships/tags" Target="../tags/tag406.xml"/><Relationship Id="rId76" Type="http://schemas.openxmlformats.org/officeDocument/2006/relationships/tags" Target="../tags/tag414.xml"/><Relationship Id="rId84" Type="http://schemas.openxmlformats.org/officeDocument/2006/relationships/tags" Target="../tags/tag422.xml"/><Relationship Id="rId89" Type="http://schemas.openxmlformats.org/officeDocument/2006/relationships/tags" Target="../tags/tag427.xml"/><Relationship Id="rId7" Type="http://schemas.openxmlformats.org/officeDocument/2006/relationships/tags" Target="../tags/tag345.xml"/><Relationship Id="rId71" Type="http://schemas.openxmlformats.org/officeDocument/2006/relationships/tags" Target="../tags/tag409.xml"/><Relationship Id="rId92" Type="http://schemas.openxmlformats.org/officeDocument/2006/relationships/notesSlide" Target="../notesSlides/notesSlide3.xml"/><Relationship Id="rId2" Type="http://schemas.openxmlformats.org/officeDocument/2006/relationships/tags" Target="../tags/tag340.xml"/><Relationship Id="rId16" Type="http://schemas.openxmlformats.org/officeDocument/2006/relationships/tags" Target="../tags/tag354.xml"/><Relationship Id="rId29" Type="http://schemas.openxmlformats.org/officeDocument/2006/relationships/tags" Target="../tags/tag367.xml"/><Relationship Id="rId11" Type="http://schemas.openxmlformats.org/officeDocument/2006/relationships/tags" Target="../tags/tag349.xml"/><Relationship Id="rId24" Type="http://schemas.openxmlformats.org/officeDocument/2006/relationships/tags" Target="../tags/tag362.xml"/><Relationship Id="rId32" Type="http://schemas.openxmlformats.org/officeDocument/2006/relationships/tags" Target="../tags/tag370.xml"/><Relationship Id="rId37" Type="http://schemas.openxmlformats.org/officeDocument/2006/relationships/tags" Target="../tags/tag375.xml"/><Relationship Id="rId40" Type="http://schemas.openxmlformats.org/officeDocument/2006/relationships/tags" Target="../tags/tag378.xml"/><Relationship Id="rId45" Type="http://schemas.openxmlformats.org/officeDocument/2006/relationships/tags" Target="../tags/tag383.xml"/><Relationship Id="rId53" Type="http://schemas.openxmlformats.org/officeDocument/2006/relationships/tags" Target="../tags/tag391.xml"/><Relationship Id="rId58" Type="http://schemas.openxmlformats.org/officeDocument/2006/relationships/tags" Target="../tags/tag396.xml"/><Relationship Id="rId66" Type="http://schemas.openxmlformats.org/officeDocument/2006/relationships/tags" Target="../tags/tag404.xml"/><Relationship Id="rId74" Type="http://schemas.openxmlformats.org/officeDocument/2006/relationships/tags" Target="../tags/tag412.xml"/><Relationship Id="rId79" Type="http://schemas.openxmlformats.org/officeDocument/2006/relationships/tags" Target="../tags/tag417.xml"/><Relationship Id="rId87" Type="http://schemas.openxmlformats.org/officeDocument/2006/relationships/tags" Target="../tags/tag425.xml"/><Relationship Id="rId5" Type="http://schemas.openxmlformats.org/officeDocument/2006/relationships/tags" Target="../tags/tag343.xml"/><Relationship Id="rId61" Type="http://schemas.openxmlformats.org/officeDocument/2006/relationships/tags" Target="../tags/tag399.xml"/><Relationship Id="rId82" Type="http://schemas.openxmlformats.org/officeDocument/2006/relationships/tags" Target="../tags/tag420.xml"/><Relationship Id="rId90" Type="http://schemas.openxmlformats.org/officeDocument/2006/relationships/tags" Target="../tags/tag428.xml"/><Relationship Id="rId95" Type="http://schemas.openxmlformats.org/officeDocument/2006/relationships/oleObject" Target="../embeddings/oleObject13.bin"/><Relationship Id="rId19" Type="http://schemas.openxmlformats.org/officeDocument/2006/relationships/tags" Target="../tags/tag357.xml"/><Relationship Id="rId14" Type="http://schemas.openxmlformats.org/officeDocument/2006/relationships/tags" Target="../tags/tag352.xml"/><Relationship Id="rId22" Type="http://schemas.openxmlformats.org/officeDocument/2006/relationships/tags" Target="../tags/tag360.xml"/><Relationship Id="rId27" Type="http://schemas.openxmlformats.org/officeDocument/2006/relationships/tags" Target="../tags/tag365.xml"/><Relationship Id="rId30" Type="http://schemas.openxmlformats.org/officeDocument/2006/relationships/tags" Target="../tags/tag368.xml"/><Relationship Id="rId35" Type="http://schemas.openxmlformats.org/officeDocument/2006/relationships/tags" Target="../tags/tag373.xml"/><Relationship Id="rId43" Type="http://schemas.openxmlformats.org/officeDocument/2006/relationships/tags" Target="../tags/tag381.xml"/><Relationship Id="rId48" Type="http://schemas.openxmlformats.org/officeDocument/2006/relationships/tags" Target="../tags/tag386.xml"/><Relationship Id="rId56" Type="http://schemas.openxmlformats.org/officeDocument/2006/relationships/tags" Target="../tags/tag394.xml"/><Relationship Id="rId64" Type="http://schemas.openxmlformats.org/officeDocument/2006/relationships/tags" Target="../tags/tag402.xml"/><Relationship Id="rId69" Type="http://schemas.openxmlformats.org/officeDocument/2006/relationships/tags" Target="../tags/tag407.xml"/><Relationship Id="rId77" Type="http://schemas.openxmlformats.org/officeDocument/2006/relationships/tags" Target="../tags/tag415.xml"/><Relationship Id="rId8" Type="http://schemas.openxmlformats.org/officeDocument/2006/relationships/tags" Target="../tags/tag346.xml"/><Relationship Id="rId51" Type="http://schemas.openxmlformats.org/officeDocument/2006/relationships/tags" Target="../tags/tag389.xml"/><Relationship Id="rId72" Type="http://schemas.openxmlformats.org/officeDocument/2006/relationships/tags" Target="../tags/tag410.xml"/><Relationship Id="rId80" Type="http://schemas.openxmlformats.org/officeDocument/2006/relationships/tags" Target="../tags/tag418.xml"/><Relationship Id="rId85" Type="http://schemas.openxmlformats.org/officeDocument/2006/relationships/tags" Target="../tags/tag423.xml"/><Relationship Id="rId93" Type="http://schemas.openxmlformats.org/officeDocument/2006/relationships/oleObject" Target="../embeddings/oleObject11.bin"/><Relationship Id="rId3" Type="http://schemas.openxmlformats.org/officeDocument/2006/relationships/tags" Target="../tags/tag341.xml"/><Relationship Id="rId12" Type="http://schemas.openxmlformats.org/officeDocument/2006/relationships/tags" Target="../tags/tag350.xml"/><Relationship Id="rId17" Type="http://schemas.openxmlformats.org/officeDocument/2006/relationships/tags" Target="../tags/tag355.xml"/><Relationship Id="rId25" Type="http://schemas.openxmlformats.org/officeDocument/2006/relationships/tags" Target="../tags/tag363.xml"/><Relationship Id="rId33" Type="http://schemas.openxmlformats.org/officeDocument/2006/relationships/tags" Target="../tags/tag371.xml"/><Relationship Id="rId38" Type="http://schemas.openxmlformats.org/officeDocument/2006/relationships/tags" Target="../tags/tag376.xml"/><Relationship Id="rId46" Type="http://schemas.openxmlformats.org/officeDocument/2006/relationships/tags" Target="../tags/tag384.xml"/><Relationship Id="rId59" Type="http://schemas.openxmlformats.org/officeDocument/2006/relationships/tags" Target="../tags/tag397.xml"/><Relationship Id="rId67" Type="http://schemas.openxmlformats.org/officeDocument/2006/relationships/tags" Target="../tags/tag405.xml"/><Relationship Id="rId20" Type="http://schemas.openxmlformats.org/officeDocument/2006/relationships/tags" Target="../tags/tag358.xml"/><Relationship Id="rId41" Type="http://schemas.openxmlformats.org/officeDocument/2006/relationships/tags" Target="../tags/tag379.xml"/><Relationship Id="rId54" Type="http://schemas.openxmlformats.org/officeDocument/2006/relationships/tags" Target="../tags/tag392.xml"/><Relationship Id="rId62" Type="http://schemas.openxmlformats.org/officeDocument/2006/relationships/tags" Target="../tags/tag400.xml"/><Relationship Id="rId70" Type="http://schemas.openxmlformats.org/officeDocument/2006/relationships/tags" Target="../tags/tag408.xml"/><Relationship Id="rId75" Type="http://schemas.openxmlformats.org/officeDocument/2006/relationships/tags" Target="../tags/tag413.xml"/><Relationship Id="rId83" Type="http://schemas.openxmlformats.org/officeDocument/2006/relationships/tags" Target="../tags/tag421.xml"/><Relationship Id="rId88" Type="http://schemas.openxmlformats.org/officeDocument/2006/relationships/tags" Target="../tags/tag426.xml"/><Relationship Id="rId91" Type="http://schemas.openxmlformats.org/officeDocument/2006/relationships/slideLayout" Target="../slideLayouts/slideLayout2.xml"/><Relationship Id="rId96" Type="http://schemas.openxmlformats.org/officeDocument/2006/relationships/oleObject" Target="../embeddings/oleObject14.bin"/><Relationship Id="rId1" Type="http://schemas.openxmlformats.org/officeDocument/2006/relationships/vmlDrawing" Target="../drawings/vmlDrawing10.vml"/><Relationship Id="rId6" Type="http://schemas.openxmlformats.org/officeDocument/2006/relationships/tags" Target="../tags/tag344.xml"/><Relationship Id="rId15" Type="http://schemas.openxmlformats.org/officeDocument/2006/relationships/tags" Target="../tags/tag353.xml"/><Relationship Id="rId23" Type="http://schemas.openxmlformats.org/officeDocument/2006/relationships/tags" Target="../tags/tag361.xml"/><Relationship Id="rId28" Type="http://schemas.openxmlformats.org/officeDocument/2006/relationships/tags" Target="../tags/tag366.xml"/><Relationship Id="rId36" Type="http://schemas.openxmlformats.org/officeDocument/2006/relationships/tags" Target="../tags/tag374.xml"/><Relationship Id="rId49" Type="http://schemas.openxmlformats.org/officeDocument/2006/relationships/tags" Target="../tags/tag387.xml"/><Relationship Id="rId57" Type="http://schemas.openxmlformats.org/officeDocument/2006/relationships/tags" Target="../tags/tag395.xml"/><Relationship Id="rId10" Type="http://schemas.openxmlformats.org/officeDocument/2006/relationships/tags" Target="../tags/tag348.xml"/><Relationship Id="rId31" Type="http://schemas.openxmlformats.org/officeDocument/2006/relationships/tags" Target="../tags/tag369.xml"/><Relationship Id="rId44" Type="http://schemas.openxmlformats.org/officeDocument/2006/relationships/tags" Target="../tags/tag382.xml"/><Relationship Id="rId52" Type="http://schemas.openxmlformats.org/officeDocument/2006/relationships/tags" Target="../tags/tag390.xml"/><Relationship Id="rId60" Type="http://schemas.openxmlformats.org/officeDocument/2006/relationships/tags" Target="../tags/tag398.xml"/><Relationship Id="rId65" Type="http://schemas.openxmlformats.org/officeDocument/2006/relationships/tags" Target="../tags/tag403.xml"/><Relationship Id="rId73" Type="http://schemas.openxmlformats.org/officeDocument/2006/relationships/tags" Target="../tags/tag411.xml"/><Relationship Id="rId78" Type="http://schemas.openxmlformats.org/officeDocument/2006/relationships/tags" Target="../tags/tag416.xml"/><Relationship Id="rId81" Type="http://schemas.openxmlformats.org/officeDocument/2006/relationships/tags" Target="../tags/tag419.xml"/><Relationship Id="rId86" Type="http://schemas.openxmlformats.org/officeDocument/2006/relationships/tags" Target="../tags/tag424.xml"/><Relationship Id="rId94" Type="http://schemas.openxmlformats.org/officeDocument/2006/relationships/oleObject" Target="../embeddings/oleObject12.bin"/><Relationship Id="rId4" Type="http://schemas.openxmlformats.org/officeDocument/2006/relationships/tags" Target="../tags/tag342.xml"/><Relationship Id="rId9" Type="http://schemas.openxmlformats.org/officeDocument/2006/relationships/tags" Target="../tags/tag347.xm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440.xml"/><Relationship Id="rId18" Type="http://schemas.openxmlformats.org/officeDocument/2006/relationships/tags" Target="../tags/tag445.xml"/><Relationship Id="rId26" Type="http://schemas.openxmlformats.org/officeDocument/2006/relationships/tags" Target="../tags/tag453.xml"/><Relationship Id="rId39" Type="http://schemas.openxmlformats.org/officeDocument/2006/relationships/tags" Target="../tags/tag466.xml"/><Relationship Id="rId21" Type="http://schemas.openxmlformats.org/officeDocument/2006/relationships/tags" Target="../tags/tag448.xml"/><Relationship Id="rId34" Type="http://schemas.openxmlformats.org/officeDocument/2006/relationships/tags" Target="../tags/tag461.xml"/><Relationship Id="rId42" Type="http://schemas.openxmlformats.org/officeDocument/2006/relationships/tags" Target="../tags/tag469.xml"/><Relationship Id="rId47" Type="http://schemas.openxmlformats.org/officeDocument/2006/relationships/tags" Target="../tags/tag474.xml"/><Relationship Id="rId50" Type="http://schemas.openxmlformats.org/officeDocument/2006/relationships/tags" Target="../tags/tag477.xml"/><Relationship Id="rId55" Type="http://schemas.openxmlformats.org/officeDocument/2006/relationships/tags" Target="../tags/tag482.xml"/><Relationship Id="rId63" Type="http://schemas.openxmlformats.org/officeDocument/2006/relationships/tags" Target="../tags/tag490.xml"/><Relationship Id="rId68" Type="http://schemas.openxmlformats.org/officeDocument/2006/relationships/tags" Target="../tags/tag495.xml"/><Relationship Id="rId76" Type="http://schemas.openxmlformats.org/officeDocument/2006/relationships/tags" Target="../tags/tag503.xml"/><Relationship Id="rId84" Type="http://schemas.openxmlformats.org/officeDocument/2006/relationships/tags" Target="../tags/tag511.xml"/><Relationship Id="rId89" Type="http://schemas.openxmlformats.org/officeDocument/2006/relationships/tags" Target="../tags/tag516.xml"/><Relationship Id="rId7" Type="http://schemas.openxmlformats.org/officeDocument/2006/relationships/tags" Target="../tags/tag434.xml"/><Relationship Id="rId71" Type="http://schemas.openxmlformats.org/officeDocument/2006/relationships/tags" Target="../tags/tag498.xml"/><Relationship Id="rId92" Type="http://schemas.openxmlformats.org/officeDocument/2006/relationships/slideLayout" Target="../slideLayouts/slideLayout2.xml"/><Relationship Id="rId2" Type="http://schemas.openxmlformats.org/officeDocument/2006/relationships/tags" Target="../tags/tag429.xml"/><Relationship Id="rId16" Type="http://schemas.openxmlformats.org/officeDocument/2006/relationships/tags" Target="../tags/tag443.xml"/><Relationship Id="rId29" Type="http://schemas.openxmlformats.org/officeDocument/2006/relationships/tags" Target="../tags/tag456.xml"/><Relationship Id="rId11" Type="http://schemas.openxmlformats.org/officeDocument/2006/relationships/tags" Target="../tags/tag438.xml"/><Relationship Id="rId24" Type="http://schemas.openxmlformats.org/officeDocument/2006/relationships/tags" Target="../tags/tag451.xml"/><Relationship Id="rId32" Type="http://schemas.openxmlformats.org/officeDocument/2006/relationships/tags" Target="../tags/tag459.xml"/><Relationship Id="rId37" Type="http://schemas.openxmlformats.org/officeDocument/2006/relationships/tags" Target="../tags/tag464.xml"/><Relationship Id="rId40" Type="http://schemas.openxmlformats.org/officeDocument/2006/relationships/tags" Target="../tags/tag467.xml"/><Relationship Id="rId45" Type="http://schemas.openxmlformats.org/officeDocument/2006/relationships/tags" Target="../tags/tag472.xml"/><Relationship Id="rId53" Type="http://schemas.openxmlformats.org/officeDocument/2006/relationships/tags" Target="../tags/tag480.xml"/><Relationship Id="rId58" Type="http://schemas.openxmlformats.org/officeDocument/2006/relationships/tags" Target="../tags/tag485.xml"/><Relationship Id="rId66" Type="http://schemas.openxmlformats.org/officeDocument/2006/relationships/tags" Target="../tags/tag493.xml"/><Relationship Id="rId74" Type="http://schemas.openxmlformats.org/officeDocument/2006/relationships/tags" Target="../tags/tag501.xml"/><Relationship Id="rId79" Type="http://schemas.openxmlformats.org/officeDocument/2006/relationships/tags" Target="../tags/tag506.xml"/><Relationship Id="rId87" Type="http://schemas.openxmlformats.org/officeDocument/2006/relationships/tags" Target="../tags/tag514.xml"/><Relationship Id="rId5" Type="http://schemas.openxmlformats.org/officeDocument/2006/relationships/tags" Target="../tags/tag432.xml"/><Relationship Id="rId61" Type="http://schemas.openxmlformats.org/officeDocument/2006/relationships/tags" Target="../tags/tag488.xml"/><Relationship Id="rId82" Type="http://schemas.openxmlformats.org/officeDocument/2006/relationships/tags" Target="../tags/tag509.xml"/><Relationship Id="rId90" Type="http://schemas.openxmlformats.org/officeDocument/2006/relationships/tags" Target="../tags/tag517.xml"/><Relationship Id="rId95" Type="http://schemas.openxmlformats.org/officeDocument/2006/relationships/image" Target="../media/image37.emf"/><Relationship Id="rId19" Type="http://schemas.openxmlformats.org/officeDocument/2006/relationships/tags" Target="../tags/tag446.xml"/><Relationship Id="rId14" Type="http://schemas.openxmlformats.org/officeDocument/2006/relationships/tags" Target="../tags/tag441.xml"/><Relationship Id="rId22" Type="http://schemas.openxmlformats.org/officeDocument/2006/relationships/tags" Target="../tags/tag449.xml"/><Relationship Id="rId27" Type="http://schemas.openxmlformats.org/officeDocument/2006/relationships/tags" Target="../tags/tag454.xml"/><Relationship Id="rId30" Type="http://schemas.openxmlformats.org/officeDocument/2006/relationships/tags" Target="../tags/tag457.xml"/><Relationship Id="rId35" Type="http://schemas.openxmlformats.org/officeDocument/2006/relationships/tags" Target="../tags/tag462.xml"/><Relationship Id="rId43" Type="http://schemas.openxmlformats.org/officeDocument/2006/relationships/tags" Target="../tags/tag470.xml"/><Relationship Id="rId48" Type="http://schemas.openxmlformats.org/officeDocument/2006/relationships/tags" Target="../tags/tag475.xml"/><Relationship Id="rId56" Type="http://schemas.openxmlformats.org/officeDocument/2006/relationships/tags" Target="../tags/tag483.xml"/><Relationship Id="rId64" Type="http://schemas.openxmlformats.org/officeDocument/2006/relationships/tags" Target="../tags/tag491.xml"/><Relationship Id="rId69" Type="http://schemas.openxmlformats.org/officeDocument/2006/relationships/tags" Target="../tags/tag496.xml"/><Relationship Id="rId77" Type="http://schemas.openxmlformats.org/officeDocument/2006/relationships/tags" Target="../tags/tag504.xml"/><Relationship Id="rId8" Type="http://schemas.openxmlformats.org/officeDocument/2006/relationships/tags" Target="../tags/tag435.xml"/><Relationship Id="rId51" Type="http://schemas.openxmlformats.org/officeDocument/2006/relationships/tags" Target="../tags/tag478.xml"/><Relationship Id="rId72" Type="http://schemas.openxmlformats.org/officeDocument/2006/relationships/tags" Target="../tags/tag499.xml"/><Relationship Id="rId80" Type="http://schemas.openxmlformats.org/officeDocument/2006/relationships/tags" Target="../tags/tag507.xml"/><Relationship Id="rId85" Type="http://schemas.openxmlformats.org/officeDocument/2006/relationships/tags" Target="../tags/tag512.xml"/><Relationship Id="rId93" Type="http://schemas.openxmlformats.org/officeDocument/2006/relationships/notesSlide" Target="../notesSlides/notesSlide4.xml"/><Relationship Id="rId3" Type="http://schemas.openxmlformats.org/officeDocument/2006/relationships/tags" Target="../tags/tag430.xml"/><Relationship Id="rId12" Type="http://schemas.openxmlformats.org/officeDocument/2006/relationships/tags" Target="../tags/tag439.xml"/><Relationship Id="rId17" Type="http://schemas.openxmlformats.org/officeDocument/2006/relationships/tags" Target="../tags/tag444.xml"/><Relationship Id="rId25" Type="http://schemas.openxmlformats.org/officeDocument/2006/relationships/tags" Target="../tags/tag452.xml"/><Relationship Id="rId33" Type="http://schemas.openxmlformats.org/officeDocument/2006/relationships/tags" Target="../tags/tag460.xml"/><Relationship Id="rId38" Type="http://schemas.openxmlformats.org/officeDocument/2006/relationships/tags" Target="../tags/tag465.xml"/><Relationship Id="rId46" Type="http://schemas.openxmlformats.org/officeDocument/2006/relationships/tags" Target="../tags/tag473.xml"/><Relationship Id="rId59" Type="http://schemas.openxmlformats.org/officeDocument/2006/relationships/tags" Target="../tags/tag486.xml"/><Relationship Id="rId67" Type="http://schemas.openxmlformats.org/officeDocument/2006/relationships/tags" Target="../tags/tag494.xml"/><Relationship Id="rId20" Type="http://schemas.openxmlformats.org/officeDocument/2006/relationships/tags" Target="../tags/tag447.xml"/><Relationship Id="rId41" Type="http://schemas.openxmlformats.org/officeDocument/2006/relationships/tags" Target="../tags/tag468.xml"/><Relationship Id="rId54" Type="http://schemas.openxmlformats.org/officeDocument/2006/relationships/tags" Target="../tags/tag481.xml"/><Relationship Id="rId62" Type="http://schemas.openxmlformats.org/officeDocument/2006/relationships/tags" Target="../tags/tag489.xml"/><Relationship Id="rId70" Type="http://schemas.openxmlformats.org/officeDocument/2006/relationships/tags" Target="../tags/tag497.xml"/><Relationship Id="rId75" Type="http://schemas.openxmlformats.org/officeDocument/2006/relationships/tags" Target="../tags/tag502.xml"/><Relationship Id="rId83" Type="http://schemas.openxmlformats.org/officeDocument/2006/relationships/tags" Target="../tags/tag510.xml"/><Relationship Id="rId88" Type="http://schemas.openxmlformats.org/officeDocument/2006/relationships/tags" Target="../tags/tag515.xml"/><Relationship Id="rId91" Type="http://schemas.openxmlformats.org/officeDocument/2006/relationships/tags" Target="../tags/tag518.xml"/><Relationship Id="rId1" Type="http://schemas.openxmlformats.org/officeDocument/2006/relationships/vmlDrawing" Target="../drawings/vmlDrawing11.vml"/><Relationship Id="rId6" Type="http://schemas.openxmlformats.org/officeDocument/2006/relationships/tags" Target="../tags/tag433.xml"/><Relationship Id="rId15" Type="http://schemas.openxmlformats.org/officeDocument/2006/relationships/tags" Target="../tags/tag442.xml"/><Relationship Id="rId23" Type="http://schemas.openxmlformats.org/officeDocument/2006/relationships/tags" Target="../tags/tag450.xml"/><Relationship Id="rId28" Type="http://schemas.openxmlformats.org/officeDocument/2006/relationships/tags" Target="../tags/tag455.xml"/><Relationship Id="rId36" Type="http://schemas.openxmlformats.org/officeDocument/2006/relationships/tags" Target="../tags/tag463.xml"/><Relationship Id="rId49" Type="http://schemas.openxmlformats.org/officeDocument/2006/relationships/tags" Target="../tags/tag476.xml"/><Relationship Id="rId57" Type="http://schemas.openxmlformats.org/officeDocument/2006/relationships/tags" Target="../tags/tag484.xml"/><Relationship Id="rId10" Type="http://schemas.openxmlformats.org/officeDocument/2006/relationships/tags" Target="../tags/tag437.xml"/><Relationship Id="rId31" Type="http://schemas.openxmlformats.org/officeDocument/2006/relationships/tags" Target="../tags/tag458.xml"/><Relationship Id="rId44" Type="http://schemas.openxmlformats.org/officeDocument/2006/relationships/tags" Target="../tags/tag471.xml"/><Relationship Id="rId52" Type="http://schemas.openxmlformats.org/officeDocument/2006/relationships/tags" Target="../tags/tag479.xml"/><Relationship Id="rId60" Type="http://schemas.openxmlformats.org/officeDocument/2006/relationships/tags" Target="../tags/tag487.xml"/><Relationship Id="rId65" Type="http://schemas.openxmlformats.org/officeDocument/2006/relationships/tags" Target="../tags/tag492.xml"/><Relationship Id="rId73" Type="http://schemas.openxmlformats.org/officeDocument/2006/relationships/tags" Target="../tags/tag500.xml"/><Relationship Id="rId78" Type="http://schemas.openxmlformats.org/officeDocument/2006/relationships/tags" Target="../tags/tag505.xml"/><Relationship Id="rId81" Type="http://schemas.openxmlformats.org/officeDocument/2006/relationships/tags" Target="../tags/tag508.xml"/><Relationship Id="rId86" Type="http://schemas.openxmlformats.org/officeDocument/2006/relationships/tags" Target="../tags/tag513.xml"/><Relationship Id="rId94" Type="http://schemas.openxmlformats.org/officeDocument/2006/relationships/oleObject" Target="../embeddings/oleObject15.bin"/><Relationship Id="rId4" Type="http://schemas.openxmlformats.org/officeDocument/2006/relationships/tags" Target="../tags/tag431.xml"/><Relationship Id="rId9" Type="http://schemas.openxmlformats.org/officeDocument/2006/relationships/tags" Target="../tags/tag436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530.xml"/><Relationship Id="rId18" Type="http://schemas.openxmlformats.org/officeDocument/2006/relationships/tags" Target="../tags/tag535.xml"/><Relationship Id="rId26" Type="http://schemas.openxmlformats.org/officeDocument/2006/relationships/tags" Target="../tags/tag543.xml"/><Relationship Id="rId39" Type="http://schemas.openxmlformats.org/officeDocument/2006/relationships/tags" Target="../tags/tag556.xml"/><Relationship Id="rId3" Type="http://schemas.openxmlformats.org/officeDocument/2006/relationships/tags" Target="../tags/tag520.xml"/><Relationship Id="rId21" Type="http://schemas.openxmlformats.org/officeDocument/2006/relationships/tags" Target="../tags/tag538.xml"/><Relationship Id="rId34" Type="http://schemas.openxmlformats.org/officeDocument/2006/relationships/tags" Target="../tags/tag551.xml"/><Relationship Id="rId42" Type="http://schemas.openxmlformats.org/officeDocument/2006/relationships/tags" Target="../tags/tag559.xml"/><Relationship Id="rId47" Type="http://schemas.openxmlformats.org/officeDocument/2006/relationships/tags" Target="../tags/tag564.xml"/><Relationship Id="rId50" Type="http://schemas.openxmlformats.org/officeDocument/2006/relationships/oleObject" Target="../embeddings/oleObject16.bin"/><Relationship Id="rId7" Type="http://schemas.openxmlformats.org/officeDocument/2006/relationships/tags" Target="../tags/tag524.xml"/><Relationship Id="rId12" Type="http://schemas.openxmlformats.org/officeDocument/2006/relationships/tags" Target="../tags/tag529.xml"/><Relationship Id="rId17" Type="http://schemas.openxmlformats.org/officeDocument/2006/relationships/tags" Target="../tags/tag534.xml"/><Relationship Id="rId25" Type="http://schemas.openxmlformats.org/officeDocument/2006/relationships/tags" Target="../tags/tag542.xml"/><Relationship Id="rId33" Type="http://schemas.openxmlformats.org/officeDocument/2006/relationships/tags" Target="../tags/tag550.xml"/><Relationship Id="rId38" Type="http://schemas.openxmlformats.org/officeDocument/2006/relationships/tags" Target="../tags/tag555.xml"/><Relationship Id="rId46" Type="http://schemas.openxmlformats.org/officeDocument/2006/relationships/tags" Target="../tags/tag563.xml"/><Relationship Id="rId2" Type="http://schemas.openxmlformats.org/officeDocument/2006/relationships/tags" Target="../tags/tag519.xml"/><Relationship Id="rId16" Type="http://schemas.openxmlformats.org/officeDocument/2006/relationships/tags" Target="../tags/tag533.xml"/><Relationship Id="rId20" Type="http://schemas.openxmlformats.org/officeDocument/2006/relationships/tags" Target="../tags/tag537.xml"/><Relationship Id="rId29" Type="http://schemas.openxmlformats.org/officeDocument/2006/relationships/tags" Target="../tags/tag546.xml"/><Relationship Id="rId41" Type="http://schemas.openxmlformats.org/officeDocument/2006/relationships/tags" Target="../tags/tag558.xml"/><Relationship Id="rId1" Type="http://schemas.openxmlformats.org/officeDocument/2006/relationships/vmlDrawing" Target="../drawings/vmlDrawing12.vml"/><Relationship Id="rId6" Type="http://schemas.openxmlformats.org/officeDocument/2006/relationships/tags" Target="../tags/tag523.xml"/><Relationship Id="rId11" Type="http://schemas.openxmlformats.org/officeDocument/2006/relationships/tags" Target="../tags/tag528.xml"/><Relationship Id="rId24" Type="http://schemas.openxmlformats.org/officeDocument/2006/relationships/tags" Target="../tags/tag541.xml"/><Relationship Id="rId32" Type="http://schemas.openxmlformats.org/officeDocument/2006/relationships/tags" Target="../tags/tag549.xml"/><Relationship Id="rId37" Type="http://schemas.openxmlformats.org/officeDocument/2006/relationships/tags" Target="../tags/tag554.xml"/><Relationship Id="rId40" Type="http://schemas.openxmlformats.org/officeDocument/2006/relationships/tags" Target="../tags/tag557.xml"/><Relationship Id="rId45" Type="http://schemas.openxmlformats.org/officeDocument/2006/relationships/tags" Target="../tags/tag562.xml"/><Relationship Id="rId5" Type="http://schemas.openxmlformats.org/officeDocument/2006/relationships/tags" Target="../tags/tag522.xml"/><Relationship Id="rId15" Type="http://schemas.openxmlformats.org/officeDocument/2006/relationships/tags" Target="../tags/tag532.xml"/><Relationship Id="rId23" Type="http://schemas.openxmlformats.org/officeDocument/2006/relationships/tags" Target="../tags/tag540.xml"/><Relationship Id="rId28" Type="http://schemas.openxmlformats.org/officeDocument/2006/relationships/tags" Target="../tags/tag545.xml"/><Relationship Id="rId36" Type="http://schemas.openxmlformats.org/officeDocument/2006/relationships/tags" Target="../tags/tag553.xml"/><Relationship Id="rId49" Type="http://schemas.openxmlformats.org/officeDocument/2006/relationships/slideLayout" Target="../slideLayouts/slideLayout2.xml"/><Relationship Id="rId10" Type="http://schemas.openxmlformats.org/officeDocument/2006/relationships/tags" Target="../tags/tag527.xml"/><Relationship Id="rId19" Type="http://schemas.openxmlformats.org/officeDocument/2006/relationships/tags" Target="../tags/tag536.xml"/><Relationship Id="rId31" Type="http://schemas.openxmlformats.org/officeDocument/2006/relationships/tags" Target="../tags/tag548.xml"/><Relationship Id="rId44" Type="http://schemas.openxmlformats.org/officeDocument/2006/relationships/tags" Target="../tags/tag561.xml"/><Relationship Id="rId4" Type="http://schemas.openxmlformats.org/officeDocument/2006/relationships/tags" Target="../tags/tag521.xml"/><Relationship Id="rId9" Type="http://schemas.openxmlformats.org/officeDocument/2006/relationships/tags" Target="../tags/tag526.xml"/><Relationship Id="rId14" Type="http://schemas.openxmlformats.org/officeDocument/2006/relationships/tags" Target="../tags/tag531.xml"/><Relationship Id="rId22" Type="http://schemas.openxmlformats.org/officeDocument/2006/relationships/tags" Target="../tags/tag539.xml"/><Relationship Id="rId27" Type="http://schemas.openxmlformats.org/officeDocument/2006/relationships/tags" Target="../tags/tag544.xml"/><Relationship Id="rId30" Type="http://schemas.openxmlformats.org/officeDocument/2006/relationships/tags" Target="../tags/tag547.xml"/><Relationship Id="rId35" Type="http://schemas.openxmlformats.org/officeDocument/2006/relationships/tags" Target="../tags/tag552.xml"/><Relationship Id="rId43" Type="http://schemas.openxmlformats.org/officeDocument/2006/relationships/tags" Target="../tags/tag560.xml"/><Relationship Id="rId48" Type="http://schemas.openxmlformats.org/officeDocument/2006/relationships/tags" Target="../tags/tag565.xml"/><Relationship Id="rId8" Type="http://schemas.openxmlformats.org/officeDocument/2006/relationships/tags" Target="../tags/tag52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572.xml"/><Relationship Id="rId13" Type="http://schemas.openxmlformats.org/officeDocument/2006/relationships/tags" Target="../tags/tag577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567.xml"/><Relationship Id="rId7" Type="http://schemas.openxmlformats.org/officeDocument/2006/relationships/tags" Target="../tags/tag571.xml"/><Relationship Id="rId12" Type="http://schemas.openxmlformats.org/officeDocument/2006/relationships/tags" Target="../tags/tag576.xml"/><Relationship Id="rId17" Type="http://schemas.openxmlformats.org/officeDocument/2006/relationships/tags" Target="../tags/tag581.xml"/><Relationship Id="rId2" Type="http://schemas.openxmlformats.org/officeDocument/2006/relationships/tags" Target="../tags/tag566.xml"/><Relationship Id="rId16" Type="http://schemas.openxmlformats.org/officeDocument/2006/relationships/tags" Target="../tags/tag580.xml"/><Relationship Id="rId1" Type="http://schemas.openxmlformats.org/officeDocument/2006/relationships/vmlDrawing" Target="../drawings/vmlDrawing13.vml"/><Relationship Id="rId6" Type="http://schemas.openxmlformats.org/officeDocument/2006/relationships/tags" Target="../tags/tag570.xml"/><Relationship Id="rId11" Type="http://schemas.openxmlformats.org/officeDocument/2006/relationships/tags" Target="../tags/tag575.xml"/><Relationship Id="rId5" Type="http://schemas.openxmlformats.org/officeDocument/2006/relationships/tags" Target="../tags/tag569.xml"/><Relationship Id="rId15" Type="http://schemas.openxmlformats.org/officeDocument/2006/relationships/tags" Target="../tags/tag579.xml"/><Relationship Id="rId10" Type="http://schemas.openxmlformats.org/officeDocument/2006/relationships/tags" Target="../tags/tag574.xml"/><Relationship Id="rId19" Type="http://schemas.openxmlformats.org/officeDocument/2006/relationships/oleObject" Target="../embeddings/oleObject17.bin"/><Relationship Id="rId4" Type="http://schemas.openxmlformats.org/officeDocument/2006/relationships/tags" Target="../tags/tag568.xml"/><Relationship Id="rId9" Type="http://schemas.openxmlformats.org/officeDocument/2006/relationships/tags" Target="../tags/tag573.xml"/><Relationship Id="rId14" Type="http://schemas.openxmlformats.org/officeDocument/2006/relationships/tags" Target="../tags/tag578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593.xml"/><Relationship Id="rId18" Type="http://schemas.openxmlformats.org/officeDocument/2006/relationships/tags" Target="../tags/tag598.xml"/><Relationship Id="rId26" Type="http://schemas.openxmlformats.org/officeDocument/2006/relationships/tags" Target="../tags/tag606.xml"/><Relationship Id="rId39" Type="http://schemas.openxmlformats.org/officeDocument/2006/relationships/tags" Target="../tags/tag619.xml"/><Relationship Id="rId21" Type="http://schemas.openxmlformats.org/officeDocument/2006/relationships/tags" Target="../tags/tag601.xml"/><Relationship Id="rId34" Type="http://schemas.openxmlformats.org/officeDocument/2006/relationships/tags" Target="../tags/tag614.xml"/><Relationship Id="rId42" Type="http://schemas.openxmlformats.org/officeDocument/2006/relationships/tags" Target="../tags/tag622.xml"/><Relationship Id="rId47" Type="http://schemas.openxmlformats.org/officeDocument/2006/relationships/tags" Target="../tags/tag627.xml"/><Relationship Id="rId50" Type="http://schemas.openxmlformats.org/officeDocument/2006/relationships/tags" Target="../tags/tag630.xml"/><Relationship Id="rId55" Type="http://schemas.openxmlformats.org/officeDocument/2006/relationships/tags" Target="../tags/tag635.xml"/><Relationship Id="rId63" Type="http://schemas.openxmlformats.org/officeDocument/2006/relationships/slideLayout" Target="../slideLayouts/slideLayout4.xml"/><Relationship Id="rId68" Type="http://schemas.openxmlformats.org/officeDocument/2006/relationships/oleObject" Target="../embeddings/oleObject22.bin"/><Relationship Id="rId76" Type="http://schemas.openxmlformats.org/officeDocument/2006/relationships/oleObject" Target="../embeddings/oleObject30.bin"/><Relationship Id="rId7" Type="http://schemas.openxmlformats.org/officeDocument/2006/relationships/tags" Target="../tags/tag587.xml"/><Relationship Id="rId71" Type="http://schemas.openxmlformats.org/officeDocument/2006/relationships/oleObject" Target="../embeddings/oleObject25.bin"/><Relationship Id="rId2" Type="http://schemas.openxmlformats.org/officeDocument/2006/relationships/tags" Target="../tags/tag582.xml"/><Relationship Id="rId16" Type="http://schemas.openxmlformats.org/officeDocument/2006/relationships/tags" Target="../tags/tag596.xml"/><Relationship Id="rId29" Type="http://schemas.openxmlformats.org/officeDocument/2006/relationships/tags" Target="../tags/tag609.xml"/><Relationship Id="rId11" Type="http://schemas.openxmlformats.org/officeDocument/2006/relationships/tags" Target="../tags/tag591.xml"/><Relationship Id="rId24" Type="http://schemas.openxmlformats.org/officeDocument/2006/relationships/tags" Target="../tags/tag604.xml"/><Relationship Id="rId32" Type="http://schemas.openxmlformats.org/officeDocument/2006/relationships/tags" Target="../tags/tag612.xml"/><Relationship Id="rId37" Type="http://schemas.openxmlformats.org/officeDocument/2006/relationships/tags" Target="../tags/tag617.xml"/><Relationship Id="rId40" Type="http://schemas.openxmlformats.org/officeDocument/2006/relationships/tags" Target="../tags/tag620.xml"/><Relationship Id="rId45" Type="http://schemas.openxmlformats.org/officeDocument/2006/relationships/tags" Target="../tags/tag625.xml"/><Relationship Id="rId53" Type="http://schemas.openxmlformats.org/officeDocument/2006/relationships/tags" Target="../tags/tag633.xml"/><Relationship Id="rId58" Type="http://schemas.openxmlformats.org/officeDocument/2006/relationships/tags" Target="../tags/tag638.xml"/><Relationship Id="rId66" Type="http://schemas.openxmlformats.org/officeDocument/2006/relationships/oleObject" Target="../embeddings/oleObject20.bin"/><Relationship Id="rId74" Type="http://schemas.openxmlformats.org/officeDocument/2006/relationships/oleObject" Target="../embeddings/oleObject28.bin"/><Relationship Id="rId79" Type="http://schemas.openxmlformats.org/officeDocument/2006/relationships/oleObject" Target="../embeddings/oleObject33.bin"/><Relationship Id="rId5" Type="http://schemas.openxmlformats.org/officeDocument/2006/relationships/tags" Target="../tags/tag585.xml"/><Relationship Id="rId61" Type="http://schemas.openxmlformats.org/officeDocument/2006/relationships/tags" Target="../tags/tag641.xml"/><Relationship Id="rId82" Type="http://schemas.openxmlformats.org/officeDocument/2006/relationships/oleObject" Target="../embeddings/oleObject36.bin"/><Relationship Id="rId10" Type="http://schemas.openxmlformats.org/officeDocument/2006/relationships/tags" Target="../tags/tag590.xml"/><Relationship Id="rId19" Type="http://schemas.openxmlformats.org/officeDocument/2006/relationships/tags" Target="../tags/tag599.xml"/><Relationship Id="rId31" Type="http://schemas.openxmlformats.org/officeDocument/2006/relationships/tags" Target="../tags/tag611.xml"/><Relationship Id="rId44" Type="http://schemas.openxmlformats.org/officeDocument/2006/relationships/tags" Target="../tags/tag624.xml"/><Relationship Id="rId52" Type="http://schemas.openxmlformats.org/officeDocument/2006/relationships/tags" Target="../tags/tag632.xml"/><Relationship Id="rId60" Type="http://schemas.openxmlformats.org/officeDocument/2006/relationships/tags" Target="../tags/tag640.xml"/><Relationship Id="rId65" Type="http://schemas.openxmlformats.org/officeDocument/2006/relationships/oleObject" Target="../embeddings/oleObject19.bin"/><Relationship Id="rId73" Type="http://schemas.openxmlformats.org/officeDocument/2006/relationships/oleObject" Target="../embeddings/oleObject27.bin"/><Relationship Id="rId78" Type="http://schemas.openxmlformats.org/officeDocument/2006/relationships/oleObject" Target="../embeddings/oleObject32.bin"/><Relationship Id="rId81" Type="http://schemas.openxmlformats.org/officeDocument/2006/relationships/oleObject" Target="../embeddings/oleObject35.bin"/><Relationship Id="rId4" Type="http://schemas.openxmlformats.org/officeDocument/2006/relationships/tags" Target="../tags/tag584.xml"/><Relationship Id="rId9" Type="http://schemas.openxmlformats.org/officeDocument/2006/relationships/tags" Target="../tags/tag589.xml"/><Relationship Id="rId14" Type="http://schemas.openxmlformats.org/officeDocument/2006/relationships/tags" Target="../tags/tag594.xml"/><Relationship Id="rId22" Type="http://schemas.openxmlformats.org/officeDocument/2006/relationships/tags" Target="../tags/tag602.xml"/><Relationship Id="rId27" Type="http://schemas.openxmlformats.org/officeDocument/2006/relationships/tags" Target="../tags/tag607.xml"/><Relationship Id="rId30" Type="http://schemas.openxmlformats.org/officeDocument/2006/relationships/tags" Target="../tags/tag610.xml"/><Relationship Id="rId35" Type="http://schemas.openxmlformats.org/officeDocument/2006/relationships/tags" Target="../tags/tag615.xml"/><Relationship Id="rId43" Type="http://schemas.openxmlformats.org/officeDocument/2006/relationships/tags" Target="../tags/tag623.xml"/><Relationship Id="rId48" Type="http://schemas.openxmlformats.org/officeDocument/2006/relationships/tags" Target="../tags/tag628.xml"/><Relationship Id="rId56" Type="http://schemas.openxmlformats.org/officeDocument/2006/relationships/tags" Target="../tags/tag636.xml"/><Relationship Id="rId64" Type="http://schemas.openxmlformats.org/officeDocument/2006/relationships/oleObject" Target="../embeddings/oleObject18.bin"/><Relationship Id="rId69" Type="http://schemas.openxmlformats.org/officeDocument/2006/relationships/oleObject" Target="../embeddings/oleObject23.bin"/><Relationship Id="rId77" Type="http://schemas.openxmlformats.org/officeDocument/2006/relationships/oleObject" Target="../embeddings/oleObject31.bin"/><Relationship Id="rId8" Type="http://schemas.openxmlformats.org/officeDocument/2006/relationships/tags" Target="../tags/tag588.xml"/><Relationship Id="rId51" Type="http://schemas.openxmlformats.org/officeDocument/2006/relationships/tags" Target="../tags/tag631.xml"/><Relationship Id="rId72" Type="http://schemas.openxmlformats.org/officeDocument/2006/relationships/oleObject" Target="../embeddings/oleObject26.bin"/><Relationship Id="rId80" Type="http://schemas.openxmlformats.org/officeDocument/2006/relationships/oleObject" Target="../embeddings/oleObject34.bin"/><Relationship Id="rId3" Type="http://schemas.openxmlformats.org/officeDocument/2006/relationships/tags" Target="../tags/tag583.xml"/><Relationship Id="rId12" Type="http://schemas.openxmlformats.org/officeDocument/2006/relationships/tags" Target="../tags/tag592.xml"/><Relationship Id="rId17" Type="http://schemas.openxmlformats.org/officeDocument/2006/relationships/tags" Target="../tags/tag597.xml"/><Relationship Id="rId25" Type="http://schemas.openxmlformats.org/officeDocument/2006/relationships/tags" Target="../tags/tag605.xml"/><Relationship Id="rId33" Type="http://schemas.openxmlformats.org/officeDocument/2006/relationships/tags" Target="../tags/tag613.xml"/><Relationship Id="rId38" Type="http://schemas.openxmlformats.org/officeDocument/2006/relationships/tags" Target="../tags/tag618.xml"/><Relationship Id="rId46" Type="http://schemas.openxmlformats.org/officeDocument/2006/relationships/tags" Target="../tags/tag626.xml"/><Relationship Id="rId59" Type="http://schemas.openxmlformats.org/officeDocument/2006/relationships/tags" Target="../tags/tag639.xml"/><Relationship Id="rId67" Type="http://schemas.openxmlformats.org/officeDocument/2006/relationships/oleObject" Target="../embeddings/oleObject21.bin"/><Relationship Id="rId20" Type="http://schemas.openxmlformats.org/officeDocument/2006/relationships/tags" Target="../tags/tag600.xml"/><Relationship Id="rId41" Type="http://schemas.openxmlformats.org/officeDocument/2006/relationships/tags" Target="../tags/tag621.xml"/><Relationship Id="rId54" Type="http://schemas.openxmlformats.org/officeDocument/2006/relationships/tags" Target="../tags/tag634.xml"/><Relationship Id="rId62" Type="http://schemas.openxmlformats.org/officeDocument/2006/relationships/tags" Target="../tags/tag642.xml"/><Relationship Id="rId70" Type="http://schemas.openxmlformats.org/officeDocument/2006/relationships/oleObject" Target="../embeddings/oleObject24.bin"/><Relationship Id="rId75" Type="http://schemas.openxmlformats.org/officeDocument/2006/relationships/oleObject" Target="../embeddings/oleObject29.bin"/><Relationship Id="rId83" Type="http://schemas.openxmlformats.org/officeDocument/2006/relationships/oleObject" Target="../embeddings/oleObject37.bin"/><Relationship Id="rId1" Type="http://schemas.openxmlformats.org/officeDocument/2006/relationships/vmlDrawing" Target="../drawings/vmlDrawing14.vml"/><Relationship Id="rId6" Type="http://schemas.openxmlformats.org/officeDocument/2006/relationships/tags" Target="../tags/tag586.xml"/><Relationship Id="rId15" Type="http://schemas.openxmlformats.org/officeDocument/2006/relationships/tags" Target="../tags/tag595.xml"/><Relationship Id="rId23" Type="http://schemas.openxmlformats.org/officeDocument/2006/relationships/tags" Target="../tags/tag603.xml"/><Relationship Id="rId28" Type="http://schemas.openxmlformats.org/officeDocument/2006/relationships/tags" Target="../tags/tag608.xml"/><Relationship Id="rId36" Type="http://schemas.openxmlformats.org/officeDocument/2006/relationships/tags" Target="../tags/tag616.xml"/><Relationship Id="rId49" Type="http://schemas.openxmlformats.org/officeDocument/2006/relationships/tags" Target="../tags/tag629.xml"/><Relationship Id="rId57" Type="http://schemas.openxmlformats.org/officeDocument/2006/relationships/tags" Target="../tags/tag63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649.xml"/><Relationship Id="rId13" Type="http://schemas.openxmlformats.org/officeDocument/2006/relationships/slideLayout" Target="../slideLayouts/slideLayout4.xml"/><Relationship Id="rId3" Type="http://schemas.openxmlformats.org/officeDocument/2006/relationships/tags" Target="../tags/tag644.xml"/><Relationship Id="rId7" Type="http://schemas.openxmlformats.org/officeDocument/2006/relationships/tags" Target="../tags/tag648.xml"/><Relationship Id="rId12" Type="http://schemas.openxmlformats.org/officeDocument/2006/relationships/tags" Target="../tags/tag653.xml"/><Relationship Id="rId17" Type="http://schemas.openxmlformats.org/officeDocument/2006/relationships/image" Target="../media/image60.jpeg"/><Relationship Id="rId2" Type="http://schemas.openxmlformats.org/officeDocument/2006/relationships/tags" Target="../tags/tag643.xml"/><Relationship Id="rId16" Type="http://schemas.openxmlformats.org/officeDocument/2006/relationships/image" Target="../media/image59.jpeg"/><Relationship Id="rId1" Type="http://schemas.openxmlformats.org/officeDocument/2006/relationships/vmlDrawing" Target="../drawings/vmlDrawing15.vml"/><Relationship Id="rId6" Type="http://schemas.openxmlformats.org/officeDocument/2006/relationships/tags" Target="../tags/tag647.xml"/><Relationship Id="rId11" Type="http://schemas.openxmlformats.org/officeDocument/2006/relationships/tags" Target="../tags/tag652.xml"/><Relationship Id="rId5" Type="http://schemas.openxmlformats.org/officeDocument/2006/relationships/tags" Target="../tags/tag646.xml"/><Relationship Id="rId15" Type="http://schemas.openxmlformats.org/officeDocument/2006/relationships/image" Target="../media/image58.jpeg"/><Relationship Id="rId10" Type="http://schemas.openxmlformats.org/officeDocument/2006/relationships/tags" Target="../tags/tag651.xml"/><Relationship Id="rId4" Type="http://schemas.openxmlformats.org/officeDocument/2006/relationships/tags" Target="../tags/tag645.xml"/><Relationship Id="rId9" Type="http://schemas.openxmlformats.org/officeDocument/2006/relationships/tags" Target="../tags/tag650.xml"/><Relationship Id="rId14" Type="http://schemas.openxmlformats.org/officeDocument/2006/relationships/oleObject" Target="../embeddings/oleObject38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54.xml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tags" Target="../tags/tag666.xml"/><Relationship Id="rId18" Type="http://schemas.openxmlformats.org/officeDocument/2006/relationships/tags" Target="../tags/tag671.xml"/><Relationship Id="rId26" Type="http://schemas.openxmlformats.org/officeDocument/2006/relationships/tags" Target="../tags/tag679.xml"/><Relationship Id="rId39" Type="http://schemas.openxmlformats.org/officeDocument/2006/relationships/image" Target="../media/image67.gif"/><Relationship Id="rId21" Type="http://schemas.openxmlformats.org/officeDocument/2006/relationships/tags" Target="../tags/tag674.xml"/><Relationship Id="rId34" Type="http://schemas.openxmlformats.org/officeDocument/2006/relationships/image" Target="../media/image62.jpeg"/><Relationship Id="rId42" Type="http://schemas.openxmlformats.org/officeDocument/2006/relationships/image" Target="../media/image70.jpeg"/><Relationship Id="rId47" Type="http://schemas.openxmlformats.org/officeDocument/2006/relationships/image" Target="../media/image74.png"/><Relationship Id="rId50" Type="http://schemas.openxmlformats.org/officeDocument/2006/relationships/image" Target="../media/image77.jpeg"/><Relationship Id="rId55" Type="http://schemas.openxmlformats.org/officeDocument/2006/relationships/image" Target="../media/image81.jpeg"/><Relationship Id="rId7" Type="http://schemas.openxmlformats.org/officeDocument/2006/relationships/tags" Target="../tags/tag660.xml"/><Relationship Id="rId2" Type="http://schemas.openxmlformats.org/officeDocument/2006/relationships/tags" Target="../tags/tag655.xml"/><Relationship Id="rId16" Type="http://schemas.openxmlformats.org/officeDocument/2006/relationships/tags" Target="../tags/tag669.xml"/><Relationship Id="rId20" Type="http://schemas.openxmlformats.org/officeDocument/2006/relationships/tags" Target="../tags/tag673.xml"/><Relationship Id="rId29" Type="http://schemas.openxmlformats.org/officeDocument/2006/relationships/tags" Target="../tags/tag682.xml"/><Relationship Id="rId41" Type="http://schemas.openxmlformats.org/officeDocument/2006/relationships/image" Target="../media/image69.gif"/><Relationship Id="rId54" Type="http://schemas.openxmlformats.org/officeDocument/2006/relationships/hyperlink" Target="http://www.amforelectronics.com/index.asp" TargetMode="External"/><Relationship Id="rId1" Type="http://schemas.openxmlformats.org/officeDocument/2006/relationships/vmlDrawing" Target="../drawings/vmlDrawing16.vml"/><Relationship Id="rId6" Type="http://schemas.openxmlformats.org/officeDocument/2006/relationships/tags" Target="../tags/tag659.xml"/><Relationship Id="rId11" Type="http://schemas.openxmlformats.org/officeDocument/2006/relationships/tags" Target="../tags/tag664.xml"/><Relationship Id="rId24" Type="http://schemas.openxmlformats.org/officeDocument/2006/relationships/tags" Target="../tags/tag677.xml"/><Relationship Id="rId32" Type="http://schemas.openxmlformats.org/officeDocument/2006/relationships/notesSlide" Target="../notesSlides/notesSlide5.xml"/><Relationship Id="rId37" Type="http://schemas.openxmlformats.org/officeDocument/2006/relationships/image" Target="../media/image65.jpeg"/><Relationship Id="rId40" Type="http://schemas.openxmlformats.org/officeDocument/2006/relationships/image" Target="../media/image68.jpeg"/><Relationship Id="rId45" Type="http://schemas.openxmlformats.org/officeDocument/2006/relationships/hyperlink" Target="http://www.flextronics.com/default.aspx" TargetMode="External"/><Relationship Id="rId53" Type="http://schemas.openxmlformats.org/officeDocument/2006/relationships/image" Target="../media/image80.jpeg"/><Relationship Id="rId58" Type="http://schemas.openxmlformats.org/officeDocument/2006/relationships/image" Target="../media/image84.jpeg"/><Relationship Id="rId5" Type="http://schemas.openxmlformats.org/officeDocument/2006/relationships/tags" Target="../tags/tag658.xml"/><Relationship Id="rId15" Type="http://schemas.openxmlformats.org/officeDocument/2006/relationships/tags" Target="../tags/tag668.xml"/><Relationship Id="rId23" Type="http://schemas.openxmlformats.org/officeDocument/2006/relationships/tags" Target="../tags/tag676.xml"/><Relationship Id="rId28" Type="http://schemas.openxmlformats.org/officeDocument/2006/relationships/tags" Target="../tags/tag681.xml"/><Relationship Id="rId36" Type="http://schemas.openxmlformats.org/officeDocument/2006/relationships/image" Target="../media/image64.jpeg"/><Relationship Id="rId49" Type="http://schemas.openxmlformats.org/officeDocument/2006/relationships/image" Target="../media/image76.gif"/><Relationship Id="rId57" Type="http://schemas.openxmlformats.org/officeDocument/2006/relationships/image" Target="../media/image83.png"/><Relationship Id="rId61" Type="http://schemas.openxmlformats.org/officeDocument/2006/relationships/image" Target="../media/image87.jpeg"/><Relationship Id="rId10" Type="http://schemas.openxmlformats.org/officeDocument/2006/relationships/tags" Target="../tags/tag663.xml"/><Relationship Id="rId19" Type="http://schemas.openxmlformats.org/officeDocument/2006/relationships/tags" Target="../tags/tag672.xml"/><Relationship Id="rId31" Type="http://schemas.openxmlformats.org/officeDocument/2006/relationships/slideLayout" Target="../slideLayouts/slideLayout6.xml"/><Relationship Id="rId44" Type="http://schemas.openxmlformats.org/officeDocument/2006/relationships/image" Target="../media/image72.jpeg"/><Relationship Id="rId52" Type="http://schemas.openxmlformats.org/officeDocument/2006/relationships/image" Target="../media/image79.gif"/><Relationship Id="rId60" Type="http://schemas.openxmlformats.org/officeDocument/2006/relationships/image" Target="../media/image86.jpeg"/><Relationship Id="rId4" Type="http://schemas.openxmlformats.org/officeDocument/2006/relationships/tags" Target="../tags/tag657.xml"/><Relationship Id="rId9" Type="http://schemas.openxmlformats.org/officeDocument/2006/relationships/tags" Target="../tags/tag662.xml"/><Relationship Id="rId14" Type="http://schemas.openxmlformats.org/officeDocument/2006/relationships/tags" Target="../tags/tag667.xml"/><Relationship Id="rId22" Type="http://schemas.openxmlformats.org/officeDocument/2006/relationships/tags" Target="../tags/tag675.xml"/><Relationship Id="rId27" Type="http://schemas.openxmlformats.org/officeDocument/2006/relationships/tags" Target="../tags/tag680.xml"/><Relationship Id="rId30" Type="http://schemas.openxmlformats.org/officeDocument/2006/relationships/tags" Target="../tags/tag683.xml"/><Relationship Id="rId35" Type="http://schemas.openxmlformats.org/officeDocument/2006/relationships/image" Target="../media/image63.jpeg"/><Relationship Id="rId43" Type="http://schemas.openxmlformats.org/officeDocument/2006/relationships/image" Target="../media/image71.png"/><Relationship Id="rId48" Type="http://schemas.openxmlformats.org/officeDocument/2006/relationships/image" Target="../media/image75.gif"/><Relationship Id="rId56" Type="http://schemas.openxmlformats.org/officeDocument/2006/relationships/image" Target="../media/image82.png"/><Relationship Id="rId8" Type="http://schemas.openxmlformats.org/officeDocument/2006/relationships/tags" Target="../tags/tag661.xml"/><Relationship Id="rId51" Type="http://schemas.openxmlformats.org/officeDocument/2006/relationships/image" Target="../media/image78.jpeg"/><Relationship Id="rId3" Type="http://schemas.openxmlformats.org/officeDocument/2006/relationships/tags" Target="../tags/tag656.xml"/><Relationship Id="rId12" Type="http://schemas.openxmlformats.org/officeDocument/2006/relationships/tags" Target="../tags/tag665.xml"/><Relationship Id="rId17" Type="http://schemas.openxmlformats.org/officeDocument/2006/relationships/tags" Target="../tags/tag670.xml"/><Relationship Id="rId25" Type="http://schemas.openxmlformats.org/officeDocument/2006/relationships/tags" Target="../tags/tag678.xml"/><Relationship Id="rId33" Type="http://schemas.openxmlformats.org/officeDocument/2006/relationships/oleObject" Target="../embeddings/oleObject39.bin"/><Relationship Id="rId38" Type="http://schemas.openxmlformats.org/officeDocument/2006/relationships/image" Target="../media/image66.jpeg"/><Relationship Id="rId46" Type="http://schemas.openxmlformats.org/officeDocument/2006/relationships/image" Target="../media/image73.gif"/><Relationship Id="rId59" Type="http://schemas.openxmlformats.org/officeDocument/2006/relationships/image" Target="../media/image85.jpeg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tags" Target="../tags/tag695.xml"/><Relationship Id="rId18" Type="http://schemas.openxmlformats.org/officeDocument/2006/relationships/tags" Target="../tags/tag700.xml"/><Relationship Id="rId26" Type="http://schemas.openxmlformats.org/officeDocument/2006/relationships/tags" Target="../tags/tag708.xml"/><Relationship Id="rId39" Type="http://schemas.openxmlformats.org/officeDocument/2006/relationships/tags" Target="../tags/tag721.xml"/><Relationship Id="rId21" Type="http://schemas.openxmlformats.org/officeDocument/2006/relationships/tags" Target="../tags/tag703.xml"/><Relationship Id="rId34" Type="http://schemas.openxmlformats.org/officeDocument/2006/relationships/tags" Target="../tags/tag716.xml"/><Relationship Id="rId42" Type="http://schemas.openxmlformats.org/officeDocument/2006/relationships/tags" Target="../tags/tag724.xml"/><Relationship Id="rId47" Type="http://schemas.openxmlformats.org/officeDocument/2006/relationships/tags" Target="../tags/tag729.xml"/><Relationship Id="rId50" Type="http://schemas.openxmlformats.org/officeDocument/2006/relationships/tags" Target="../tags/tag732.xml"/><Relationship Id="rId55" Type="http://schemas.openxmlformats.org/officeDocument/2006/relationships/tags" Target="../tags/tag737.xml"/><Relationship Id="rId7" Type="http://schemas.openxmlformats.org/officeDocument/2006/relationships/tags" Target="../tags/tag689.xml"/><Relationship Id="rId12" Type="http://schemas.openxmlformats.org/officeDocument/2006/relationships/tags" Target="../tags/tag694.xml"/><Relationship Id="rId17" Type="http://schemas.openxmlformats.org/officeDocument/2006/relationships/tags" Target="../tags/tag699.xml"/><Relationship Id="rId25" Type="http://schemas.openxmlformats.org/officeDocument/2006/relationships/tags" Target="../tags/tag707.xml"/><Relationship Id="rId33" Type="http://schemas.openxmlformats.org/officeDocument/2006/relationships/tags" Target="../tags/tag715.xml"/><Relationship Id="rId38" Type="http://schemas.openxmlformats.org/officeDocument/2006/relationships/tags" Target="../tags/tag720.xml"/><Relationship Id="rId46" Type="http://schemas.openxmlformats.org/officeDocument/2006/relationships/tags" Target="../tags/tag728.xml"/><Relationship Id="rId59" Type="http://schemas.openxmlformats.org/officeDocument/2006/relationships/oleObject" Target="../embeddings/oleObject41.bin"/><Relationship Id="rId2" Type="http://schemas.openxmlformats.org/officeDocument/2006/relationships/tags" Target="../tags/tag684.xml"/><Relationship Id="rId16" Type="http://schemas.openxmlformats.org/officeDocument/2006/relationships/tags" Target="../tags/tag698.xml"/><Relationship Id="rId20" Type="http://schemas.openxmlformats.org/officeDocument/2006/relationships/tags" Target="../tags/tag702.xml"/><Relationship Id="rId29" Type="http://schemas.openxmlformats.org/officeDocument/2006/relationships/tags" Target="../tags/tag711.xml"/><Relationship Id="rId41" Type="http://schemas.openxmlformats.org/officeDocument/2006/relationships/tags" Target="../tags/tag723.xml"/><Relationship Id="rId54" Type="http://schemas.openxmlformats.org/officeDocument/2006/relationships/tags" Target="../tags/tag736.xml"/><Relationship Id="rId1" Type="http://schemas.openxmlformats.org/officeDocument/2006/relationships/vmlDrawing" Target="../drawings/vmlDrawing17.vml"/><Relationship Id="rId6" Type="http://schemas.openxmlformats.org/officeDocument/2006/relationships/tags" Target="../tags/tag688.xml"/><Relationship Id="rId11" Type="http://schemas.openxmlformats.org/officeDocument/2006/relationships/tags" Target="../tags/tag693.xml"/><Relationship Id="rId24" Type="http://schemas.openxmlformats.org/officeDocument/2006/relationships/tags" Target="../tags/tag706.xml"/><Relationship Id="rId32" Type="http://schemas.openxmlformats.org/officeDocument/2006/relationships/tags" Target="../tags/tag714.xml"/><Relationship Id="rId37" Type="http://schemas.openxmlformats.org/officeDocument/2006/relationships/tags" Target="../tags/tag719.xml"/><Relationship Id="rId40" Type="http://schemas.openxmlformats.org/officeDocument/2006/relationships/tags" Target="../tags/tag722.xml"/><Relationship Id="rId45" Type="http://schemas.openxmlformats.org/officeDocument/2006/relationships/tags" Target="../tags/tag727.xml"/><Relationship Id="rId53" Type="http://schemas.openxmlformats.org/officeDocument/2006/relationships/tags" Target="../tags/tag735.xml"/><Relationship Id="rId58" Type="http://schemas.openxmlformats.org/officeDocument/2006/relationships/oleObject" Target="../embeddings/oleObject40.bin"/><Relationship Id="rId5" Type="http://schemas.openxmlformats.org/officeDocument/2006/relationships/tags" Target="../tags/tag687.xml"/><Relationship Id="rId15" Type="http://schemas.openxmlformats.org/officeDocument/2006/relationships/tags" Target="../tags/tag697.xml"/><Relationship Id="rId23" Type="http://schemas.openxmlformats.org/officeDocument/2006/relationships/tags" Target="../tags/tag705.xml"/><Relationship Id="rId28" Type="http://schemas.openxmlformats.org/officeDocument/2006/relationships/tags" Target="../tags/tag710.xml"/><Relationship Id="rId36" Type="http://schemas.openxmlformats.org/officeDocument/2006/relationships/tags" Target="../tags/tag718.xml"/><Relationship Id="rId49" Type="http://schemas.openxmlformats.org/officeDocument/2006/relationships/tags" Target="../tags/tag731.xml"/><Relationship Id="rId57" Type="http://schemas.openxmlformats.org/officeDocument/2006/relationships/slideLayout" Target="../slideLayouts/slideLayout2.xml"/><Relationship Id="rId10" Type="http://schemas.openxmlformats.org/officeDocument/2006/relationships/tags" Target="../tags/tag692.xml"/><Relationship Id="rId19" Type="http://schemas.openxmlformats.org/officeDocument/2006/relationships/tags" Target="../tags/tag701.xml"/><Relationship Id="rId31" Type="http://schemas.openxmlformats.org/officeDocument/2006/relationships/tags" Target="../tags/tag713.xml"/><Relationship Id="rId44" Type="http://schemas.openxmlformats.org/officeDocument/2006/relationships/tags" Target="../tags/tag726.xml"/><Relationship Id="rId52" Type="http://schemas.openxmlformats.org/officeDocument/2006/relationships/tags" Target="../tags/tag734.xml"/><Relationship Id="rId60" Type="http://schemas.openxmlformats.org/officeDocument/2006/relationships/oleObject" Target="../embeddings/oleObject42.bin"/><Relationship Id="rId4" Type="http://schemas.openxmlformats.org/officeDocument/2006/relationships/tags" Target="../tags/tag686.xml"/><Relationship Id="rId9" Type="http://schemas.openxmlformats.org/officeDocument/2006/relationships/tags" Target="../tags/tag691.xml"/><Relationship Id="rId14" Type="http://schemas.openxmlformats.org/officeDocument/2006/relationships/tags" Target="../tags/tag696.xml"/><Relationship Id="rId22" Type="http://schemas.openxmlformats.org/officeDocument/2006/relationships/tags" Target="../tags/tag704.xml"/><Relationship Id="rId27" Type="http://schemas.openxmlformats.org/officeDocument/2006/relationships/tags" Target="../tags/tag709.xml"/><Relationship Id="rId30" Type="http://schemas.openxmlformats.org/officeDocument/2006/relationships/tags" Target="../tags/tag712.xml"/><Relationship Id="rId35" Type="http://schemas.openxmlformats.org/officeDocument/2006/relationships/tags" Target="../tags/tag717.xml"/><Relationship Id="rId43" Type="http://schemas.openxmlformats.org/officeDocument/2006/relationships/tags" Target="../tags/tag725.xml"/><Relationship Id="rId48" Type="http://schemas.openxmlformats.org/officeDocument/2006/relationships/tags" Target="../tags/tag730.xml"/><Relationship Id="rId56" Type="http://schemas.openxmlformats.org/officeDocument/2006/relationships/tags" Target="../tags/tag738.xml"/><Relationship Id="rId8" Type="http://schemas.openxmlformats.org/officeDocument/2006/relationships/tags" Target="../tags/tag690.xml"/><Relationship Id="rId51" Type="http://schemas.openxmlformats.org/officeDocument/2006/relationships/tags" Target="../tags/tag733.xml"/><Relationship Id="rId3" Type="http://schemas.openxmlformats.org/officeDocument/2006/relationships/tags" Target="../tags/tag685.xml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750.xml"/><Relationship Id="rId18" Type="http://schemas.openxmlformats.org/officeDocument/2006/relationships/tags" Target="../tags/tag755.xml"/><Relationship Id="rId26" Type="http://schemas.openxmlformats.org/officeDocument/2006/relationships/tags" Target="../tags/tag763.xml"/><Relationship Id="rId39" Type="http://schemas.openxmlformats.org/officeDocument/2006/relationships/tags" Target="../tags/tag776.xml"/><Relationship Id="rId3" Type="http://schemas.openxmlformats.org/officeDocument/2006/relationships/tags" Target="../tags/tag740.xml"/><Relationship Id="rId21" Type="http://schemas.openxmlformats.org/officeDocument/2006/relationships/tags" Target="../tags/tag758.xml"/><Relationship Id="rId34" Type="http://schemas.openxmlformats.org/officeDocument/2006/relationships/tags" Target="../tags/tag771.xml"/><Relationship Id="rId42" Type="http://schemas.openxmlformats.org/officeDocument/2006/relationships/tags" Target="../tags/tag779.xml"/><Relationship Id="rId47" Type="http://schemas.openxmlformats.org/officeDocument/2006/relationships/tags" Target="../tags/tag784.xml"/><Relationship Id="rId50" Type="http://schemas.openxmlformats.org/officeDocument/2006/relationships/oleObject" Target="../embeddings/oleObject44.bin"/><Relationship Id="rId7" Type="http://schemas.openxmlformats.org/officeDocument/2006/relationships/tags" Target="../tags/tag744.xml"/><Relationship Id="rId12" Type="http://schemas.openxmlformats.org/officeDocument/2006/relationships/tags" Target="../tags/tag749.xml"/><Relationship Id="rId17" Type="http://schemas.openxmlformats.org/officeDocument/2006/relationships/tags" Target="../tags/tag754.xml"/><Relationship Id="rId25" Type="http://schemas.openxmlformats.org/officeDocument/2006/relationships/tags" Target="../tags/tag762.xml"/><Relationship Id="rId33" Type="http://schemas.openxmlformats.org/officeDocument/2006/relationships/tags" Target="../tags/tag770.xml"/><Relationship Id="rId38" Type="http://schemas.openxmlformats.org/officeDocument/2006/relationships/tags" Target="../tags/tag775.xml"/><Relationship Id="rId46" Type="http://schemas.openxmlformats.org/officeDocument/2006/relationships/tags" Target="../tags/tag783.xml"/><Relationship Id="rId2" Type="http://schemas.openxmlformats.org/officeDocument/2006/relationships/tags" Target="../tags/tag739.xml"/><Relationship Id="rId16" Type="http://schemas.openxmlformats.org/officeDocument/2006/relationships/tags" Target="../tags/tag753.xml"/><Relationship Id="rId20" Type="http://schemas.openxmlformats.org/officeDocument/2006/relationships/tags" Target="../tags/tag757.xml"/><Relationship Id="rId29" Type="http://schemas.openxmlformats.org/officeDocument/2006/relationships/tags" Target="../tags/tag766.xml"/><Relationship Id="rId41" Type="http://schemas.openxmlformats.org/officeDocument/2006/relationships/tags" Target="../tags/tag778.xml"/><Relationship Id="rId1" Type="http://schemas.openxmlformats.org/officeDocument/2006/relationships/vmlDrawing" Target="../drawings/vmlDrawing18.vml"/><Relationship Id="rId6" Type="http://schemas.openxmlformats.org/officeDocument/2006/relationships/tags" Target="../tags/tag743.xml"/><Relationship Id="rId11" Type="http://schemas.openxmlformats.org/officeDocument/2006/relationships/tags" Target="../tags/tag748.xml"/><Relationship Id="rId24" Type="http://schemas.openxmlformats.org/officeDocument/2006/relationships/tags" Target="../tags/tag761.xml"/><Relationship Id="rId32" Type="http://schemas.openxmlformats.org/officeDocument/2006/relationships/tags" Target="../tags/tag769.xml"/><Relationship Id="rId37" Type="http://schemas.openxmlformats.org/officeDocument/2006/relationships/tags" Target="../tags/tag774.xml"/><Relationship Id="rId40" Type="http://schemas.openxmlformats.org/officeDocument/2006/relationships/tags" Target="../tags/tag777.xml"/><Relationship Id="rId45" Type="http://schemas.openxmlformats.org/officeDocument/2006/relationships/tags" Target="../tags/tag782.xml"/><Relationship Id="rId5" Type="http://schemas.openxmlformats.org/officeDocument/2006/relationships/tags" Target="../tags/tag742.xml"/><Relationship Id="rId15" Type="http://schemas.openxmlformats.org/officeDocument/2006/relationships/tags" Target="../tags/tag752.xml"/><Relationship Id="rId23" Type="http://schemas.openxmlformats.org/officeDocument/2006/relationships/tags" Target="../tags/tag760.xml"/><Relationship Id="rId28" Type="http://schemas.openxmlformats.org/officeDocument/2006/relationships/tags" Target="../tags/tag765.xml"/><Relationship Id="rId36" Type="http://schemas.openxmlformats.org/officeDocument/2006/relationships/tags" Target="../tags/tag773.xml"/><Relationship Id="rId49" Type="http://schemas.openxmlformats.org/officeDocument/2006/relationships/oleObject" Target="../embeddings/oleObject43.bin"/><Relationship Id="rId10" Type="http://schemas.openxmlformats.org/officeDocument/2006/relationships/tags" Target="../tags/tag747.xml"/><Relationship Id="rId19" Type="http://schemas.openxmlformats.org/officeDocument/2006/relationships/tags" Target="../tags/tag756.xml"/><Relationship Id="rId31" Type="http://schemas.openxmlformats.org/officeDocument/2006/relationships/tags" Target="../tags/tag768.xml"/><Relationship Id="rId44" Type="http://schemas.openxmlformats.org/officeDocument/2006/relationships/tags" Target="../tags/tag781.xml"/><Relationship Id="rId4" Type="http://schemas.openxmlformats.org/officeDocument/2006/relationships/tags" Target="../tags/tag741.xml"/><Relationship Id="rId9" Type="http://schemas.openxmlformats.org/officeDocument/2006/relationships/tags" Target="../tags/tag746.xml"/><Relationship Id="rId14" Type="http://schemas.openxmlformats.org/officeDocument/2006/relationships/tags" Target="../tags/tag751.xml"/><Relationship Id="rId22" Type="http://schemas.openxmlformats.org/officeDocument/2006/relationships/tags" Target="../tags/tag759.xml"/><Relationship Id="rId27" Type="http://schemas.openxmlformats.org/officeDocument/2006/relationships/tags" Target="../tags/tag764.xml"/><Relationship Id="rId30" Type="http://schemas.openxmlformats.org/officeDocument/2006/relationships/tags" Target="../tags/tag767.xml"/><Relationship Id="rId35" Type="http://schemas.openxmlformats.org/officeDocument/2006/relationships/tags" Target="../tags/tag772.xml"/><Relationship Id="rId43" Type="http://schemas.openxmlformats.org/officeDocument/2006/relationships/tags" Target="../tags/tag780.xml"/><Relationship Id="rId48" Type="http://schemas.openxmlformats.org/officeDocument/2006/relationships/slideLayout" Target="../slideLayouts/slideLayout2.xml"/><Relationship Id="rId8" Type="http://schemas.openxmlformats.org/officeDocument/2006/relationships/tags" Target="../tags/tag745.xml"/><Relationship Id="rId51" Type="http://schemas.openxmlformats.org/officeDocument/2006/relationships/oleObject" Target="../embeddings/oleObject45.bin"/></Relationships>
</file>

<file path=ppt/slides/_rels/slide25.xml.rels><?xml version="1.0" encoding="UTF-8" standalone="yes"?>
<Relationships xmlns="http://schemas.openxmlformats.org/package/2006/relationships"><Relationship Id="rId26" Type="http://schemas.openxmlformats.org/officeDocument/2006/relationships/tags" Target="../tags/tag809.xml"/><Relationship Id="rId21" Type="http://schemas.openxmlformats.org/officeDocument/2006/relationships/tags" Target="../tags/tag804.xml"/><Relationship Id="rId42" Type="http://schemas.openxmlformats.org/officeDocument/2006/relationships/tags" Target="../tags/tag825.xml"/><Relationship Id="rId47" Type="http://schemas.openxmlformats.org/officeDocument/2006/relationships/tags" Target="../tags/tag830.xml"/><Relationship Id="rId63" Type="http://schemas.openxmlformats.org/officeDocument/2006/relationships/tags" Target="../tags/tag846.xml"/><Relationship Id="rId68" Type="http://schemas.openxmlformats.org/officeDocument/2006/relationships/tags" Target="../tags/tag851.xml"/><Relationship Id="rId84" Type="http://schemas.openxmlformats.org/officeDocument/2006/relationships/tags" Target="../tags/tag867.xml"/><Relationship Id="rId89" Type="http://schemas.openxmlformats.org/officeDocument/2006/relationships/tags" Target="../tags/tag872.xml"/><Relationship Id="rId112" Type="http://schemas.openxmlformats.org/officeDocument/2006/relationships/oleObject" Target="../embeddings/oleObject47.bin"/><Relationship Id="rId2" Type="http://schemas.openxmlformats.org/officeDocument/2006/relationships/tags" Target="../tags/tag785.xml"/><Relationship Id="rId16" Type="http://schemas.openxmlformats.org/officeDocument/2006/relationships/tags" Target="../tags/tag799.xml"/><Relationship Id="rId29" Type="http://schemas.openxmlformats.org/officeDocument/2006/relationships/tags" Target="../tags/tag812.xml"/><Relationship Id="rId107" Type="http://schemas.openxmlformats.org/officeDocument/2006/relationships/tags" Target="../tags/tag890.xml"/><Relationship Id="rId11" Type="http://schemas.openxmlformats.org/officeDocument/2006/relationships/tags" Target="../tags/tag794.xml"/><Relationship Id="rId24" Type="http://schemas.openxmlformats.org/officeDocument/2006/relationships/tags" Target="../tags/tag807.xml"/><Relationship Id="rId32" Type="http://schemas.openxmlformats.org/officeDocument/2006/relationships/tags" Target="../tags/tag815.xml"/><Relationship Id="rId37" Type="http://schemas.openxmlformats.org/officeDocument/2006/relationships/tags" Target="../tags/tag820.xml"/><Relationship Id="rId40" Type="http://schemas.openxmlformats.org/officeDocument/2006/relationships/tags" Target="../tags/tag823.xml"/><Relationship Id="rId45" Type="http://schemas.openxmlformats.org/officeDocument/2006/relationships/tags" Target="../tags/tag828.xml"/><Relationship Id="rId53" Type="http://schemas.openxmlformats.org/officeDocument/2006/relationships/tags" Target="../tags/tag836.xml"/><Relationship Id="rId58" Type="http://schemas.openxmlformats.org/officeDocument/2006/relationships/tags" Target="../tags/tag841.xml"/><Relationship Id="rId66" Type="http://schemas.openxmlformats.org/officeDocument/2006/relationships/tags" Target="../tags/tag849.xml"/><Relationship Id="rId74" Type="http://schemas.openxmlformats.org/officeDocument/2006/relationships/tags" Target="../tags/tag857.xml"/><Relationship Id="rId79" Type="http://schemas.openxmlformats.org/officeDocument/2006/relationships/tags" Target="../tags/tag862.xml"/><Relationship Id="rId87" Type="http://schemas.openxmlformats.org/officeDocument/2006/relationships/tags" Target="../tags/tag870.xml"/><Relationship Id="rId102" Type="http://schemas.openxmlformats.org/officeDocument/2006/relationships/tags" Target="../tags/tag885.xml"/><Relationship Id="rId110" Type="http://schemas.openxmlformats.org/officeDocument/2006/relationships/slideLayout" Target="../slideLayouts/slideLayout2.xml"/><Relationship Id="rId5" Type="http://schemas.openxmlformats.org/officeDocument/2006/relationships/tags" Target="../tags/tag788.xml"/><Relationship Id="rId61" Type="http://schemas.openxmlformats.org/officeDocument/2006/relationships/tags" Target="../tags/tag844.xml"/><Relationship Id="rId82" Type="http://schemas.openxmlformats.org/officeDocument/2006/relationships/tags" Target="../tags/tag865.xml"/><Relationship Id="rId90" Type="http://schemas.openxmlformats.org/officeDocument/2006/relationships/tags" Target="../tags/tag873.xml"/><Relationship Id="rId95" Type="http://schemas.openxmlformats.org/officeDocument/2006/relationships/tags" Target="../tags/tag878.xml"/><Relationship Id="rId19" Type="http://schemas.openxmlformats.org/officeDocument/2006/relationships/tags" Target="../tags/tag802.xml"/><Relationship Id="rId14" Type="http://schemas.openxmlformats.org/officeDocument/2006/relationships/tags" Target="../tags/tag797.xml"/><Relationship Id="rId22" Type="http://schemas.openxmlformats.org/officeDocument/2006/relationships/tags" Target="../tags/tag805.xml"/><Relationship Id="rId27" Type="http://schemas.openxmlformats.org/officeDocument/2006/relationships/tags" Target="../tags/tag810.xml"/><Relationship Id="rId30" Type="http://schemas.openxmlformats.org/officeDocument/2006/relationships/tags" Target="../tags/tag813.xml"/><Relationship Id="rId35" Type="http://schemas.openxmlformats.org/officeDocument/2006/relationships/tags" Target="../tags/tag818.xml"/><Relationship Id="rId43" Type="http://schemas.openxmlformats.org/officeDocument/2006/relationships/tags" Target="../tags/tag826.xml"/><Relationship Id="rId48" Type="http://schemas.openxmlformats.org/officeDocument/2006/relationships/tags" Target="../tags/tag831.xml"/><Relationship Id="rId56" Type="http://schemas.openxmlformats.org/officeDocument/2006/relationships/tags" Target="../tags/tag839.xml"/><Relationship Id="rId64" Type="http://schemas.openxmlformats.org/officeDocument/2006/relationships/tags" Target="../tags/tag847.xml"/><Relationship Id="rId69" Type="http://schemas.openxmlformats.org/officeDocument/2006/relationships/tags" Target="../tags/tag852.xml"/><Relationship Id="rId77" Type="http://schemas.openxmlformats.org/officeDocument/2006/relationships/tags" Target="../tags/tag860.xml"/><Relationship Id="rId100" Type="http://schemas.openxmlformats.org/officeDocument/2006/relationships/tags" Target="../tags/tag883.xml"/><Relationship Id="rId105" Type="http://schemas.openxmlformats.org/officeDocument/2006/relationships/tags" Target="../tags/tag888.xml"/><Relationship Id="rId8" Type="http://schemas.openxmlformats.org/officeDocument/2006/relationships/tags" Target="../tags/tag791.xml"/><Relationship Id="rId51" Type="http://schemas.openxmlformats.org/officeDocument/2006/relationships/tags" Target="../tags/tag834.xml"/><Relationship Id="rId72" Type="http://schemas.openxmlformats.org/officeDocument/2006/relationships/tags" Target="../tags/tag855.xml"/><Relationship Id="rId80" Type="http://schemas.openxmlformats.org/officeDocument/2006/relationships/tags" Target="../tags/tag863.xml"/><Relationship Id="rId85" Type="http://schemas.openxmlformats.org/officeDocument/2006/relationships/tags" Target="../tags/tag868.xml"/><Relationship Id="rId93" Type="http://schemas.openxmlformats.org/officeDocument/2006/relationships/tags" Target="../tags/tag876.xml"/><Relationship Id="rId98" Type="http://schemas.openxmlformats.org/officeDocument/2006/relationships/tags" Target="../tags/tag881.xml"/><Relationship Id="rId3" Type="http://schemas.openxmlformats.org/officeDocument/2006/relationships/tags" Target="../tags/tag786.xml"/><Relationship Id="rId12" Type="http://schemas.openxmlformats.org/officeDocument/2006/relationships/tags" Target="../tags/tag795.xml"/><Relationship Id="rId17" Type="http://schemas.openxmlformats.org/officeDocument/2006/relationships/tags" Target="../tags/tag800.xml"/><Relationship Id="rId25" Type="http://schemas.openxmlformats.org/officeDocument/2006/relationships/tags" Target="../tags/tag808.xml"/><Relationship Id="rId33" Type="http://schemas.openxmlformats.org/officeDocument/2006/relationships/tags" Target="../tags/tag816.xml"/><Relationship Id="rId38" Type="http://schemas.openxmlformats.org/officeDocument/2006/relationships/tags" Target="../tags/tag821.xml"/><Relationship Id="rId46" Type="http://schemas.openxmlformats.org/officeDocument/2006/relationships/tags" Target="../tags/tag829.xml"/><Relationship Id="rId59" Type="http://schemas.openxmlformats.org/officeDocument/2006/relationships/tags" Target="../tags/tag842.xml"/><Relationship Id="rId67" Type="http://schemas.openxmlformats.org/officeDocument/2006/relationships/tags" Target="../tags/tag850.xml"/><Relationship Id="rId103" Type="http://schemas.openxmlformats.org/officeDocument/2006/relationships/tags" Target="../tags/tag886.xml"/><Relationship Id="rId108" Type="http://schemas.openxmlformats.org/officeDocument/2006/relationships/tags" Target="../tags/tag891.xml"/><Relationship Id="rId20" Type="http://schemas.openxmlformats.org/officeDocument/2006/relationships/tags" Target="../tags/tag803.xml"/><Relationship Id="rId41" Type="http://schemas.openxmlformats.org/officeDocument/2006/relationships/tags" Target="../tags/tag824.xml"/><Relationship Id="rId54" Type="http://schemas.openxmlformats.org/officeDocument/2006/relationships/tags" Target="../tags/tag837.xml"/><Relationship Id="rId62" Type="http://schemas.openxmlformats.org/officeDocument/2006/relationships/tags" Target="../tags/tag845.xml"/><Relationship Id="rId70" Type="http://schemas.openxmlformats.org/officeDocument/2006/relationships/tags" Target="../tags/tag853.xml"/><Relationship Id="rId75" Type="http://schemas.openxmlformats.org/officeDocument/2006/relationships/tags" Target="../tags/tag858.xml"/><Relationship Id="rId83" Type="http://schemas.openxmlformats.org/officeDocument/2006/relationships/tags" Target="../tags/tag866.xml"/><Relationship Id="rId88" Type="http://schemas.openxmlformats.org/officeDocument/2006/relationships/tags" Target="../tags/tag871.xml"/><Relationship Id="rId91" Type="http://schemas.openxmlformats.org/officeDocument/2006/relationships/tags" Target="../tags/tag874.xml"/><Relationship Id="rId96" Type="http://schemas.openxmlformats.org/officeDocument/2006/relationships/tags" Target="../tags/tag879.xml"/><Relationship Id="rId111" Type="http://schemas.openxmlformats.org/officeDocument/2006/relationships/oleObject" Target="../embeddings/oleObject46.bin"/><Relationship Id="rId1" Type="http://schemas.openxmlformats.org/officeDocument/2006/relationships/vmlDrawing" Target="../drawings/vmlDrawing19.vml"/><Relationship Id="rId6" Type="http://schemas.openxmlformats.org/officeDocument/2006/relationships/tags" Target="../tags/tag789.xml"/><Relationship Id="rId15" Type="http://schemas.openxmlformats.org/officeDocument/2006/relationships/tags" Target="../tags/tag798.xml"/><Relationship Id="rId23" Type="http://schemas.openxmlformats.org/officeDocument/2006/relationships/tags" Target="../tags/tag806.xml"/><Relationship Id="rId28" Type="http://schemas.openxmlformats.org/officeDocument/2006/relationships/tags" Target="../tags/tag811.xml"/><Relationship Id="rId36" Type="http://schemas.openxmlformats.org/officeDocument/2006/relationships/tags" Target="../tags/tag819.xml"/><Relationship Id="rId49" Type="http://schemas.openxmlformats.org/officeDocument/2006/relationships/tags" Target="../tags/tag832.xml"/><Relationship Id="rId57" Type="http://schemas.openxmlformats.org/officeDocument/2006/relationships/tags" Target="../tags/tag840.xml"/><Relationship Id="rId106" Type="http://schemas.openxmlformats.org/officeDocument/2006/relationships/tags" Target="../tags/tag889.xml"/><Relationship Id="rId10" Type="http://schemas.openxmlformats.org/officeDocument/2006/relationships/tags" Target="../tags/tag793.xml"/><Relationship Id="rId31" Type="http://schemas.openxmlformats.org/officeDocument/2006/relationships/tags" Target="../tags/tag814.xml"/><Relationship Id="rId44" Type="http://schemas.openxmlformats.org/officeDocument/2006/relationships/tags" Target="../tags/tag827.xml"/><Relationship Id="rId52" Type="http://schemas.openxmlformats.org/officeDocument/2006/relationships/tags" Target="../tags/tag835.xml"/><Relationship Id="rId60" Type="http://schemas.openxmlformats.org/officeDocument/2006/relationships/tags" Target="../tags/tag843.xml"/><Relationship Id="rId65" Type="http://schemas.openxmlformats.org/officeDocument/2006/relationships/tags" Target="../tags/tag848.xml"/><Relationship Id="rId73" Type="http://schemas.openxmlformats.org/officeDocument/2006/relationships/tags" Target="../tags/tag856.xml"/><Relationship Id="rId78" Type="http://schemas.openxmlformats.org/officeDocument/2006/relationships/tags" Target="../tags/tag861.xml"/><Relationship Id="rId81" Type="http://schemas.openxmlformats.org/officeDocument/2006/relationships/tags" Target="../tags/tag864.xml"/><Relationship Id="rId86" Type="http://schemas.openxmlformats.org/officeDocument/2006/relationships/tags" Target="../tags/tag869.xml"/><Relationship Id="rId94" Type="http://schemas.openxmlformats.org/officeDocument/2006/relationships/tags" Target="../tags/tag877.xml"/><Relationship Id="rId99" Type="http://schemas.openxmlformats.org/officeDocument/2006/relationships/tags" Target="../tags/tag882.xml"/><Relationship Id="rId101" Type="http://schemas.openxmlformats.org/officeDocument/2006/relationships/tags" Target="../tags/tag884.xml"/><Relationship Id="rId4" Type="http://schemas.openxmlformats.org/officeDocument/2006/relationships/tags" Target="../tags/tag787.xml"/><Relationship Id="rId9" Type="http://schemas.openxmlformats.org/officeDocument/2006/relationships/tags" Target="../tags/tag792.xml"/><Relationship Id="rId13" Type="http://schemas.openxmlformats.org/officeDocument/2006/relationships/tags" Target="../tags/tag796.xml"/><Relationship Id="rId18" Type="http://schemas.openxmlformats.org/officeDocument/2006/relationships/tags" Target="../tags/tag801.xml"/><Relationship Id="rId39" Type="http://schemas.openxmlformats.org/officeDocument/2006/relationships/tags" Target="../tags/tag822.xml"/><Relationship Id="rId109" Type="http://schemas.openxmlformats.org/officeDocument/2006/relationships/tags" Target="../tags/tag892.xml"/><Relationship Id="rId34" Type="http://schemas.openxmlformats.org/officeDocument/2006/relationships/tags" Target="../tags/tag817.xml"/><Relationship Id="rId50" Type="http://schemas.openxmlformats.org/officeDocument/2006/relationships/tags" Target="../tags/tag833.xml"/><Relationship Id="rId55" Type="http://schemas.openxmlformats.org/officeDocument/2006/relationships/tags" Target="../tags/tag838.xml"/><Relationship Id="rId76" Type="http://schemas.openxmlformats.org/officeDocument/2006/relationships/tags" Target="../tags/tag859.xml"/><Relationship Id="rId97" Type="http://schemas.openxmlformats.org/officeDocument/2006/relationships/tags" Target="../tags/tag880.xml"/><Relationship Id="rId104" Type="http://schemas.openxmlformats.org/officeDocument/2006/relationships/tags" Target="../tags/tag887.xml"/><Relationship Id="rId7" Type="http://schemas.openxmlformats.org/officeDocument/2006/relationships/tags" Target="../tags/tag790.xml"/><Relationship Id="rId71" Type="http://schemas.openxmlformats.org/officeDocument/2006/relationships/tags" Target="../tags/tag854.xml"/><Relationship Id="rId92" Type="http://schemas.openxmlformats.org/officeDocument/2006/relationships/tags" Target="../tags/tag87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899.xml"/><Relationship Id="rId13" Type="http://schemas.openxmlformats.org/officeDocument/2006/relationships/tags" Target="../tags/tag904.xml"/><Relationship Id="rId18" Type="http://schemas.openxmlformats.org/officeDocument/2006/relationships/tags" Target="../tags/tag909.xml"/><Relationship Id="rId26" Type="http://schemas.openxmlformats.org/officeDocument/2006/relationships/tags" Target="../tags/tag917.xml"/><Relationship Id="rId3" Type="http://schemas.openxmlformats.org/officeDocument/2006/relationships/tags" Target="../tags/tag894.xml"/><Relationship Id="rId21" Type="http://schemas.openxmlformats.org/officeDocument/2006/relationships/tags" Target="../tags/tag912.xml"/><Relationship Id="rId7" Type="http://schemas.openxmlformats.org/officeDocument/2006/relationships/tags" Target="../tags/tag898.xml"/><Relationship Id="rId12" Type="http://schemas.openxmlformats.org/officeDocument/2006/relationships/tags" Target="../tags/tag903.xml"/><Relationship Id="rId17" Type="http://schemas.openxmlformats.org/officeDocument/2006/relationships/tags" Target="../tags/tag908.xml"/><Relationship Id="rId25" Type="http://schemas.openxmlformats.org/officeDocument/2006/relationships/tags" Target="../tags/tag916.xml"/><Relationship Id="rId33" Type="http://schemas.openxmlformats.org/officeDocument/2006/relationships/oleObject" Target="../embeddings/oleObject49.bin"/><Relationship Id="rId2" Type="http://schemas.openxmlformats.org/officeDocument/2006/relationships/tags" Target="../tags/tag893.xml"/><Relationship Id="rId16" Type="http://schemas.openxmlformats.org/officeDocument/2006/relationships/tags" Target="../tags/tag907.xml"/><Relationship Id="rId20" Type="http://schemas.openxmlformats.org/officeDocument/2006/relationships/tags" Target="../tags/tag911.xml"/><Relationship Id="rId29" Type="http://schemas.openxmlformats.org/officeDocument/2006/relationships/tags" Target="../tags/tag920.xml"/><Relationship Id="rId1" Type="http://schemas.openxmlformats.org/officeDocument/2006/relationships/vmlDrawing" Target="../drawings/vmlDrawing20.vml"/><Relationship Id="rId6" Type="http://schemas.openxmlformats.org/officeDocument/2006/relationships/tags" Target="../tags/tag897.xml"/><Relationship Id="rId11" Type="http://schemas.openxmlformats.org/officeDocument/2006/relationships/tags" Target="../tags/tag902.xml"/><Relationship Id="rId24" Type="http://schemas.openxmlformats.org/officeDocument/2006/relationships/tags" Target="../tags/tag915.xml"/><Relationship Id="rId32" Type="http://schemas.openxmlformats.org/officeDocument/2006/relationships/oleObject" Target="../embeddings/oleObject48.bin"/><Relationship Id="rId5" Type="http://schemas.openxmlformats.org/officeDocument/2006/relationships/tags" Target="../tags/tag896.xml"/><Relationship Id="rId15" Type="http://schemas.openxmlformats.org/officeDocument/2006/relationships/tags" Target="../tags/tag906.xml"/><Relationship Id="rId23" Type="http://schemas.openxmlformats.org/officeDocument/2006/relationships/tags" Target="../tags/tag914.xml"/><Relationship Id="rId28" Type="http://schemas.openxmlformats.org/officeDocument/2006/relationships/tags" Target="../tags/tag919.xml"/><Relationship Id="rId10" Type="http://schemas.openxmlformats.org/officeDocument/2006/relationships/tags" Target="../tags/tag901.xml"/><Relationship Id="rId19" Type="http://schemas.openxmlformats.org/officeDocument/2006/relationships/tags" Target="../tags/tag910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895.xml"/><Relationship Id="rId9" Type="http://schemas.openxmlformats.org/officeDocument/2006/relationships/tags" Target="../tags/tag900.xml"/><Relationship Id="rId14" Type="http://schemas.openxmlformats.org/officeDocument/2006/relationships/tags" Target="../tags/tag905.xml"/><Relationship Id="rId22" Type="http://schemas.openxmlformats.org/officeDocument/2006/relationships/tags" Target="../tags/tag913.xml"/><Relationship Id="rId27" Type="http://schemas.openxmlformats.org/officeDocument/2006/relationships/tags" Target="../tags/tag918.xml"/><Relationship Id="rId30" Type="http://schemas.openxmlformats.org/officeDocument/2006/relationships/tags" Target="../tags/tag92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jpeg"/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m/url?sa=i&amp;rct=j&amp;q=&amp;esrc=s&amp;frm=1&amp;source=images&amp;cd=&amp;cad=rja&amp;docid=o2eS2hYXH285xM&amp;tbnid=3bTVTROhNkUsHM:&amp;ved=0CAUQjRw&amp;url=http://www.thisismoney.co.uk/money/article-1140403/Rolls-Royce-delays-Singapore-jet-engine-factory.html&amp;ei=GVRUUen7H-rg2gWxjIHwCw&amp;bvm=bv.44342787,d.b2I&amp;psig=AFQjCNH_D1KTpcBhUED0N79iQvMvpFflPw&amp;ust=1364567429512457" TargetMode="External"/><Relationship Id="rId2" Type="http://schemas.openxmlformats.org/officeDocument/2006/relationships/image" Target="../media/image96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7.jpeg"/></Relationships>
</file>

<file path=ppt/slides/_rels/slide29.xml.rels><?xml version="1.0" encoding="UTF-8" standalone="yes"?>
<Relationships xmlns="http://schemas.openxmlformats.org/package/2006/relationships"><Relationship Id="rId13" Type="http://schemas.openxmlformats.org/officeDocument/2006/relationships/tags" Target="../tags/tag933.xml"/><Relationship Id="rId18" Type="http://schemas.openxmlformats.org/officeDocument/2006/relationships/tags" Target="../tags/tag938.xml"/><Relationship Id="rId26" Type="http://schemas.openxmlformats.org/officeDocument/2006/relationships/tags" Target="../tags/tag946.xml"/><Relationship Id="rId39" Type="http://schemas.openxmlformats.org/officeDocument/2006/relationships/tags" Target="../tags/tag959.xml"/><Relationship Id="rId21" Type="http://schemas.openxmlformats.org/officeDocument/2006/relationships/tags" Target="../tags/tag941.xml"/><Relationship Id="rId34" Type="http://schemas.openxmlformats.org/officeDocument/2006/relationships/tags" Target="../tags/tag954.xml"/><Relationship Id="rId42" Type="http://schemas.openxmlformats.org/officeDocument/2006/relationships/tags" Target="../tags/tag962.xml"/><Relationship Id="rId47" Type="http://schemas.openxmlformats.org/officeDocument/2006/relationships/tags" Target="../tags/tag967.xml"/><Relationship Id="rId50" Type="http://schemas.openxmlformats.org/officeDocument/2006/relationships/tags" Target="../tags/tag970.xml"/><Relationship Id="rId55" Type="http://schemas.openxmlformats.org/officeDocument/2006/relationships/tags" Target="../tags/tag975.xml"/><Relationship Id="rId63" Type="http://schemas.openxmlformats.org/officeDocument/2006/relationships/oleObject" Target="../embeddings/oleObject50.bin"/><Relationship Id="rId7" Type="http://schemas.openxmlformats.org/officeDocument/2006/relationships/tags" Target="../tags/tag927.xml"/><Relationship Id="rId2" Type="http://schemas.openxmlformats.org/officeDocument/2006/relationships/tags" Target="../tags/tag922.xml"/><Relationship Id="rId16" Type="http://schemas.openxmlformats.org/officeDocument/2006/relationships/tags" Target="../tags/tag936.xml"/><Relationship Id="rId20" Type="http://schemas.openxmlformats.org/officeDocument/2006/relationships/tags" Target="../tags/tag940.xml"/><Relationship Id="rId29" Type="http://schemas.openxmlformats.org/officeDocument/2006/relationships/tags" Target="../tags/tag949.xml"/><Relationship Id="rId41" Type="http://schemas.openxmlformats.org/officeDocument/2006/relationships/tags" Target="../tags/tag961.xml"/><Relationship Id="rId54" Type="http://schemas.openxmlformats.org/officeDocument/2006/relationships/tags" Target="../tags/tag974.xml"/><Relationship Id="rId62" Type="http://schemas.openxmlformats.org/officeDocument/2006/relationships/slideLayout" Target="../slideLayouts/slideLayout2.xml"/><Relationship Id="rId1" Type="http://schemas.openxmlformats.org/officeDocument/2006/relationships/vmlDrawing" Target="../drawings/vmlDrawing21.vml"/><Relationship Id="rId6" Type="http://schemas.openxmlformats.org/officeDocument/2006/relationships/tags" Target="../tags/tag926.xml"/><Relationship Id="rId11" Type="http://schemas.openxmlformats.org/officeDocument/2006/relationships/tags" Target="../tags/tag931.xml"/><Relationship Id="rId24" Type="http://schemas.openxmlformats.org/officeDocument/2006/relationships/tags" Target="../tags/tag944.xml"/><Relationship Id="rId32" Type="http://schemas.openxmlformats.org/officeDocument/2006/relationships/tags" Target="../tags/tag952.xml"/><Relationship Id="rId37" Type="http://schemas.openxmlformats.org/officeDocument/2006/relationships/tags" Target="../tags/tag957.xml"/><Relationship Id="rId40" Type="http://schemas.openxmlformats.org/officeDocument/2006/relationships/tags" Target="../tags/tag960.xml"/><Relationship Id="rId45" Type="http://schemas.openxmlformats.org/officeDocument/2006/relationships/tags" Target="../tags/tag965.xml"/><Relationship Id="rId53" Type="http://schemas.openxmlformats.org/officeDocument/2006/relationships/tags" Target="../tags/tag973.xml"/><Relationship Id="rId58" Type="http://schemas.openxmlformats.org/officeDocument/2006/relationships/tags" Target="../tags/tag978.xml"/><Relationship Id="rId5" Type="http://schemas.openxmlformats.org/officeDocument/2006/relationships/tags" Target="../tags/tag925.xml"/><Relationship Id="rId15" Type="http://schemas.openxmlformats.org/officeDocument/2006/relationships/tags" Target="../tags/tag935.xml"/><Relationship Id="rId23" Type="http://schemas.openxmlformats.org/officeDocument/2006/relationships/tags" Target="../tags/tag943.xml"/><Relationship Id="rId28" Type="http://schemas.openxmlformats.org/officeDocument/2006/relationships/tags" Target="../tags/tag948.xml"/><Relationship Id="rId36" Type="http://schemas.openxmlformats.org/officeDocument/2006/relationships/tags" Target="../tags/tag956.xml"/><Relationship Id="rId49" Type="http://schemas.openxmlformats.org/officeDocument/2006/relationships/tags" Target="../tags/tag969.xml"/><Relationship Id="rId57" Type="http://schemas.openxmlformats.org/officeDocument/2006/relationships/tags" Target="../tags/tag977.xml"/><Relationship Id="rId61" Type="http://schemas.openxmlformats.org/officeDocument/2006/relationships/tags" Target="../tags/tag981.xml"/><Relationship Id="rId10" Type="http://schemas.openxmlformats.org/officeDocument/2006/relationships/tags" Target="../tags/tag930.xml"/><Relationship Id="rId19" Type="http://schemas.openxmlformats.org/officeDocument/2006/relationships/tags" Target="../tags/tag939.xml"/><Relationship Id="rId31" Type="http://schemas.openxmlformats.org/officeDocument/2006/relationships/tags" Target="../tags/tag951.xml"/><Relationship Id="rId44" Type="http://schemas.openxmlformats.org/officeDocument/2006/relationships/tags" Target="../tags/tag964.xml"/><Relationship Id="rId52" Type="http://schemas.openxmlformats.org/officeDocument/2006/relationships/tags" Target="../tags/tag972.xml"/><Relationship Id="rId60" Type="http://schemas.openxmlformats.org/officeDocument/2006/relationships/tags" Target="../tags/tag980.xml"/><Relationship Id="rId4" Type="http://schemas.openxmlformats.org/officeDocument/2006/relationships/tags" Target="../tags/tag924.xml"/><Relationship Id="rId9" Type="http://schemas.openxmlformats.org/officeDocument/2006/relationships/tags" Target="../tags/tag929.xml"/><Relationship Id="rId14" Type="http://schemas.openxmlformats.org/officeDocument/2006/relationships/tags" Target="../tags/tag934.xml"/><Relationship Id="rId22" Type="http://schemas.openxmlformats.org/officeDocument/2006/relationships/tags" Target="../tags/tag942.xml"/><Relationship Id="rId27" Type="http://schemas.openxmlformats.org/officeDocument/2006/relationships/tags" Target="../tags/tag947.xml"/><Relationship Id="rId30" Type="http://schemas.openxmlformats.org/officeDocument/2006/relationships/tags" Target="../tags/tag950.xml"/><Relationship Id="rId35" Type="http://schemas.openxmlformats.org/officeDocument/2006/relationships/tags" Target="../tags/tag955.xml"/><Relationship Id="rId43" Type="http://schemas.openxmlformats.org/officeDocument/2006/relationships/tags" Target="../tags/tag963.xml"/><Relationship Id="rId48" Type="http://schemas.openxmlformats.org/officeDocument/2006/relationships/tags" Target="../tags/tag968.xml"/><Relationship Id="rId56" Type="http://schemas.openxmlformats.org/officeDocument/2006/relationships/tags" Target="../tags/tag976.xml"/><Relationship Id="rId8" Type="http://schemas.openxmlformats.org/officeDocument/2006/relationships/tags" Target="../tags/tag928.xml"/><Relationship Id="rId51" Type="http://schemas.openxmlformats.org/officeDocument/2006/relationships/tags" Target="../tags/tag971.xml"/><Relationship Id="rId3" Type="http://schemas.openxmlformats.org/officeDocument/2006/relationships/tags" Target="../tags/tag923.xml"/><Relationship Id="rId12" Type="http://schemas.openxmlformats.org/officeDocument/2006/relationships/tags" Target="../tags/tag932.xml"/><Relationship Id="rId17" Type="http://schemas.openxmlformats.org/officeDocument/2006/relationships/tags" Target="../tags/tag937.xml"/><Relationship Id="rId25" Type="http://schemas.openxmlformats.org/officeDocument/2006/relationships/tags" Target="../tags/tag945.xml"/><Relationship Id="rId33" Type="http://schemas.openxmlformats.org/officeDocument/2006/relationships/tags" Target="../tags/tag953.xml"/><Relationship Id="rId38" Type="http://schemas.openxmlformats.org/officeDocument/2006/relationships/tags" Target="../tags/tag958.xml"/><Relationship Id="rId46" Type="http://schemas.openxmlformats.org/officeDocument/2006/relationships/tags" Target="../tags/tag966.xml"/><Relationship Id="rId59" Type="http://schemas.openxmlformats.org/officeDocument/2006/relationships/tags" Target="../tags/tag97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jpe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3" Type="http://schemas.openxmlformats.org/officeDocument/2006/relationships/tags" Target="../tags/tag993.xml"/><Relationship Id="rId18" Type="http://schemas.openxmlformats.org/officeDocument/2006/relationships/tags" Target="../tags/tag998.xml"/><Relationship Id="rId26" Type="http://schemas.openxmlformats.org/officeDocument/2006/relationships/tags" Target="../tags/tag1006.xml"/><Relationship Id="rId39" Type="http://schemas.openxmlformats.org/officeDocument/2006/relationships/tags" Target="../tags/tag1019.xml"/><Relationship Id="rId21" Type="http://schemas.openxmlformats.org/officeDocument/2006/relationships/tags" Target="../tags/tag1001.xml"/><Relationship Id="rId34" Type="http://schemas.openxmlformats.org/officeDocument/2006/relationships/tags" Target="../tags/tag1014.xml"/><Relationship Id="rId42" Type="http://schemas.openxmlformats.org/officeDocument/2006/relationships/tags" Target="../tags/tag1022.xml"/><Relationship Id="rId47" Type="http://schemas.openxmlformats.org/officeDocument/2006/relationships/tags" Target="../tags/tag1027.xml"/><Relationship Id="rId50" Type="http://schemas.openxmlformats.org/officeDocument/2006/relationships/tags" Target="../tags/tag1030.xml"/><Relationship Id="rId55" Type="http://schemas.openxmlformats.org/officeDocument/2006/relationships/tags" Target="../tags/tag1035.xml"/><Relationship Id="rId63" Type="http://schemas.openxmlformats.org/officeDocument/2006/relationships/tags" Target="../tags/tag1043.xml"/><Relationship Id="rId68" Type="http://schemas.openxmlformats.org/officeDocument/2006/relationships/tags" Target="../tags/tag1048.xml"/><Relationship Id="rId76" Type="http://schemas.openxmlformats.org/officeDocument/2006/relationships/tags" Target="../tags/tag1056.xml"/><Relationship Id="rId84" Type="http://schemas.openxmlformats.org/officeDocument/2006/relationships/tags" Target="../tags/tag1064.xml"/><Relationship Id="rId89" Type="http://schemas.openxmlformats.org/officeDocument/2006/relationships/oleObject" Target="../embeddings/oleObject52.bin"/><Relationship Id="rId7" Type="http://schemas.openxmlformats.org/officeDocument/2006/relationships/tags" Target="../tags/tag987.xml"/><Relationship Id="rId71" Type="http://schemas.openxmlformats.org/officeDocument/2006/relationships/tags" Target="../tags/tag1051.xml"/><Relationship Id="rId2" Type="http://schemas.openxmlformats.org/officeDocument/2006/relationships/tags" Target="../tags/tag982.xml"/><Relationship Id="rId16" Type="http://schemas.openxmlformats.org/officeDocument/2006/relationships/tags" Target="../tags/tag996.xml"/><Relationship Id="rId29" Type="http://schemas.openxmlformats.org/officeDocument/2006/relationships/tags" Target="../tags/tag1009.xml"/><Relationship Id="rId11" Type="http://schemas.openxmlformats.org/officeDocument/2006/relationships/tags" Target="../tags/tag991.xml"/><Relationship Id="rId24" Type="http://schemas.openxmlformats.org/officeDocument/2006/relationships/tags" Target="../tags/tag1004.xml"/><Relationship Id="rId32" Type="http://schemas.openxmlformats.org/officeDocument/2006/relationships/tags" Target="../tags/tag1012.xml"/><Relationship Id="rId37" Type="http://schemas.openxmlformats.org/officeDocument/2006/relationships/tags" Target="../tags/tag1017.xml"/><Relationship Id="rId40" Type="http://schemas.openxmlformats.org/officeDocument/2006/relationships/tags" Target="../tags/tag1020.xml"/><Relationship Id="rId45" Type="http://schemas.openxmlformats.org/officeDocument/2006/relationships/tags" Target="../tags/tag1025.xml"/><Relationship Id="rId53" Type="http://schemas.openxmlformats.org/officeDocument/2006/relationships/tags" Target="../tags/tag1033.xml"/><Relationship Id="rId58" Type="http://schemas.openxmlformats.org/officeDocument/2006/relationships/tags" Target="../tags/tag1038.xml"/><Relationship Id="rId66" Type="http://schemas.openxmlformats.org/officeDocument/2006/relationships/tags" Target="../tags/tag1046.xml"/><Relationship Id="rId74" Type="http://schemas.openxmlformats.org/officeDocument/2006/relationships/tags" Target="../tags/tag1054.xml"/><Relationship Id="rId79" Type="http://schemas.openxmlformats.org/officeDocument/2006/relationships/tags" Target="../tags/tag1059.xml"/><Relationship Id="rId87" Type="http://schemas.openxmlformats.org/officeDocument/2006/relationships/slideLayout" Target="../slideLayouts/slideLayout2.xml"/><Relationship Id="rId5" Type="http://schemas.openxmlformats.org/officeDocument/2006/relationships/tags" Target="../tags/tag985.xml"/><Relationship Id="rId61" Type="http://schemas.openxmlformats.org/officeDocument/2006/relationships/tags" Target="../tags/tag1041.xml"/><Relationship Id="rId82" Type="http://schemas.openxmlformats.org/officeDocument/2006/relationships/tags" Target="../tags/tag1062.xml"/><Relationship Id="rId19" Type="http://schemas.openxmlformats.org/officeDocument/2006/relationships/tags" Target="../tags/tag999.xml"/><Relationship Id="rId4" Type="http://schemas.openxmlformats.org/officeDocument/2006/relationships/tags" Target="../tags/tag984.xml"/><Relationship Id="rId9" Type="http://schemas.openxmlformats.org/officeDocument/2006/relationships/tags" Target="../tags/tag989.xml"/><Relationship Id="rId14" Type="http://schemas.openxmlformats.org/officeDocument/2006/relationships/tags" Target="../tags/tag994.xml"/><Relationship Id="rId22" Type="http://schemas.openxmlformats.org/officeDocument/2006/relationships/tags" Target="../tags/tag1002.xml"/><Relationship Id="rId27" Type="http://schemas.openxmlformats.org/officeDocument/2006/relationships/tags" Target="../tags/tag1007.xml"/><Relationship Id="rId30" Type="http://schemas.openxmlformats.org/officeDocument/2006/relationships/tags" Target="../tags/tag1010.xml"/><Relationship Id="rId35" Type="http://schemas.openxmlformats.org/officeDocument/2006/relationships/tags" Target="../tags/tag1015.xml"/><Relationship Id="rId43" Type="http://schemas.openxmlformats.org/officeDocument/2006/relationships/tags" Target="../tags/tag1023.xml"/><Relationship Id="rId48" Type="http://schemas.openxmlformats.org/officeDocument/2006/relationships/tags" Target="../tags/tag1028.xml"/><Relationship Id="rId56" Type="http://schemas.openxmlformats.org/officeDocument/2006/relationships/tags" Target="../tags/tag1036.xml"/><Relationship Id="rId64" Type="http://schemas.openxmlformats.org/officeDocument/2006/relationships/tags" Target="../tags/tag1044.xml"/><Relationship Id="rId69" Type="http://schemas.openxmlformats.org/officeDocument/2006/relationships/tags" Target="../tags/tag1049.xml"/><Relationship Id="rId77" Type="http://schemas.openxmlformats.org/officeDocument/2006/relationships/tags" Target="../tags/tag1057.xml"/><Relationship Id="rId8" Type="http://schemas.openxmlformats.org/officeDocument/2006/relationships/tags" Target="../tags/tag988.xml"/><Relationship Id="rId51" Type="http://schemas.openxmlformats.org/officeDocument/2006/relationships/tags" Target="../tags/tag1031.xml"/><Relationship Id="rId72" Type="http://schemas.openxmlformats.org/officeDocument/2006/relationships/tags" Target="../tags/tag1052.xml"/><Relationship Id="rId80" Type="http://schemas.openxmlformats.org/officeDocument/2006/relationships/tags" Target="../tags/tag1060.xml"/><Relationship Id="rId85" Type="http://schemas.openxmlformats.org/officeDocument/2006/relationships/tags" Target="../tags/tag1065.xml"/><Relationship Id="rId3" Type="http://schemas.openxmlformats.org/officeDocument/2006/relationships/tags" Target="../tags/tag983.xml"/><Relationship Id="rId12" Type="http://schemas.openxmlformats.org/officeDocument/2006/relationships/tags" Target="../tags/tag992.xml"/><Relationship Id="rId17" Type="http://schemas.openxmlformats.org/officeDocument/2006/relationships/tags" Target="../tags/tag997.xml"/><Relationship Id="rId25" Type="http://schemas.openxmlformats.org/officeDocument/2006/relationships/tags" Target="../tags/tag1005.xml"/><Relationship Id="rId33" Type="http://schemas.openxmlformats.org/officeDocument/2006/relationships/tags" Target="../tags/tag1013.xml"/><Relationship Id="rId38" Type="http://schemas.openxmlformats.org/officeDocument/2006/relationships/tags" Target="../tags/tag1018.xml"/><Relationship Id="rId46" Type="http://schemas.openxmlformats.org/officeDocument/2006/relationships/tags" Target="../tags/tag1026.xml"/><Relationship Id="rId59" Type="http://schemas.openxmlformats.org/officeDocument/2006/relationships/tags" Target="../tags/tag1039.xml"/><Relationship Id="rId67" Type="http://schemas.openxmlformats.org/officeDocument/2006/relationships/tags" Target="../tags/tag1047.xml"/><Relationship Id="rId20" Type="http://schemas.openxmlformats.org/officeDocument/2006/relationships/tags" Target="../tags/tag1000.xml"/><Relationship Id="rId41" Type="http://schemas.openxmlformats.org/officeDocument/2006/relationships/tags" Target="../tags/tag1021.xml"/><Relationship Id="rId54" Type="http://schemas.openxmlformats.org/officeDocument/2006/relationships/tags" Target="../tags/tag1034.xml"/><Relationship Id="rId62" Type="http://schemas.openxmlformats.org/officeDocument/2006/relationships/tags" Target="../tags/tag1042.xml"/><Relationship Id="rId70" Type="http://schemas.openxmlformats.org/officeDocument/2006/relationships/tags" Target="../tags/tag1050.xml"/><Relationship Id="rId75" Type="http://schemas.openxmlformats.org/officeDocument/2006/relationships/tags" Target="../tags/tag1055.xml"/><Relationship Id="rId83" Type="http://schemas.openxmlformats.org/officeDocument/2006/relationships/tags" Target="../tags/tag1063.xml"/><Relationship Id="rId88" Type="http://schemas.openxmlformats.org/officeDocument/2006/relationships/oleObject" Target="../embeddings/oleObject51.bin"/><Relationship Id="rId1" Type="http://schemas.openxmlformats.org/officeDocument/2006/relationships/vmlDrawing" Target="../drawings/vmlDrawing22.vml"/><Relationship Id="rId6" Type="http://schemas.openxmlformats.org/officeDocument/2006/relationships/tags" Target="../tags/tag986.xml"/><Relationship Id="rId15" Type="http://schemas.openxmlformats.org/officeDocument/2006/relationships/tags" Target="../tags/tag995.xml"/><Relationship Id="rId23" Type="http://schemas.openxmlformats.org/officeDocument/2006/relationships/tags" Target="../tags/tag1003.xml"/><Relationship Id="rId28" Type="http://schemas.openxmlformats.org/officeDocument/2006/relationships/tags" Target="../tags/tag1008.xml"/><Relationship Id="rId36" Type="http://schemas.openxmlformats.org/officeDocument/2006/relationships/tags" Target="../tags/tag1016.xml"/><Relationship Id="rId49" Type="http://schemas.openxmlformats.org/officeDocument/2006/relationships/tags" Target="../tags/tag1029.xml"/><Relationship Id="rId57" Type="http://schemas.openxmlformats.org/officeDocument/2006/relationships/tags" Target="../tags/tag1037.xml"/><Relationship Id="rId10" Type="http://schemas.openxmlformats.org/officeDocument/2006/relationships/tags" Target="../tags/tag990.xml"/><Relationship Id="rId31" Type="http://schemas.openxmlformats.org/officeDocument/2006/relationships/tags" Target="../tags/tag1011.xml"/><Relationship Id="rId44" Type="http://schemas.openxmlformats.org/officeDocument/2006/relationships/tags" Target="../tags/tag1024.xml"/><Relationship Id="rId52" Type="http://schemas.openxmlformats.org/officeDocument/2006/relationships/tags" Target="../tags/tag1032.xml"/><Relationship Id="rId60" Type="http://schemas.openxmlformats.org/officeDocument/2006/relationships/tags" Target="../tags/tag1040.xml"/><Relationship Id="rId65" Type="http://schemas.openxmlformats.org/officeDocument/2006/relationships/tags" Target="../tags/tag1045.xml"/><Relationship Id="rId73" Type="http://schemas.openxmlformats.org/officeDocument/2006/relationships/tags" Target="../tags/tag1053.xml"/><Relationship Id="rId78" Type="http://schemas.openxmlformats.org/officeDocument/2006/relationships/tags" Target="../tags/tag1058.xml"/><Relationship Id="rId81" Type="http://schemas.openxmlformats.org/officeDocument/2006/relationships/tags" Target="../tags/tag1061.xml"/><Relationship Id="rId86" Type="http://schemas.openxmlformats.org/officeDocument/2006/relationships/tags" Target="../tags/tag1066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3.bin"/><Relationship Id="rId3" Type="http://schemas.openxmlformats.org/officeDocument/2006/relationships/tags" Target="../tags/tag1068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1067.xml"/><Relationship Id="rId1" Type="http://schemas.openxmlformats.org/officeDocument/2006/relationships/vmlDrawing" Target="../drawings/vmlDrawing23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070.xml"/><Relationship Id="rId4" Type="http://schemas.openxmlformats.org/officeDocument/2006/relationships/tags" Target="../tags/tag1069.xml"/><Relationship Id="rId9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oleObject" Target="../embeddings/oleObject2.bin"/><Relationship Id="rId26" Type="http://schemas.openxmlformats.org/officeDocument/2006/relationships/image" Target="../media/image11.png"/><Relationship Id="rId3" Type="http://schemas.openxmlformats.org/officeDocument/2006/relationships/tags" Target="../tags/tag8.xml"/><Relationship Id="rId21" Type="http://schemas.openxmlformats.org/officeDocument/2006/relationships/hyperlink" Target="http://www.sasi.group.shef.ac.uk/worldmapper/images/largepng/160.png" TargetMode="Externa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slideLayout" Target="../slideLayouts/slideLayout6.xml"/><Relationship Id="rId25" Type="http://schemas.openxmlformats.org/officeDocument/2006/relationships/hyperlink" Target="http://www.sasi.group.shef.ac.uk/worldmapper/images/largepng/162.png" TargetMode="Externa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image" Target="../media/image8.png"/><Relationship Id="rId29" Type="http://schemas.openxmlformats.org/officeDocument/2006/relationships/hyperlink" Target="http://www.sasi.group.shef.ac.uk/worldmapper/images/largepng/170.png" TargetMode="Externa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image" Target="../media/image10.png"/><Relationship Id="rId32" Type="http://schemas.openxmlformats.org/officeDocument/2006/relationships/image" Target="../media/image14.png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hyperlink" Target="http://www.sasi.group.shef.ac.uk/worldmapper/images/largepng/161.png" TargetMode="External"/><Relationship Id="rId28" Type="http://schemas.openxmlformats.org/officeDocument/2006/relationships/image" Target="../media/image12.png"/><Relationship Id="rId10" Type="http://schemas.openxmlformats.org/officeDocument/2006/relationships/tags" Target="../tags/tag15.xml"/><Relationship Id="rId19" Type="http://schemas.openxmlformats.org/officeDocument/2006/relationships/hyperlink" Target="http://www.worldmapper.org/images/largepng/159.png" TargetMode="External"/><Relationship Id="rId31" Type="http://schemas.openxmlformats.org/officeDocument/2006/relationships/hyperlink" Target="http://www.sasi.group.shef.ac.uk/worldmapper/images/largepng/164.png" TargetMode="Externa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image" Target="../media/image9.png"/><Relationship Id="rId27" Type="http://schemas.openxmlformats.org/officeDocument/2006/relationships/hyperlink" Target="http://www.sasi.group.shef.ac.uk/worldmapper/images/largepng/163.png" TargetMode="External"/><Relationship Id="rId30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7.gif"/><Relationship Id="rId7" Type="http://schemas.openxmlformats.org/officeDocument/2006/relationships/image" Target="../media/image21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Relationship Id="rId9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tags" Target="../tags/tag46.xml"/><Relationship Id="rId3" Type="http://schemas.openxmlformats.org/officeDocument/2006/relationships/tags" Target="../tags/tag23.xml"/><Relationship Id="rId21" Type="http://schemas.openxmlformats.org/officeDocument/2006/relationships/tags" Target="../tags/tag41.xml"/><Relationship Id="rId34" Type="http://schemas.openxmlformats.org/officeDocument/2006/relationships/slideLayout" Target="../slideLayouts/slideLayout2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tags" Target="../tags/tag45.xml"/><Relationship Id="rId33" Type="http://schemas.openxmlformats.org/officeDocument/2006/relationships/tags" Target="../tags/tag53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29" Type="http://schemas.openxmlformats.org/officeDocument/2006/relationships/tags" Target="../tags/tag49.xml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tags" Target="../tags/tag44.xml"/><Relationship Id="rId32" Type="http://schemas.openxmlformats.org/officeDocument/2006/relationships/tags" Target="../tags/tag52.xml"/><Relationship Id="rId37" Type="http://schemas.openxmlformats.org/officeDocument/2006/relationships/image" Target="../media/image26.jpeg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28" Type="http://schemas.openxmlformats.org/officeDocument/2006/relationships/tags" Target="../tags/tag48.xml"/><Relationship Id="rId36" Type="http://schemas.openxmlformats.org/officeDocument/2006/relationships/image" Target="../media/image25.jpeg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31" Type="http://schemas.openxmlformats.org/officeDocument/2006/relationships/tags" Target="../tags/tag51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Relationship Id="rId27" Type="http://schemas.openxmlformats.org/officeDocument/2006/relationships/tags" Target="../tags/tag47.xml"/><Relationship Id="rId30" Type="http://schemas.openxmlformats.org/officeDocument/2006/relationships/tags" Target="../tags/tag50.xml"/><Relationship Id="rId35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5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.vml"/><Relationship Id="rId6" Type="http://schemas.openxmlformats.org/officeDocument/2006/relationships/tags" Target="../tags/tag58.xml"/><Relationship Id="rId11" Type="http://schemas.openxmlformats.org/officeDocument/2006/relationships/image" Target="../media/image29.jpeg"/><Relationship Id="rId5" Type="http://schemas.openxmlformats.org/officeDocument/2006/relationships/tags" Target="../tags/tag57.xml"/><Relationship Id="rId10" Type="http://schemas.openxmlformats.org/officeDocument/2006/relationships/image" Target="../media/image28.jpeg"/><Relationship Id="rId4" Type="http://schemas.openxmlformats.org/officeDocument/2006/relationships/tags" Target="../tags/tag56.xml"/><Relationship Id="rId9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/>
          <p:cNvGraphicFramePr>
            <a:graphicFrameLocks noChangeAspect="1"/>
          </p:cNvGraphicFramePr>
          <p:nvPr/>
        </p:nvGraphicFramePr>
        <p:xfrm>
          <a:off x="0" y="0"/>
          <a:ext cx="163763" cy="158750"/>
        </p:xfrm>
        <a:graphic>
          <a:graphicData uri="http://schemas.openxmlformats.org/presentationml/2006/ole">
            <p:oleObj spid="_x0000_s157698" name="think-cell Slide" r:id="rId8" imgW="360" imgH="360" progId="TCLayout.ActiveDocument.1">
              <p:embed/>
            </p:oleObj>
          </a:graphicData>
        </a:graphic>
      </p:graphicFrame>
      <p:sp>
        <p:nvSpPr>
          <p:cNvPr id="4" name="Rectangle 3"/>
          <p:cNvSpPr/>
          <p:nvPr>
            <p:custDataLst>
              <p:tags r:id="rId2"/>
            </p:custDataLst>
          </p:nvPr>
        </p:nvSpPr>
        <p:spPr>
          <a:xfrm>
            <a:off x="623897" y="1926000"/>
            <a:ext cx="8816256" cy="1965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000" b="1" dirty="0" smtClean="0">
                <a:solidFill>
                  <a:srgbClr val="4D4D4D"/>
                </a:solidFill>
                <a:cs typeface="Arial" charset="0"/>
              </a:rPr>
              <a:t>Made in America, Again</a:t>
            </a:r>
          </a:p>
        </p:txBody>
      </p:sp>
      <p:sp>
        <p:nvSpPr>
          <p:cNvPr id="5" name="Rectangle 4"/>
          <p:cNvSpPr/>
          <p:nvPr>
            <p:custDataLst>
              <p:tags r:id="rId3"/>
            </p:custDataLst>
          </p:nvPr>
        </p:nvSpPr>
        <p:spPr>
          <a:xfrm>
            <a:off x="623897" y="4435200"/>
            <a:ext cx="8816256" cy="37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dirty="0" smtClean="0">
              <a:solidFill>
                <a:srgbClr val="4D4D4D"/>
              </a:solidFill>
            </a:endParaRPr>
          </a:p>
          <a:p>
            <a:endParaRPr lang="en-US" sz="2000" dirty="0" smtClean="0">
              <a:solidFill>
                <a:srgbClr val="4D4D4D"/>
              </a:solidFill>
            </a:endParaRPr>
          </a:p>
          <a:p>
            <a:endParaRPr lang="en-US" sz="2000" dirty="0" smtClean="0">
              <a:solidFill>
                <a:srgbClr val="4D4D4D"/>
              </a:solidFill>
            </a:endParaRPr>
          </a:p>
          <a:p>
            <a:endParaRPr lang="en-US" sz="2000" dirty="0" smtClean="0">
              <a:solidFill>
                <a:srgbClr val="4D4D4D"/>
              </a:solidFill>
            </a:endParaRPr>
          </a:p>
          <a:p>
            <a:r>
              <a:rPr lang="en-US" sz="2000" dirty="0" smtClean="0">
                <a:solidFill>
                  <a:srgbClr val="4D4D4D"/>
                </a:solidFill>
              </a:rPr>
              <a:t>April 12, 2013</a:t>
            </a:r>
          </a:p>
          <a:p>
            <a:endParaRPr lang="en-US" sz="2000" dirty="0" smtClean="0">
              <a:solidFill>
                <a:srgbClr val="4D4D4D"/>
              </a:solidFill>
            </a:endParaRPr>
          </a:p>
          <a:p>
            <a:r>
              <a:rPr lang="it-IT" sz="2000" dirty="0" smtClean="0">
                <a:solidFill>
                  <a:srgbClr val="4D4D4D"/>
                </a:solidFill>
              </a:rPr>
              <a:t>Biennale Piccola Industria Confindustria 2013</a:t>
            </a:r>
          </a:p>
          <a:p>
            <a:endParaRPr lang="en-US" sz="2000" dirty="0" smtClean="0">
              <a:solidFill>
                <a:srgbClr val="4D4D4D"/>
              </a:solidFill>
            </a:endParaRPr>
          </a:p>
          <a:p>
            <a:endParaRPr lang="en-US" sz="2000" dirty="0" smtClean="0">
              <a:solidFill>
                <a:srgbClr val="4D4D4D"/>
              </a:solidFill>
            </a:endParaRPr>
          </a:p>
          <a:p>
            <a:endParaRPr lang="en-US" sz="2000" dirty="0" smtClean="0">
              <a:solidFill>
                <a:srgbClr val="4D4D4D"/>
              </a:solidFill>
            </a:endParaRPr>
          </a:p>
          <a:p>
            <a:endParaRPr lang="en-US" sz="2000" dirty="0" smtClean="0">
              <a:solidFill>
                <a:srgbClr val="4D4D4D"/>
              </a:solidFill>
            </a:endParaRPr>
          </a:p>
          <a:p>
            <a:endParaRPr lang="en-US" sz="2000" dirty="0" smtClean="0">
              <a:solidFill>
                <a:srgbClr val="4D4D4D"/>
              </a:solidFill>
            </a:endParaRPr>
          </a:p>
          <a:p>
            <a:endParaRPr lang="en-US" sz="2000" dirty="0" smtClean="0">
              <a:solidFill>
                <a:srgbClr val="4D4D4D"/>
              </a:solidFill>
            </a:endParaRPr>
          </a:p>
          <a:p>
            <a:endParaRPr lang="en-US" sz="2000" dirty="0" smtClean="0">
              <a:solidFill>
                <a:srgbClr val="4D4D4D"/>
              </a:solidFill>
            </a:endParaRPr>
          </a:p>
          <a:p>
            <a:endParaRPr lang="en-US" sz="2000" dirty="0">
              <a:solidFill>
                <a:srgbClr val="4D4D4D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267" name="Picture 3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screen"/>
          <a:srcRect l="31250" t="6364" r="31611" b="12353"/>
          <a:stretch>
            <a:fillRect/>
          </a:stretch>
        </p:blipFill>
        <p:spPr bwMode="auto">
          <a:xfrm>
            <a:off x="6464192" y="537882"/>
            <a:ext cx="2940791" cy="3899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8" name="Object 137" hidden="1"/>
          <p:cNvGraphicFramePr>
            <a:graphicFrameLocks noChangeAspect="1"/>
          </p:cNvGraphicFramePr>
          <p:nvPr/>
        </p:nvGraphicFramePr>
        <p:xfrm>
          <a:off x="0" y="0"/>
          <a:ext cx="163763" cy="158750"/>
        </p:xfrm>
        <a:graphic>
          <a:graphicData uri="http://schemas.openxmlformats.org/presentationml/2006/ole">
            <p:oleObj spid="_x0000_s57347" name="think-cell Slide" r:id="rId40" imgW="360" imgH="360" progId="TCLayout.ActiveDocument.1">
              <p:embed/>
            </p:oleObj>
          </a:graphicData>
        </a:graphic>
      </p:graphicFrame>
      <p:sp>
        <p:nvSpPr>
          <p:cNvPr id="114" name="Rectangle 11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63763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en-US" dirty="0" smtClean="0"/>
              <a:t>US projected to maintain significant productivity advantages versus other manufacturing countries</a:t>
            </a:r>
            <a:endParaRPr lang="en-US" dirty="0"/>
          </a:p>
        </p:txBody>
      </p:sp>
      <p:sp>
        <p:nvSpPr>
          <p:cNvPr id="63" name="BCG_FootNote_Box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66725" y="6296026"/>
            <a:ext cx="8959451" cy="3286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>
              <a:lnSpc>
                <a:spcPct val="90000"/>
              </a:lnSpc>
            </a:pPr>
            <a:r>
              <a:rPr lang="en-US" sz="800" dirty="0" smtClean="0">
                <a:solidFill>
                  <a:srgbClr val="000000"/>
                </a:solidFill>
              </a:rPr>
              <a:t>Source</a:t>
            </a:r>
            <a:r>
              <a:rPr lang="en-US" sz="800" dirty="0">
                <a:solidFill>
                  <a:srgbClr val="000000"/>
                </a:solidFill>
              </a:rPr>
              <a:t>: </a:t>
            </a:r>
            <a:r>
              <a:rPr lang="en-US" sz="800" dirty="0" err="1" smtClean="0">
                <a:solidFill>
                  <a:srgbClr val="000000"/>
                </a:solidFill>
              </a:rPr>
              <a:t>EIU</a:t>
            </a:r>
            <a:r>
              <a:rPr lang="en-US" sz="800" dirty="0" smtClean="0">
                <a:solidFill>
                  <a:srgbClr val="000000"/>
                </a:solidFill>
              </a:rPr>
              <a:t>; </a:t>
            </a:r>
            <a:r>
              <a:rPr lang="en-US" sz="800" dirty="0" err="1" smtClean="0">
                <a:solidFill>
                  <a:srgbClr val="000000"/>
                </a:solidFill>
              </a:rPr>
              <a:t>BLS</a:t>
            </a:r>
            <a:r>
              <a:rPr lang="en-US" sz="800" dirty="0" smtClean="0">
                <a:solidFill>
                  <a:srgbClr val="000000"/>
                </a:solidFill>
              </a:rPr>
              <a:t>; </a:t>
            </a:r>
            <a:r>
              <a:rPr lang="en-US" sz="800" dirty="0" err="1" smtClean="0">
                <a:solidFill>
                  <a:srgbClr val="000000"/>
                </a:solidFill>
              </a:rPr>
              <a:t>ILO</a:t>
            </a:r>
            <a:r>
              <a:rPr lang="en-US" sz="800" dirty="0" smtClean="0">
                <a:solidFill>
                  <a:srgbClr val="000000"/>
                </a:solidFill>
              </a:rPr>
              <a:t>; </a:t>
            </a:r>
            <a:r>
              <a:rPr lang="en-US" sz="800" dirty="0">
                <a:solidFill>
                  <a:srgbClr val="000000"/>
                </a:solidFill>
              </a:rPr>
              <a:t>BCG analysis</a:t>
            </a:r>
          </a:p>
        </p:txBody>
      </p:sp>
      <p:sp>
        <p:nvSpPr>
          <p:cNvPr id="64" name="Rectangle 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110162" y="2334010"/>
            <a:ext cx="1036729" cy="33299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91440" rIns="0" bIns="55450" anchor="b">
            <a:spAutoFit/>
          </a:bodyPr>
          <a:lstStyle/>
          <a:p>
            <a:pPr algn="ctr">
              <a:defRPr/>
            </a:pPr>
            <a:r>
              <a:rPr lang="en-US" sz="1200" b="1" dirty="0" smtClean="0"/>
              <a:t>2000–2010</a:t>
            </a:r>
            <a:endParaRPr lang="en-US" sz="1200" b="1" dirty="0"/>
          </a:p>
        </p:txBody>
      </p:sp>
      <p:sp>
        <p:nvSpPr>
          <p:cNvPr id="65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8278143" y="2744787"/>
            <a:ext cx="697629" cy="355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/>
          <a:lstStyle/>
          <a:p>
            <a:pPr algn="ctr">
              <a:buClr>
                <a:schemeClr val="tx2"/>
              </a:buClr>
            </a:pPr>
            <a:r>
              <a:rPr lang="en-US" sz="1200" dirty="0" smtClean="0"/>
              <a:t>1.9%</a:t>
            </a:r>
            <a:endParaRPr lang="en-US" sz="1200" dirty="0"/>
          </a:p>
        </p:txBody>
      </p:sp>
      <p:sp>
        <p:nvSpPr>
          <p:cNvPr id="68" name="Rectangle 4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097242" y="1803400"/>
            <a:ext cx="1062571" cy="55399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>
              <a:defRPr/>
            </a:pPr>
            <a:r>
              <a:rPr lang="en-US" sz="1200" b="1" dirty="0" smtClean="0"/>
              <a:t>Historical CAGR</a:t>
            </a:r>
            <a:endParaRPr lang="en-US" sz="1200" b="1" dirty="0"/>
          </a:p>
        </p:txBody>
      </p:sp>
      <p:sp>
        <p:nvSpPr>
          <p:cNvPr id="69" name="TextBox 266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444157" y="1635125"/>
            <a:ext cx="4316782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0000" bIns="90000">
            <a:spAutoFit/>
          </a:bodyPr>
          <a:lstStyle/>
          <a:p>
            <a:pPr algn="ctr"/>
            <a:r>
              <a:rPr lang="en-US" sz="1400" b="1" dirty="0"/>
              <a:t>Manufacturing productivity per worker</a:t>
            </a:r>
          </a:p>
        </p:txBody>
      </p:sp>
      <p:sp>
        <p:nvSpPr>
          <p:cNvPr id="91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278143" y="4743450"/>
            <a:ext cx="697629" cy="355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/>
          <a:lstStyle/>
          <a:p>
            <a:pPr algn="ctr">
              <a:buClr>
                <a:schemeClr val="tx2"/>
              </a:buClr>
            </a:pPr>
            <a:r>
              <a:rPr lang="en-US" sz="1200" dirty="0" smtClean="0"/>
              <a:t>9.6%</a:t>
            </a:r>
            <a:endParaRPr lang="en-US" sz="1200" dirty="0"/>
          </a:p>
        </p:txBody>
      </p:sp>
      <p:sp>
        <p:nvSpPr>
          <p:cNvPr id="96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278143" y="3313112"/>
            <a:ext cx="697629" cy="355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/>
          <a:lstStyle/>
          <a:p>
            <a:pPr algn="ctr">
              <a:buClr>
                <a:schemeClr val="tx2"/>
              </a:buClr>
            </a:pPr>
            <a:r>
              <a:rPr lang="en-US" sz="1200" dirty="0" smtClean="0"/>
              <a:t>1.6%</a:t>
            </a:r>
            <a:endParaRPr lang="en-US" sz="1200" dirty="0"/>
          </a:p>
        </p:txBody>
      </p:sp>
      <p:graphicFrame>
        <p:nvGraphicFramePr>
          <p:cNvPr id="133" name="Object 132"/>
          <p:cNvGraphicFramePr>
            <a:graphicFrameLocks noChangeAspect="1"/>
          </p:cNvGraphicFramePr>
          <p:nvPr/>
        </p:nvGraphicFramePr>
        <p:xfrm>
          <a:off x="955675" y="2413001"/>
          <a:ext cx="6610472" cy="3447999"/>
        </p:xfrm>
        <a:graphic>
          <a:graphicData uri="http://schemas.openxmlformats.org/presentationml/2006/ole">
            <p:oleObj spid="_x0000_s57346" name="Chart" r:id="rId41" imgW="6610472" imgH="3447999" progId="MSGraph.Chart.8">
              <p:embed followColorScheme="full"/>
            </p:oleObj>
          </a:graphicData>
        </a:graphic>
      </p:graphicFrame>
      <p:sp>
        <p:nvSpPr>
          <p:cNvPr id="176" name="Text Placeholder 174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03250" y="4032250"/>
            <a:ext cx="384175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E9340F9-0CC7-4252-B8A5-EFD8667C5FCF}" type="datetime'''''''''''''''''''''6''''0'''''''''''',''''000'''''''''''''">
              <a:rPr lang="en-US" sz="10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60,000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174" name="Text Placeholder 17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03250" y="4565650"/>
            <a:ext cx="384175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2F2D0B8-1AA5-434F-A845-EE843C571700}" type="datetime'''''''''''''''4''''0,''''''''0''''''''00'''''''''''''''''''">
              <a:rPr lang="en-US" sz="10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40,000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216" name="Text Placeholder 214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321550" y="5826125"/>
            <a:ext cx="2794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9EAD237-7DC6-49AB-A62C-97FADDFED649}" type="datetime'2''''''''''0''''''''''''''''''1''''''''''0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14" name="Text Placeholder 210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683375" y="5826125"/>
            <a:ext cx="2794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9144F32-8C3A-409F-9818-6501026E7BC5}" type="datetime'''''''''''''''''''''2''''''0''''''''''''''''''''''''''09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9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10" name="Text Placeholder 208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045200" y="5826125"/>
            <a:ext cx="2794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C4B7EAB-9F59-4862-A94B-169576357BC4}" type="datetime'''''''''''2''''''''''0''''''''''''''''''''''''0''''''''''8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8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07" name="Text Placeholder 204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407025" y="5826125"/>
            <a:ext cx="2794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3107F47-0B4E-40E1-B62F-8E5EF529C913}" type="datetime'''''2''''''''''''''0''''''''''''''''''''07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7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78" name="Text Placeholder 176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03250" y="3498850"/>
            <a:ext cx="384175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A1C6ABA-3082-44DF-9EE0-B0271513B65F}" type="datetime'''''''''''''''''''''''''''''''8''''0'''',0''''0''''''''0'">
              <a:rPr lang="en-US" sz="10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80,000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180" name="Text Placeholder 178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33400" y="2965450"/>
            <a:ext cx="454025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5B3A1D3-34E9-4851-9ADF-A30CF0EC8764}" type="datetime'''''''''10''''''0'''',''''00''''''''''0'''''''''''''''''''''">
              <a:rPr lang="en-US" sz="10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100,000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212" name="Text Placeholder 210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33400" y="2432050"/>
            <a:ext cx="454025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E778D34-2EF7-4FAD-B3BA-86F2C1E0CE1A}" type="datetime'''1''''''20'''''''''''''''''''''''',''''00''''''''0'''''''''''">
              <a:rPr lang="en-US" sz="10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120,000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118" name="Text Placeholder 116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33400" y="2185987"/>
            <a:ext cx="1966912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0" dirty="0" smtClean="0">
                <a:latin typeface="Arial"/>
                <a:sym typeface="Arial"/>
              </a:rPr>
              <a:t>Real productivity (2010 USD)</a:t>
            </a:r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203" name="Text Placeholder 200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768850" y="5826125"/>
            <a:ext cx="2794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AFCD85E-1746-445C-A826-9D0F43502F9D}" type="datetime'''''''''''''''''2''''''''0''''''''''0''''''''''''6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6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72" name="Text Placeholder 170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03250" y="5099050"/>
            <a:ext cx="384175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CD4056C-71C0-441C-9AD9-1277F7C2649E}" type="datetime'''''20'''''',''''0''''''''0''''''''''''''''''''0'''''">
              <a:rPr lang="en-US" sz="10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20,000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126" name="Text Placeholder 124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17575" y="5632450"/>
            <a:ext cx="6985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3A36367-489C-4520-B0B5-7F5C950D64FF}" type="datetime'''''''''''''''''''''''''''''''0'">
              <a:rPr lang="en-US" sz="10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199" name="Text Placeholder 196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4140200" y="5826125"/>
            <a:ext cx="2794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95CFC33-71D0-47D3-AF38-FA395B087B67}" type="datetime'''''''''''''''''''''2''''''''''''''0''05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5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06" name="Text Placeholder 204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588250" y="3387725"/>
            <a:ext cx="625475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5C46842-0C57-47F0-AE29-C01E947C507B}" type="datetime'''''G''''''''''e''''''''''r''''m''a''''''''''n''y'">
              <a:rPr lang="en-US" sz="1200" b="0" smtClean="0"/>
              <a:pPr>
                <a:spcBef>
                  <a:spcPct val="0"/>
                </a:spcBef>
                <a:spcAft>
                  <a:spcPct val="0"/>
                </a:spcAft>
              </a:pPr>
              <a:t>Germany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137" name="Text Placeholder 135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588250" y="3619500"/>
            <a:ext cx="412750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3900240-A5D3-4269-B219-AB42678F93FA}" type="datetime'J''''a''''''''p''a''''''''''''n'''''">
              <a:rPr lang="en-US" sz="1200" b="0" smtClean="0"/>
              <a:pPr>
                <a:spcBef>
                  <a:spcPct val="0"/>
                </a:spcBef>
                <a:spcAft>
                  <a:spcPct val="0"/>
                </a:spcAft>
              </a:pPr>
              <a:t>Japan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135" name="Text Placeholder 133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588250" y="2855912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D4A5F31-0792-460A-9E34-41305622FCD4}" type="datetime'''U''''''''''''S''''''''''''''''''''''''''''A'''''''''''''''">
              <a:rPr lang="en-US" sz="1200" b="0" smtClean="0"/>
              <a:pPr>
                <a:spcBef>
                  <a:spcPct val="0"/>
                </a:spcBef>
                <a:spcAft>
                  <a:spcPct val="0"/>
                </a:spcAft>
              </a:pPr>
              <a:t>USA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208" name="Text Placeholder 206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588250" y="4837112"/>
            <a:ext cx="395287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EF9F757-736C-4BAF-8E90-E5E86728CE9D}" type="datetime'''''''''''''Ch''''''''i''''''''''''n''''''''''''''''''''a'">
              <a:rPr lang="en-US" sz="1200" b="0" smtClean="0"/>
              <a:pPr>
                <a:spcBef>
                  <a:spcPct val="0"/>
                </a:spcBef>
                <a:spcAft>
                  <a:spcPct val="0"/>
                </a:spcAft>
              </a:pPr>
              <a:t>China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191" name="Text Placeholder 188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863850" y="5826125"/>
            <a:ext cx="2794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54B2B49-24A5-42A2-8B67-795B270834ED}" type="datetime'''''''''''''''2''''''''''00''''''''''''''''''''''''''3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3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87" name="Text Placeholder 184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225675" y="5826125"/>
            <a:ext cx="2794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AD3DDC3-3F6C-453F-B9B5-EC4CB7510E4D}" type="datetime'''''''''''''''''2''''''0''0''''''''''''''''''''2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2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83" name="Text Placeholder 181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587500" y="5826125"/>
            <a:ext cx="2794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9CE7949-11AA-4816-A9AF-ABCB15917F60}" type="datetime'''2''''''0''''''''''''0''1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1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81" name="Text Placeholder 178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949325" y="5826125"/>
            <a:ext cx="2794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3330FEE-1F6B-4230-B4B8-96BAE92EE55A}" type="datetime'''''''''''2''''''0''''''''''''''''''''''''''0''''''0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0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95" name="Text Placeholder 19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502025" y="5826125"/>
            <a:ext cx="2794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921F771-BCF9-429A-8181-2A456E31886E}" type="datetime'''''''''''''2''''''''''''0''''''''''''''''0''''''''''''''4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4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13" name="Rectangle 3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8291244" y="3549650"/>
            <a:ext cx="697629" cy="355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/>
          <a:lstStyle/>
          <a:p>
            <a:pPr algn="ctr">
              <a:buClr>
                <a:schemeClr val="tx2"/>
              </a:buClr>
            </a:pPr>
            <a:r>
              <a:rPr lang="en-US" sz="1200" dirty="0" smtClean="0"/>
              <a:t>2.3%</a:t>
            </a:r>
            <a:endParaRPr lang="en-US" sz="1200" dirty="0"/>
          </a:p>
        </p:txBody>
      </p:sp>
      <p:sp>
        <p:nvSpPr>
          <p:cNvPr id="47" name="Rounded Rectangular Callout 46"/>
          <p:cNvSpPr/>
          <p:nvPr>
            <p:custDataLst>
              <p:tags r:id="rId35"/>
            </p:custDataLst>
          </p:nvPr>
        </p:nvSpPr>
        <p:spPr bwMode="gray">
          <a:xfrm>
            <a:off x="6590026" y="3140279"/>
            <a:ext cx="578988" cy="292608"/>
          </a:xfrm>
          <a:prstGeom prst="wedgeRoundRectCallout">
            <a:avLst>
              <a:gd name="adj1" fmla="val -39239"/>
              <a:gd name="adj2" fmla="val 2462"/>
              <a:gd name="adj3" fmla="val 16667"/>
            </a:avLst>
          </a:prstGeom>
          <a:solidFill>
            <a:schemeClr val="bg1"/>
          </a:solidFill>
          <a:ln w="1587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0000" rIns="0" bIns="90000" rtlCol="0" anchor="ctr" anchorCtr="0"/>
          <a:lstStyle/>
          <a:p>
            <a:pPr algn="ctr"/>
            <a:r>
              <a:rPr lang="en-US" sz="1400" b="1" dirty="0" smtClean="0">
                <a:solidFill>
                  <a:srgbClr val="C41300"/>
                </a:solidFill>
              </a:rPr>
              <a:t>33%</a:t>
            </a:r>
          </a:p>
        </p:txBody>
      </p:sp>
      <p:sp>
        <p:nvSpPr>
          <p:cNvPr id="48" name="Rounded Rectangular Callout 47"/>
          <p:cNvSpPr/>
          <p:nvPr>
            <p:custDataLst>
              <p:tags r:id="rId36"/>
            </p:custDataLst>
          </p:nvPr>
        </p:nvSpPr>
        <p:spPr bwMode="gray">
          <a:xfrm>
            <a:off x="7541231" y="3081556"/>
            <a:ext cx="578988" cy="292608"/>
          </a:xfrm>
          <a:prstGeom prst="wedgeRoundRectCallout">
            <a:avLst>
              <a:gd name="adj1" fmla="val -39239"/>
              <a:gd name="adj2" fmla="val 2462"/>
              <a:gd name="adj3" fmla="val 16667"/>
            </a:avLst>
          </a:prstGeom>
          <a:solidFill>
            <a:schemeClr val="bg1"/>
          </a:solidFill>
          <a:ln w="1587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0000" rIns="0" bIns="90000" rtlCol="0" anchor="ctr" anchorCtr="0"/>
          <a:lstStyle/>
          <a:p>
            <a:pPr algn="ctr"/>
            <a:r>
              <a:rPr lang="en-US" sz="1400" b="1" dirty="0" smtClean="0">
                <a:solidFill>
                  <a:srgbClr val="C41300"/>
                </a:solidFill>
              </a:rPr>
              <a:t>25%</a:t>
            </a:r>
          </a:p>
        </p:txBody>
      </p:sp>
      <p:cxnSp>
        <p:nvCxnSpPr>
          <p:cNvPr id="129" name="Straight Arrow Connector 128"/>
          <p:cNvCxnSpPr/>
          <p:nvPr>
            <p:custDataLst>
              <p:tags r:id="rId37"/>
            </p:custDataLst>
          </p:nvPr>
        </p:nvCxnSpPr>
        <p:spPr bwMode="gray">
          <a:xfrm flipV="1">
            <a:off x="7262143" y="2971800"/>
            <a:ext cx="0" cy="775570"/>
          </a:xfrm>
          <a:prstGeom prst="straightConnector1">
            <a:avLst/>
          </a:prstGeom>
          <a:ln>
            <a:solidFill>
              <a:srgbClr val="C413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/>
          <p:cNvCxnSpPr/>
          <p:nvPr>
            <p:custDataLst>
              <p:tags r:id="rId38"/>
            </p:custDataLst>
          </p:nvPr>
        </p:nvCxnSpPr>
        <p:spPr bwMode="gray">
          <a:xfrm flipV="1">
            <a:off x="7438815" y="2971802"/>
            <a:ext cx="0" cy="533399"/>
          </a:xfrm>
          <a:prstGeom prst="straightConnector1">
            <a:avLst/>
          </a:prstGeom>
          <a:ln>
            <a:solidFill>
              <a:srgbClr val="C413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/>
        </p:nvGraphicFramePr>
        <p:xfrm>
          <a:off x="1639" y="1589"/>
          <a:ext cx="1637" cy="1587"/>
        </p:xfrm>
        <a:graphic>
          <a:graphicData uri="http://schemas.openxmlformats.org/presentationml/2006/ole">
            <p:oleObj spid="_x0000_s58370" name="think-cell Slide" r:id="rId4" imgW="360" imgH="360" progId="TCLayout.ActiveDocument.1">
              <p:embed/>
            </p:oleObj>
          </a:graphicData>
        </a:graphic>
      </p:graphicFrame>
      <p:pic>
        <p:nvPicPr>
          <p:cNvPr id="218118" name="Picture 6" descr="http://blog.mlive.com/grpress/business_impact/2009/01/Unemploy-453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244594" y="1552575"/>
            <a:ext cx="7087647" cy="4534967"/>
          </a:xfrm>
          <a:prstGeom prst="rect">
            <a:avLst/>
          </a:prstGeom>
          <a:noFill/>
        </p:spPr>
      </p:pic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/>
        </p:nvGraphicFramePr>
        <p:xfrm>
          <a:off x="0" y="0"/>
          <a:ext cx="163763" cy="158750"/>
        </p:xfrm>
        <a:graphic>
          <a:graphicData uri="http://schemas.openxmlformats.org/presentationml/2006/ole">
            <p:oleObj spid="_x0000_s125954" name="think-cell Slide" r:id="rId35" imgW="360" imgH="360" progId="TCLayout.ActiveDocument.1">
              <p:embed/>
            </p:oleObj>
          </a:graphicData>
        </a:graphic>
      </p:graphicFrame>
      <p:grpSp>
        <p:nvGrpSpPr>
          <p:cNvPr id="38" name="Group 37"/>
          <p:cNvGrpSpPr/>
          <p:nvPr/>
        </p:nvGrpSpPr>
        <p:grpSpPr>
          <a:xfrm>
            <a:off x="466725" y="1314995"/>
            <a:ext cx="9001125" cy="5179821"/>
            <a:chOff x="466725" y="1314995"/>
            <a:chExt cx="9001125" cy="5179821"/>
          </a:xfrm>
        </p:grpSpPr>
        <p:grpSp>
          <p:nvGrpSpPr>
            <p:cNvPr id="2" name="Group 79"/>
            <p:cNvGrpSpPr/>
            <p:nvPr/>
          </p:nvGrpSpPr>
          <p:grpSpPr bwMode="gray">
            <a:xfrm>
              <a:off x="1324892" y="1454503"/>
              <a:ext cx="6729005" cy="5040313"/>
              <a:chOff x="642938" y="1073150"/>
              <a:chExt cx="6523037" cy="504031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8" name="Freeform 4"/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5881688" y="1073150"/>
                <a:ext cx="1284287" cy="1176338"/>
              </a:xfrm>
              <a:custGeom>
                <a:avLst/>
                <a:gdLst>
                  <a:gd name="T0" fmla="*/ 2147483647 w 785"/>
                  <a:gd name="T1" fmla="*/ 2147483647 h 749"/>
                  <a:gd name="T2" fmla="*/ 2147483647 w 785"/>
                  <a:gd name="T3" fmla="*/ 2147483647 h 749"/>
                  <a:gd name="T4" fmla="*/ 2147483647 w 785"/>
                  <a:gd name="T5" fmla="*/ 2147483647 h 749"/>
                  <a:gd name="T6" fmla="*/ 2147483647 w 785"/>
                  <a:gd name="T7" fmla="*/ 0 h 749"/>
                  <a:gd name="T8" fmla="*/ 2147483647 w 785"/>
                  <a:gd name="T9" fmla="*/ 2147483647 h 749"/>
                  <a:gd name="T10" fmla="*/ 2147483647 w 785"/>
                  <a:gd name="T11" fmla="*/ 2147483647 h 749"/>
                  <a:gd name="T12" fmla="*/ 2147483647 w 785"/>
                  <a:gd name="T13" fmla="*/ 2147483647 h 749"/>
                  <a:gd name="T14" fmla="*/ 2147483647 w 785"/>
                  <a:gd name="T15" fmla="*/ 2147483647 h 749"/>
                  <a:gd name="T16" fmla="*/ 2147483647 w 785"/>
                  <a:gd name="T17" fmla="*/ 2147483647 h 749"/>
                  <a:gd name="T18" fmla="*/ 2147483647 w 785"/>
                  <a:gd name="T19" fmla="*/ 2147483647 h 749"/>
                  <a:gd name="T20" fmla="*/ 2147483647 w 785"/>
                  <a:gd name="T21" fmla="*/ 2147483647 h 749"/>
                  <a:gd name="T22" fmla="*/ 2147483647 w 785"/>
                  <a:gd name="T23" fmla="*/ 2147483647 h 749"/>
                  <a:gd name="T24" fmla="*/ 2147483647 w 785"/>
                  <a:gd name="T25" fmla="*/ 2147483647 h 749"/>
                  <a:gd name="T26" fmla="*/ 2147483647 w 785"/>
                  <a:gd name="T27" fmla="*/ 2147483647 h 749"/>
                  <a:gd name="T28" fmla="*/ 2147483647 w 785"/>
                  <a:gd name="T29" fmla="*/ 2147483647 h 749"/>
                  <a:gd name="T30" fmla="*/ 2147483647 w 785"/>
                  <a:gd name="T31" fmla="*/ 2147483647 h 749"/>
                  <a:gd name="T32" fmla="*/ 2147483647 w 785"/>
                  <a:gd name="T33" fmla="*/ 2147483647 h 749"/>
                  <a:gd name="T34" fmla="*/ 2147483647 w 785"/>
                  <a:gd name="T35" fmla="*/ 2147483647 h 749"/>
                  <a:gd name="T36" fmla="*/ 2147483647 w 785"/>
                  <a:gd name="T37" fmla="*/ 2147483647 h 749"/>
                  <a:gd name="T38" fmla="*/ 2147483647 w 785"/>
                  <a:gd name="T39" fmla="*/ 2147483647 h 749"/>
                  <a:gd name="T40" fmla="*/ 2147483647 w 785"/>
                  <a:gd name="T41" fmla="*/ 2147483647 h 749"/>
                  <a:gd name="T42" fmla="*/ 2147483647 w 785"/>
                  <a:gd name="T43" fmla="*/ 2147483647 h 749"/>
                  <a:gd name="T44" fmla="*/ 2147483647 w 785"/>
                  <a:gd name="T45" fmla="*/ 2147483647 h 749"/>
                  <a:gd name="T46" fmla="*/ 2147483647 w 785"/>
                  <a:gd name="T47" fmla="*/ 2147483647 h 749"/>
                  <a:gd name="T48" fmla="*/ 2147483647 w 785"/>
                  <a:gd name="T49" fmla="*/ 2147483647 h 749"/>
                  <a:gd name="T50" fmla="*/ 2147483647 w 785"/>
                  <a:gd name="T51" fmla="*/ 2147483647 h 749"/>
                  <a:gd name="T52" fmla="*/ 2147483647 w 785"/>
                  <a:gd name="T53" fmla="*/ 2147483647 h 749"/>
                  <a:gd name="T54" fmla="*/ 2147483647 w 785"/>
                  <a:gd name="T55" fmla="*/ 2147483647 h 749"/>
                  <a:gd name="T56" fmla="*/ 2147483647 w 785"/>
                  <a:gd name="T57" fmla="*/ 2147483647 h 749"/>
                  <a:gd name="T58" fmla="*/ 2147483647 w 785"/>
                  <a:gd name="T59" fmla="*/ 2147483647 h 749"/>
                  <a:gd name="T60" fmla="*/ 2147483647 w 785"/>
                  <a:gd name="T61" fmla="*/ 2147483647 h 749"/>
                  <a:gd name="T62" fmla="*/ 2147483647 w 785"/>
                  <a:gd name="T63" fmla="*/ 2147483647 h 749"/>
                  <a:gd name="T64" fmla="*/ 2147483647 w 785"/>
                  <a:gd name="T65" fmla="*/ 2147483647 h 749"/>
                  <a:gd name="T66" fmla="*/ 2147483647 w 785"/>
                  <a:gd name="T67" fmla="*/ 2147483647 h 749"/>
                  <a:gd name="T68" fmla="*/ 2147483647 w 785"/>
                  <a:gd name="T69" fmla="*/ 2147483647 h 749"/>
                  <a:gd name="T70" fmla="*/ 2147483647 w 785"/>
                  <a:gd name="T71" fmla="*/ 2147483647 h 749"/>
                  <a:gd name="T72" fmla="*/ 2147483647 w 785"/>
                  <a:gd name="T73" fmla="*/ 2147483647 h 749"/>
                  <a:gd name="T74" fmla="*/ 2147483647 w 785"/>
                  <a:gd name="T75" fmla="*/ 2147483647 h 749"/>
                  <a:gd name="T76" fmla="*/ 2147483647 w 785"/>
                  <a:gd name="T77" fmla="*/ 2147483647 h 749"/>
                  <a:gd name="T78" fmla="*/ 2147483647 w 785"/>
                  <a:gd name="T79" fmla="*/ 2147483647 h 749"/>
                  <a:gd name="T80" fmla="*/ 2147483647 w 785"/>
                  <a:gd name="T81" fmla="*/ 2147483647 h 749"/>
                  <a:gd name="T82" fmla="*/ 2147483647 w 785"/>
                  <a:gd name="T83" fmla="*/ 2147483647 h 749"/>
                  <a:gd name="T84" fmla="*/ 2147483647 w 785"/>
                  <a:gd name="T85" fmla="*/ 2147483647 h 749"/>
                  <a:gd name="T86" fmla="*/ 2147483647 w 785"/>
                  <a:gd name="T87" fmla="*/ 2147483647 h 749"/>
                  <a:gd name="T88" fmla="*/ 2147483647 w 785"/>
                  <a:gd name="T89" fmla="*/ 2147483647 h 749"/>
                  <a:gd name="T90" fmla="*/ 2147483647 w 785"/>
                  <a:gd name="T91" fmla="*/ 2147483647 h 749"/>
                  <a:gd name="T92" fmla="*/ 2147483647 w 785"/>
                  <a:gd name="T93" fmla="*/ 2147483647 h 749"/>
                  <a:gd name="T94" fmla="*/ 2147483647 w 785"/>
                  <a:gd name="T95" fmla="*/ 2147483647 h 749"/>
                  <a:gd name="T96" fmla="*/ 2147483647 w 785"/>
                  <a:gd name="T97" fmla="*/ 2147483647 h 749"/>
                  <a:gd name="T98" fmla="*/ 2147483647 w 785"/>
                  <a:gd name="T99" fmla="*/ 2147483647 h 749"/>
                  <a:gd name="T100" fmla="*/ 2147483647 w 785"/>
                  <a:gd name="T101" fmla="*/ 2147483647 h 749"/>
                  <a:gd name="T102" fmla="*/ 2147483647 w 785"/>
                  <a:gd name="T103" fmla="*/ 2147483647 h 749"/>
                  <a:gd name="T104" fmla="*/ 2147483647 w 785"/>
                  <a:gd name="T105" fmla="*/ 2147483647 h 749"/>
                  <a:gd name="T106" fmla="*/ 2147483647 w 785"/>
                  <a:gd name="T107" fmla="*/ 2147483647 h 749"/>
                  <a:gd name="T108" fmla="*/ 2147483647 w 785"/>
                  <a:gd name="T109" fmla="*/ 2147483647 h 749"/>
                  <a:gd name="T110" fmla="*/ 2147483647 w 785"/>
                  <a:gd name="T111" fmla="*/ 2147483647 h 749"/>
                  <a:gd name="T112" fmla="*/ 0 w 785"/>
                  <a:gd name="T113" fmla="*/ 2147483647 h 74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85"/>
                  <a:gd name="T172" fmla="*/ 0 h 749"/>
                  <a:gd name="T173" fmla="*/ 785 w 785"/>
                  <a:gd name="T174" fmla="*/ 749 h 74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85" h="749">
                    <a:moveTo>
                      <a:pt x="0" y="74"/>
                    </a:moveTo>
                    <a:lnTo>
                      <a:pt x="34" y="42"/>
                    </a:lnTo>
                    <a:lnTo>
                      <a:pt x="54" y="24"/>
                    </a:lnTo>
                    <a:lnTo>
                      <a:pt x="80" y="22"/>
                    </a:lnTo>
                    <a:lnTo>
                      <a:pt x="88" y="32"/>
                    </a:lnTo>
                    <a:lnTo>
                      <a:pt x="136" y="36"/>
                    </a:lnTo>
                    <a:lnTo>
                      <a:pt x="152" y="4"/>
                    </a:lnTo>
                    <a:lnTo>
                      <a:pt x="168" y="0"/>
                    </a:lnTo>
                    <a:lnTo>
                      <a:pt x="174" y="20"/>
                    </a:lnTo>
                    <a:lnTo>
                      <a:pt x="190" y="52"/>
                    </a:lnTo>
                    <a:lnTo>
                      <a:pt x="190" y="62"/>
                    </a:lnTo>
                    <a:lnTo>
                      <a:pt x="226" y="94"/>
                    </a:lnTo>
                    <a:lnTo>
                      <a:pt x="246" y="116"/>
                    </a:lnTo>
                    <a:lnTo>
                      <a:pt x="260" y="146"/>
                    </a:lnTo>
                    <a:lnTo>
                      <a:pt x="270" y="164"/>
                    </a:lnTo>
                    <a:lnTo>
                      <a:pt x="276" y="192"/>
                    </a:lnTo>
                    <a:lnTo>
                      <a:pt x="318" y="224"/>
                    </a:lnTo>
                    <a:lnTo>
                      <a:pt x="344" y="242"/>
                    </a:lnTo>
                    <a:lnTo>
                      <a:pt x="392" y="234"/>
                    </a:lnTo>
                    <a:lnTo>
                      <a:pt x="428" y="232"/>
                    </a:lnTo>
                    <a:lnTo>
                      <a:pt x="436" y="244"/>
                    </a:lnTo>
                    <a:lnTo>
                      <a:pt x="474" y="244"/>
                    </a:lnTo>
                    <a:lnTo>
                      <a:pt x="486" y="264"/>
                    </a:lnTo>
                    <a:lnTo>
                      <a:pt x="490" y="282"/>
                    </a:lnTo>
                    <a:lnTo>
                      <a:pt x="516" y="296"/>
                    </a:lnTo>
                    <a:lnTo>
                      <a:pt x="544" y="310"/>
                    </a:lnTo>
                    <a:lnTo>
                      <a:pt x="560" y="336"/>
                    </a:lnTo>
                    <a:lnTo>
                      <a:pt x="570" y="356"/>
                    </a:lnTo>
                    <a:lnTo>
                      <a:pt x="602" y="350"/>
                    </a:lnTo>
                    <a:lnTo>
                      <a:pt x="634" y="340"/>
                    </a:lnTo>
                    <a:lnTo>
                      <a:pt x="650" y="320"/>
                    </a:lnTo>
                    <a:lnTo>
                      <a:pt x="656" y="304"/>
                    </a:lnTo>
                    <a:lnTo>
                      <a:pt x="664" y="296"/>
                    </a:lnTo>
                    <a:lnTo>
                      <a:pt x="682" y="290"/>
                    </a:lnTo>
                    <a:lnTo>
                      <a:pt x="700" y="276"/>
                    </a:lnTo>
                    <a:lnTo>
                      <a:pt x="724" y="246"/>
                    </a:lnTo>
                    <a:lnTo>
                      <a:pt x="754" y="238"/>
                    </a:lnTo>
                    <a:lnTo>
                      <a:pt x="766" y="256"/>
                    </a:lnTo>
                    <a:lnTo>
                      <a:pt x="770" y="284"/>
                    </a:lnTo>
                    <a:lnTo>
                      <a:pt x="768" y="324"/>
                    </a:lnTo>
                    <a:lnTo>
                      <a:pt x="772" y="348"/>
                    </a:lnTo>
                    <a:lnTo>
                      <a:pt x="780" y="362"/>
                    </a:lnTo>
                    <a:lnTo>
                      <a:pt x="778" y="416"/>
                    </a:lnTo>
                    <a:lnTo>
                      <a:pt x="784" y="436"/>
                    </a:lnTo>
                    <a:lnTo>
                      <a:pt x="770" y="460"/>
                    </a:lnTo>
                    <a:lnTo>
                      <a:pt x="774" y="492"/>
                    </a:lnTo>
                    <a:lnTo>
                      <a:pt x="772" y="532"/>
                    </a:lnTo>
                    <a:lnTo>
                      <a:pt x="752" y="554"/>
                    </a:lnTo>
                    <a:lnTo>
                      <a:pt x="710" y="558"/>
                    </a:lnTo>
                    <a:lnTo>
                      <a:pt x="678" y="564"/>
                    </a:lnTo>
                    <a:lnTo>
                      <a:pt x="662" y="582"/>
                    </a:lnTo>
                    <a:lnTo>
                      <a:pt x="652" y="598"/>
                    </a:lnTo>
                    <a:lnTo>
                      <a:pt x="672" y="620"/>
                    </a:lnTo>
                    <a:lnTo>
                      <a:pt x="680" y="648"/>
                    </a:lnTo>
                    <a:lnTo>
                      <a:pt x="680" y="674"/>
                    </a:lnTo>
                    <a:lnTo>
                      <a:pt x="694" y="696"/>
                    </a:lnTo>
                    <a:lnTo>
                      <a:pt x="696" y="744"/>
                    </a:lnTo>
                    <a:lnTo>
                      <a:pt x="680" y="736"/>
                    </a:lnTo>
                    <a:lnTo>
                      <a:pt x="650" y="722"/>
                    </a:lnTo>
                    <a:lnTo>
                      <a:pt x="636" y="700"/>
                    </a:lnTo>
                    <a:lnTo>
                      <a:pt x="614" y="704"/>
                    </a:lnTo>
                    <a:lnTo>
                      <a:pt x="604" y="730"/>
                    </a:lnTo>
                    <a:lnTo>
                      <a:pt x="578" y="732"/>
                    </a:lnTo>
                    <a:lnTo>
                      <a:pt x="566" y="744"/>
                    </a:lnTo>
                    <a:lnTo>
                      <a:pt x="536" y="748"/>
                    </a:lnTo>
                    <a:lnTo>
                      <a:pt x="508" y="716"/>
                    </a:lnTo>
                    <a:lnTo>
                      <a:pt x="506" y="686"/>
                    </a:lnTo>
                    <a:lnTo>
                      <a:pt x="478" y="702"/>
                    </a:lnTo>
                    <a:lnTo>
                      <a:pt x="448" y="712"/>
                    </a:lnTo>
                    <a:lnTo>
                      <a:pt x="438" y="688"/>
                    </a:lnTo>
                    <a:lnTo>
                      <a:pt x="408" y="686"/>
                    </a:lnTo>
                    <a:lnTo>
                      <a:pt x="390" y="652"/>
                    </a:lnTo>
                    <a:lnTo>
                      <a:pt x="364" y="646"/>
                    </a:lnTo>
                    <a:lnTo>
                      <a:pt x="342" y="650"/>
                    </a:lnTo>
                    <a:lnTo>
                      <a:pt x="320" y="648"/>
                    </a:lnTo>
                    <a:lnTo>
                      <a:pt x="306" y="634"/>
                    </a:lnTo>
                    <a:lnTo>
                      <a:pt x="280" y="636"/>
                    </a:lnTo>
                    <a:lnTo>
                      <a:pt x="276" y="648"/>
                    </a:lnTo>
                    <a:lnTo>
                      <a:pt x="226" y="650"/>
                    </a:lnTo>
                    <a:lnTo>
                      <a:pt x="208" y="634"/>
                    </a:lnTo>
                    <a:lnTo>
                      <a:pt x="172" y="606"/>
                    </a:lnTo>
                    <a:lnTo>
                      <a:pt x="132" y="592"/>
                    </a:lnTo>
                    <a:lnTo>
                      <a:pt x="130" y="552"/>
                    </a:lnTo>
                    <a:lnTo>
                      <a:pt x="100" y="540"/>
                    </a:lnTo>
                    <a:lnTo>
                      <a:pt x="74" y="514"/>
                    </a:lnTo>
                    <a:lnTo>
                      <a:pt x="78" y="492"/>
                    </a:lnTo>
                    <a:lnTo>
                      <a:pt x="84" y="466"/>
                    </a:lnTo>
                    <a:lnTo>
                      <a:pt x="102" y="450"/>
                    </a:lnTo>
                    <a:lnTo>
                      <a:pt x="116" y="446"/>
                    </a:lnTo>
                    <a:lnTo>
                      <a:pt x="126" y="426"/>
                    </a:lnTo>
                    <a:lnTo>
                      <a:pt x="128" y="406"/>
                    </a:lnTo>
                    <a:lnTo>
                      <a:pt x="160" y="402"/>
                    </a:lnTo>
                    <a:lnTo>
                      <a:pt x="170" y="406"/>
                    </a:lnTo>
                    <a:lnTo>
                      <a:pt x="166" y="350"/>
                    </a:lnTo>
                    <a:lnTo>
                      <a:pt x="180" y="344"/>
                    </a:lnTo>
                    <a:lnTo>
                      <a:pt x="184" y="284"/>
                    </a:lnTo>
                    <a:lnTo>
                      <a:pt x="192" y="276"/>
                    </a:lnTo>
                    <a:lnTo>
                      <a:pt x="180" y="268"/>
                    </a:lnTo>
                    <a:lnTo>
                      <a:pt x="170" y="240"/>
                    </a:lnTo>
                    <a:lnTo>
                      <a:pt x="172" y="216"/>
                    </a:lnTo>
                    <a:lnTo>
                      <a:pt x="182" y="192"/>
                    </a:lnTo>
                    <a:lnTo>
                      <a:pt x="188" y="176"/>
                    </a:lnTo>
                    <a:lnTo>
                      <a:pt x="182" y="134"/>
                    </a:lnTo>
                    <a:lnTo>
                      <a:pt x="158" y="116"/>
                    </a:lnTo>
                    <a:lnTo>
                      <a:pt x="140" y="108"/>
                    </a:lnTo>
                    <a:lnTo>
                      <a:pt x="124" y="118"/>
                    </a:lnTo>
                    <a:lnTo>
                      <a:pt x="98" y="124"/>
                    </a:lnTo>
                    <a:lnTo>
                      <a:pt x="88" y="130"/>
                    </a:lnTo>
                    <a:lnTo>
                      <a:pt x="62" y="134"/>
                    </a:lnTo>
                    <a:lnTo>
                      <a:pt x="58" y="148"/>
                    </a:lnTo>
                    <a:lnTo>
                      <a:pt x="28" y="140"/>
                    </a:lnTo>
                    <a:lnTo>
                      <a:pt x="10" y="122"/>
                    </a:lnTo>
                    <a:lnTo>
                      <a:pt x="2" y="104"/>
                    </a:lnTo>
                    <a:lnTo>
                      <a:pt x="0" y="74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49" name="Freeform 5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5959475" y="1995488"/>
                <a:ext cx="1063625" cy="693737"/>
              </a:xfrm>
              <a:custGeom>
                <a:avLst/>
                <a:gdLst>
                  <a:gd name="T0" fmla="*/ 2147483647 w 649"/>
                  <a:gd name="T1" fmla="*/ 2147483647 h 439"/>
                  <a:gd name="T2" fmla="*/ 2147483647 w 649"/>
                  <a:gd name="T3" fmla="*/ 2147483647 h 439"/>
                  <a:gd name="T4" fmla="*/ 2147483647 w 649"/>
                  <a:gd name="T5" fmla="*/ 2147483647 h 439"/>
                  <a:gd name="T6" fmla="*/ 2147483647 w 649"/>
                  <a:gd name="T7" fmla="*/ 2147483647 h 439"/>
                  <a:gd name="T8" fmla="*/ 2147483647 w 649"/>
                  <a:gd name="T9" fmla="*/ 2147483647 h 439"/>
                  <a:gd name="T10" fmla="*/ 2147483647 w 649"/>
                  <a:gd name="T11" fmla="*/ 2147483647 h 439"/>
                  <a:gd name="T12" fmla="*/ 2147483647 w 649"/>
                  <a:gd name="T13" fmla="*/ 2147483647 h 439"/>
                  <a:gd name="T14" fmla="*/ 2147483647 w 649"/>
                  <a:gd name="T15" fmla="*/ 2147483647 h 439"/>
                  <a:gd name="T16" fmla="*/ 2147483647 w 649"/>
                  <a:gd name="T17" fmla="*/ 2147483647 h 439"/>
                  <a:gd name="T18" fmla="*/ 2147483647 w 649"/>
                  <a:gd name="T19" fmla="*/ 2147483647 h 439"/>
                  <a:gd name="T20" fmla="*/ 2147483647 w 649"/>
                  <a:gd name="T21" fmla="*/ 2147483647 h 439"/>
                  <a:gd name="T22" fmla="*/ 2147483647 w 649"/>
                  <a:gd name="T23" fmla="*/ 0 h 439"/>
                  <a:gd name="T24" fmla="*/ 2147483647 w 649"/>
                  <a:gd name="T25" fmla="*/ 2147483647 h 439"/>
                  <a:gd name="T26" fmla="*/ 0 w 649"/>
                  <a:gd name="T27" fmla="*/ 2147483647 h 439"/>
                  <a:gd name="T28" fmla="*/ 2147483647 w 649"/>
                  <a:gd name="T29" fmla="*/ 2147483647 h 439"/>
                  <a:gd name="T30" fmla="*/ 2147483647 w 649"/>
                  <a:gd name="T31" fmla="*/ 2147483647 h 439"/>
                  <a:gd name="T32" fmla="*/ 2147483647 w 649"/>
                  <a:gd name="T33" fmla="*/ 2147483647 h 439"/>
                  <a:gd name="T34" fmla="*/ 2147483647 w 649"/>
                  <a:gd name="T35" fmla="*/ 2147483647 h 439"/>
                  <a:gd name="T36" fmla="*/ 2147483647 w 649"/>
                  <a:gd name="T37" fmla="*/ 2147483647 h 439"/>
                  <a:gd name="T38" fmla="*/ 2147483647 w 649"/>
                  <a:gd name="T39" fmla="*/ 2147483647 h 439"/>
                  <a:gd name="T40" fmla="*/ 2147483647 w 649"/>
                  <a:gd name="T41" fmla="*/ 2147483647 h 439"/>
                  <a:gd name="T42" fmla="*/ 2147483647 w 649"/>
                  <a:gd name="T43" fmla="*/ 2147483647 h 439"/>
                  <a:gd name="T44" fmla="*/ 2147483647 w 649"/>
                  <a:gd name="T45" fmla="*/ 2147483647 h 439"/>
                  <a:gd name="T46" fmla="*/ 2147483647 w 649"/>
                  <a:gd name="T47" fmla="*/ 2147483647 h 439"/>
                  <a:gd name="T48" fmla="*/ 2147483647 w 649"/>
                  <a:gd name="T49" fmla="*/ 2147483647 h 439"/>
                  <a:gd name="T50" fmla="*/ 2147483647 w 649"/>
                  <a:gd name="T51" fmla="*/ 2147483647 h 439"/>
                  <a:gd name="T52" fmla="*/ 2147483647 w 649"/>
                  <a:gd name="T53" fmla="*/ 2147483647 h 439"/>
                  <a:gd name="T54" fmla="*/ 2147483647 w 649"/>
                  <a:gd name="T55" fmla="*/ 2147483647 h 439"/>
                  <a:gd name="T56" fmla="*/ 2147483647 w 649"/>
                  <a:gd name="T57" fmla="*/ 2147483647 h 439"/>
                  <a:gd name="T58" fmla="*/ 2147483647 w 649"/>
                  <a:gd name="T59" fmla="*/ 2147483647 h 439"/>
                  <a:gd name="T60" fmla="*/ 2147483647 w 649"/>
                  <a:gd name="T61" fmla="*/ 2147483647 h 439"/>
                  <a:gd name="T62" fmla="*/ 2147483647 w 649"/>
                  <a:gd name="T63" fmla="*/ 2147483647 h 439"/>
                  <a:gd name="T64" fmla="*/ 2147483647 w 649"/>
                  <a:gd name="T65" fmla="*/ 2147483647 h 439"/>
                  <a:gd name="T66" fmla="*/ 2147483647 w 649"/>
                  <a:gd name="T67" fmla="*/ 2147483647 h 439"/>
                  <a:gd name="T68" fmla="*/ 2147483647 w 649"/>
                  <a:gd name="T69" fmla="*/ 2147483647 h 439"/>
                  <a:gd name="T70" fmla="*/ 2147483647 w 649"/>
                  <a:gd name="T71" fmla="*/ 2147483647 h 439"/>
                  <a:gd name="T72" fmla="*/ 2147483647 w 649"/>
                  <a:gd name="T73" fmla="*/ 2147483647 h 439"/>
                  <a:gd name="T74" fmla="*/ 2147483647 w 649"/>
                  <a:gd name="T75" fmla="*/ 2147483647 h 439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649"/>
                  <a:gd name="T115" fmla="*/ 0 h 439"/>
                  <a:gd name="T116" fmla="*/ 649 w 649"/>
                  <a:gd name="T117" fmla="*/ 439 h 439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649" h="439">
                    <a:moveTo>
                      <a:pt x="640" y="148"/>
                    </a:moveTo>
                    <a:lnTo>
                      <a:pt x="604" y="132"/>
                    </a:lnTo>
                    <a:lnTo>
                      <a:pt x="590" y="108"/>
                    </a:lnTo>
                    <a:lnTo>
                      <a:pt x="560" y="112"/>
                    </a:lnTo>
                    <a:lnTo>
                      <a:pt x="550" y="142"/>
                    </a:lnTo>
                    <a:lnTo>
                      <a:pt x="532" y="140"/>
                    </a:lnTo>
                    <a:lnTo>
                      <a:pt x="508" y="158"/>
                    </a:lnTo>
                    <a:lnTo>
                      <a:pt x="482" y="152"/>
                    </a:lnTo>
                    <a:lnTo>
                      <a:pt x="464" y="128"/>
                    </a:lnTo>
                    <a:lnTo>
                      <a:pt x="460" y="96"/>
                    </a:lnTo>
                    <a:lnTo>
                      <a:pt x="452" y="94"/>
                    </a:lnTo>
                    <a:lnTo>
                      <a:pt x="400" y="120"/>
                    </a:lnTo>
                    <a:lnTo>
                      <a:pt x="396" y="100"/>
                    </a:lnTo>
                    <a:lnTo>
                      <a:pt x="364" y="98"/>
                    </a:lnTo>
                    <a:lnTo>
                      <a:pt x="346" y="64"/>
                    </a:lnTo>
                    <a:lnTo>
                      <a:pt x="314" y="52"/>
                    </a:lnTo>
                    <a:lnTo>
                      <a:pt x="282" y="58"/>
                    </a:lnTo>
                    <a:lnTo>
                      <a:pt x="254" y="42"/>
                    </a:lnTo>
                    <a:lnTo>
                      <a:pt x="232" y="44"/>
                    </a:lnTo>
                    <a:lnTo>
                      <a:pt x="222" y="56"/>
                    </a:lnTo>
                    <a:lnTo>
                      <a:pt x="182" y="60"/>
                    </a:lnTo>
                    <a:lnTo>
                      <a:pt x="148" y="32"/>
                    </a:lnTo>
                    <a:lnTo>
                      <a:pt x="124" y="12"/>
                    </a:lnTo>
                    <a:lnTo>
                      <a:pt x="84" y="0"/>
                    </a:lnTo>
                    <a:lnTo>
                      <a:pt x="74" y="32"/>
                    </a:lnTo>
                    <a:lnTo>
                      <a:pt x="52" y="48"/>
                    </a:lnTo>
                    <a:lnTo>
                      <a:pt x="8" y="52"/>
                    </a:lnTo>
                    <a:lnTo>
                      <a:pt x="0" y="64"/>
                    </a:lnTo>
                    <a:lnTo>
                      <a:pt x="32" y="98"/>
                    </a:lnTo>
                    <a:lnTo>
                      <a:pt x="36" y="118"/>
                    </a:lnTo>
                    <a:lnTo>
                      <a:pt x="32" y="150"/>
                    </a:lnTo>
                    <a:lnTo>
                      <a:pt x="48" y="174"/>
                    </a:lnTo>
                    <a:lnTo>
                      <a:pt x="54" y="188"/>
                    </a:lnTo>
                    <a:lnTo>
                      <a:pt x="72" y="188"/>
                    </a:lnTo>
                    <a:lnTo>
                      <a:pt x="88" y="174"/>
                    </a:lnTo>
                    <a:lnTo>
                      <a:pt x="112" y="170"/>
                    </a:lnTo>
                    <a:lnTo>
                      <a:pt x="120" y="192"/>
                    </a:lnTo>
                    <a:lnTo>
                      <a:pt x="134" y="214"/>
                    </a:lnTo>
                    <a:lnTo>
                      <a:pt x="142" y="234"/>
                    </a:lnTo>
                    <a:lnTo>
                      <a:pt x="152" y="250"/>
                    </a:lnTo>
                    <a:lnTo>
                      <a:pt x="158" y="262"/>
                    </a:lnTo>
                    <a:lnTo>
                      <a:pt x="202" y="258"/>
                    </a:lnTo>
                    <a:lnTo>
                      <a:pt x="216" y="270"/>
                    </a:lnTo>
                    <a:lnTo>
                      <a:pt x="228" y="284"/>
                    </a:lnTo>
                    <a:lnTo>
                      <a:pt x="238" y="280"/>
                    </a:lnTo>
                    <a:lnTo>
                      <a:pt x="250" y="256"/>
                    </a:lnTo>
                    <a:lnTo>
                      <a:pt x="266" y="288"/>
                    </a:lnTo>
                    <a:lnTo>
                      <a:pt x="270" y="310"/>
                    </a:lnTo>
                    <a:lnTo>
                      <a:pt x="296" y="332"/>
                    </a:lnTo>
                    <a:lnTo>
                      <a:pt x="310" y="344"/>
                    </a:lnTo>
                    <a:lnTo>
                      <a:pt x="308" y="392"/>
                    </a:lnTo>
                    <a:lnTo>
                      <a:pt x="344" y="414"/>
                    </a:lnTo>
                    <a:lnTo>
                      <a:pt x="360" y="438"/>
                    </a:lnTo>
                    <a:lnTo>
                      <a:pt x="378" y="416"/>
                    </a:lnTo>
                    <a:lnTo>
                      <a:pt x="390" y="394"/>
                    </a:lnTo>
                    <a:lnTo>
                      <a:pt x="388" y="378"/>
                    </a:lnTo>
                    <a:lnTo>
                      <a:pt x="406" y="358"/>
                    </a:lnTo>
                    <a:lnTo>
                      <a:pt x="448" y="352"/>
                    </a:lnTo>
                    <a:lnTo>
                      <a:pt x="456" y="370"/>
                    </a:lnTo>
                    <a:lnTo>
                      <a:pt x="492" y="368"/>
                    </a:lnTo>
                    <a:lnTo>
                      <a:pt x="502" y="352"/>
                    </a:lnTo>
                    <a:lnTo>
                      <a:pt x="500" y="300"/>
                    </a:lnTo>
                    <a:lnTo>
                      <a:pt x="522" y="292"/>
                    </a:lnTo>
                    <a:lnTo>
                      <a:pt x="550" y="276"/>
                    </a:lnTo>
                    <a:lnTo>
                      <a:pt x="552" y="248"/>
                    </a:lnTo>
                    <a:lnTo>
                      <a:pt x="572" y="234"/>
                    </a:lnTo>
                    <a:lnTo>
                      <a:pt x="572" y="206"/>
                    </a:lnTo>
                    <a:lnTo>
                      <a:pt x="598" y="204"/>
                    </a:lnTo>
                    <a:lnTo>
                      <a:pt x="608" y="222"/>
                    </a:lnTo>
                    <a:lnTo>
                      <a:pt x="626" y="232"/>
                    </a:lnTo>
                    <a:lnTo>
                      <a:pt x="642" y="230"/>
                    </a:lnTo>
                    <a:lnTo>
                      <a:pt x="646" y="206"/>
                    </a:lnTo>
                    <a:lnTo>
                      <a:pt x="628" y="196"/>
                    </a:lnTo>
                    <a:lnTo>
                      <a:pt x="648" y="194"/>
                    </a:lnTo>
                    <a:lnTo>
                      <a:pt x="644" y="166"/>
                    </a:lnTo>
                    <a:lnTo>
                      <a:pt x="644" y="14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50" name="Freeform 6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5746750" y="2389188"/>
                <a:ext cx="808038" cy="701675"/>
              </a:xfrm>
              <a:custGeom>
                <a:avLst/>
                <a:gdLst>
                  <a:gd name="T0" fmla="*/ 2147483647 w 493"/>
                  <a:gd name="T1" fmla="*/ 2147483647 h 445"/>
                  <a:gd name="T2" fmla="*/ 2147483647 w 493"/>
                  <a:gd name="T3" fmla="*/ 2147483647 h 445"/>
                  <a:gd name="T4" fmla="*/ 2147483647 w 493"/>
                  <a:gd name="T5" fmla="*/ 2147483647 h 445"/>
                  <a:gd name="T6" fmla="*/ 2147483647 w 493"/>
                  <a:gd name="T7" fmla="*/ 0 h 445"/>
                  <a:gd name="T8" fmla="*/ 2147483647 w 493"/>
                  <a:gd name="T9" fmla="*/ 2147483647 h 445"/>
                  <a:gd name="T10" fmla="*/ 2147483647 w 493"/>
                  <a:gd name="T11" fmla="*/ 2147483647 h 445"/>
                  <a:gd name="T12" fmla="*/ 2147483647 w 493"/>
                  <a:gd name="T13" fmla="*/ 2147483647 h 445"/>
                  <a:gd name="T14" fmla="*/ 2147483647 w 493"/>
                  <a:gd name="T15" fmla="*/ 2147483647 h 445"/>
                  <a:gd name="T16" fmla="*/ 2147483647 w 493"/>
                  <a:gd name="T17" fmla="*/ 2147483647 h 445"/>
                  <a:gd name="T18" fmla="*/ 2147483647 w 493"/>
                  <a:gd name="T19" fmla="*/ 2147483647 h 445"/>
                  <a:gd name="T20" fmla="*/ 2147483647 w 493"/>
                  <a:gd name="T21" fmla="*/ 2147483647 h 445"/>
                  <a:gd name="T22" fmla="*/ 2147483647 w 493"/>
                  <a:gd name="T23" fmla="*/ 2147483647 h 445"/>
                  <a:gd name="T24" fmla="*/ 2147483647 w 493"/>
                  <a:gd name="T25" fmla="*/ 2147483647 h 445"/>
                  <a:gd name="T26" fmla="*/ 2147483647 w 493"/>
                  <a:gd name="T27" fmla="*/ 2147483647 h 445"/>
                  <a:gd name="T28" fmla="*/ 2147483647 w 493"/>
                  <a:gd name="T29" fmla="*/ 2147483647 h 445"/>
                  <a:gd name="T30" fmla="*/ 2147483647 w 493"/>
                  <a:gd name="T31" fmla="*/ 2147483647 h 445"/>
                  <a:gd name="T32" fmla="*/ 2147483647 w 493"/>
                  <a:gd name="T33" fmla="*/ 2147483647 h 445"/>
                  <a:gd name="T34" fmla="*/ 0 w 493"/>
                  <a:gd name="T35" fmla="*/ 2147483647 h 445"/>
                  <a:gd name="T36" fmla="*/ 2147483647 w 493"/>
                  <a:gd name="T37" fmla="*/ 2147483647 h 445"/>
                  <a:gd name="T38" fmla="*/ 2147483647 w 493"/>
                  <a:gd name="T39" fmla="*/ 2147483647 h 445"/>
                  <a:gd name="T40" fmla="*/ 2147483647 w 493"/>
                  <a:gd name="T41" fmla="*/ 2147483647 h 445"/>
                  <a:gd name="T42" fmla="*/ 2147483647 w 493"/>
                  <a:gd name="T43" fmla="*/ 2147483647 h 445"/>
                  <a:gd name="T44" fmla="*/ 2147483647 w 493"/>
                  <a:gd name="T45" fmla="*/ 2147483647 h 445"/>
                  <a:gd name="T46" fmla="*/ 2147483647 w 493"/>
                  <a:gd name="T47" fmla="*/ 2147483647 h 445"/>
                  <a:gd name="T48" fmla="*/ 2147483647 w 493"/>
                  <a:gd name="T49" fmla="*/ 2147483647 h 445"/>
                  <a:gd name="T50" fmla="*/ 2147483647 w 493"/>
                  <a:gd name="T51" fmla="*/ 2147483647 h 445"/>
                  <a:gd name="T52" fmla="*/ 2147483647 w 493"/>
                  <a:gd name="T53" fmla="*/ 2147483647 h 445"/>
                  <a:gd name="T54" fmla="*/ 2147483647 w 493"/>
                  <a:gd name="T55" fmla="*/ 2147483647 h 445"/>
                  <a:gd name="T56" fmla="*/ 2147483647 w 493"/>
                  <a:gd name="T57" fmla="*/ 2147483647 h 445"/>
                  <a:gd name="T58" fmla="*/ 2147483647 w 493"/>
                  <a:gd name="T59" fmla="*/ 2147483647 h 445"/>
                  <a:gd name="T60" fmla="*/ 2147483647 w 493"/>
                  <a:gd name="T61" fmla="*/ 2147483647 h 445"/>
                  <a:gd name="T62" fmla="*/ 2147483647 w 493"/>
                  <a:gd name="T63" fmla="*/ 2147483647 h 445"/>
                  <a:gd name="T64" fmla="*/ 2147483647 w 493"/>
                  <a:gd name="T65" fmla="*/ 2147483647 h 445"/>
                  <a:gd name="T66" fmla="*/ 2147483647 w 493"/>
                  <a:gd name="T67" fmla="*/ 2147483647 h 445"/>
                  <a:gd name="T68" fmla="*/ 2147483647 w 493"/>
                  <a:gd name="T69" fmla="*/ 2147483647 h 445"/>
                  <a:gd name="T70" fmla="*/ 2147483647 w 493"/>
                  <a:gd name="T71" fmla="*/ 2147483647 h 445"/>
                  <a:gd name="T72" fmla="*/ 2147483647 w 493"/>
                  <a:gd name="T73" fmla="*/ 2147483647 h 445"/>
                  <a:gd name="T74" fmla="*/ 2147483647 w 493"/>
                  <a:gd name="T75" fmla="*/ 2147483647 h 445"/>
                  <a:gd name="T76" fmla="*/ 2147483647 w 493"/>
                  <a:gd name="T77" fmla="*/ 2147483647 h 445"/>
                  <a:gd name="T78" fmla="*/ 2147483647 w 493"/>
                  <a:gd name="T79" fmla="*/ 2147483647 h 445"/>
                  <a:gd name="T80" fmla="*/ 2147483647 w 493"/>
                  <a:gd name="T81" fmla="*/ 2147483647 h 445"/>
                  <a:gd name="T82" fmla="*/ 2147483647 w 493"/>
                  <a:gd name="T83" fmla="*/ 2147483647 h 445"/>
                  <a:gd name="T84" fmla="*/ 2147483647 w 493"/>
                  <a:gd name="T85" fmla="*/ 2147483647 h 44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493"/>
                  <a:gd name="T130" fmla="*/ 0 h 445"/>
                  <a:gd name="T131" fmla="*/ 493 w 493"/>
                  <a:gd name="T132" fmla="*/ 445 h 445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493" h="445">
                    <a:moveTo>
                      <a:pt x="492" y="186"/>
                    </a:moveTo>
                    <a:lnTo>
                      <a:pt x="480" y="166"/>
                    </a:lnTo>
                    <a:lnTo>
                      <a:pt x="438" y="136"/>
                    </a:lnTo>
                    <a:lnTo>
                      <a:pt x="442" y="112"/>
                    </a:lnTo>
                    <a:lnTo>
                      <a:pt x="444" y="90"/>
                    </a:lnTo>
                    <a:lnTo>
                      <a:pt x="404" y="60"/>
                    </a:lnTo>
                    <a:lnTo>
                      <a:pt x="394" y="22"/>
                    </a:lnTo>
                    <a:lnTo>
                      <a:pt x="380" y="0"/>
                    </a:lnTo>
                    <a:lnTo>
                      <a:pt x="362" y="32"/>
                    </a:lnTo>
                    <a:lnTo>
                      <a:pt x="332" y="2"/>
                    </a:lnTo>
                    <a:lnTo>
                      <a:pt x="290" y="6"/>
                    </a:lnTo>
                    <a:lnTo>
                      <a:pt x="268" y="44"/>
                    </a:lnTo>
                    <a:lnTo>
                      <a:pt x="256" y="58"/>
                    </a:lnTo>
                    <a:lnTo>
                      <a:pt x="208" y="54"/>
                    </a:lnTo>
                    <a:lnTo>
                      <a:pt x="198" y="76"/>
                    </a:lnTo>
                    <a:lnTo>
                      <a:pt x="186" y="88"/>
                    </a:lnTo>
                    <a:lnTo>
                      <a:pt x="178" y="96"/>
                    </a:lnTo>
                    <a:lnTo>
                      <a:pt x="180" y="110"/>
                    </a:lnTo>
                    <a:lnTo>
                      <a:pt x="144" y="134"/>
                    </a:lnTo>
                    <a:lnTo>
                      <a:pt x="136" y="150"/>
                    </a:lnTo>
                    <a:lnTo>
                      <a:pt x="108" y="148"/>
                    </a:lnTo>
                    <a:lnTo>
                      <a:pt x="104" y="168"/>
                    </a:lnTo>
                    <a:lnTo>
                      <a:pt x="84" y="170"/>
                    </a:lnTo>
                    <a:lnTo>
                      <a:pt x="68" y="158"/>
                    </a:lnTo>
                    <a:lnTo>
                      <a:pt x="44" y="146"/>
                    </a:lnTo>
                    <a:lnTo>
                      <a:pt x="32" y="180"/>
                    </a:lnTo>
                    <a:lnTo>
                      <a:pt x="36" y="206"/>
                    </a:lnTo>
                    <a:lnTo>
                      <a:pt x="24" y="230"/>
                    </a:lnTo>
                    <a:lnTo>
                      <a:pt x="24" y="274"/>
                    </a:lnTo>
                    <a:lnTo>
                      <a:pt x="14" y="282"/>
                    </a:lnTo>
                    <a:lnTo>
                      <a:pt x="16" y="312"/>
                    </a:lnTo>
                    <a:lnTo>
                      <a:pt x="30" y="310"/>
                    </a:lnTo>
                    <a:lnTo>
                      <a:pt x="26" y="326"/>
                    </a:lnTo>
                    <a:lnTo>
                      <a:pt x="12" y="330"/>
                    </a:lnTo>
                    <a:lnTo>
                      <a:pt x="14" y="386"/>
                    </a:lnTo>
                    <a:lnTo>
                      <a:pt x="0" y="418"/>
                    </a:lnTo>
                    <a:lnTo>
                      <a:pt x="12" y="432"/>
                    </a:lnTo>
                    <a:lnTo>
                      <a:pt x="48" y="432"/>
                    </a:lnTo>
                    <a:lnTo>
                      <a:pt x="56" y="430"/>
                    </a:lnTo>
                    <a:lnTo>
                      <a:pt x="58" y="384"/>
                    </a:lnTo>
                    <a:lnTo>
                      <a:pt x="80" y="374"/>
                    </a:lnTo>
                    <a:lnTo>
                      <a:pt x="88" y="362"/>
                    </a:lnTo>
                    <a:lnTo>
                      <a:pt x="108" y="360"/>
                    </a:lnTo>
                    <a:lnTo>
                      <a:pt x="110" y="352"/>
                    </a:lnTo>
                    <a:lnTo>
                      <a:pt x="124" y="342"/>
                    </a:lnTo>
                    <a:lnTo>
                      <a:pt x="130" y="324"/>
                    </a:lnTo>
                    <a:lnTo>
                      <a:pt x="142" y="316"/>
                    </a:lnTo>
                    <a:lnTo>
                      <a:pt x="140" y="298"/>
                    </a:lnTo>
                    <a:lnTo>
                      <a:pt x="152" y="282"/>
                    </a:lnTo>
                    <a:lnTo>
                      <a:pt x="156" y="264"/>
                    </a:lnTo>
                    <a:lnTo>
                      <a:pt x="184" y="264"/>
                    </a:lnTo>
                    <a:lnTo>
                      <a:pt x="194" y="248"/>
                    </a:lnTo>
                    <a:lnTo>
                      <a:pt x="216" y="242"/>
                    </a:lnTo>
                    <a:lnTo>
                      <a:pt x="238" y="246"/>
                    </a:lnTo>
                    <a:lnTo>
                      <a:pt x="242" y="264"/>
                    </a:lnTo>
                    <a:lnTo>
                      <a:pt x="252" y="276"/>
                    </a:lnTo>
                    <a:lnTo>
                      <a:pt x="266" y="280"/>
                    </a:lnTo>
                    <a:lnTo>
                      <a:pt x="260" y="308"/>
                    </a:lnTo>
                    <a:lnTo>
                      <a:pt x="240" y="314"/>
                    </a:lnTo>
                    <a:lnTo>
                      <a:pt x="220" y="336"/>
                    </a:lnTo>
                    <a:lnTo>
                      <a:pt x="220" y="372"/>
                    </a:lnTo>
                    <a:lnTo>
                      <a:pt x="238" y="382"/>
                    </a:lnTo>
                    <a:lnTo>
                      <a:pt x="228" y="394"/>
                    </a:lnTo>
                    <a:lnTo>
                      <a:pt x="210" y="406"/>
                    </a:lnTo>
                    <a:lnTo>
                      <a:pt x="208" y="442"/>
                    </a:lnTo>
                    <a:lnTo>
                      <a:pt x="244" y="444"/>
                    </a:lnTo>
                    <a:lnTo>
                      <a:pt x="248" y="426"/>
                    </a:lnTo>
                    <a:lnTo>
                      <a:pt x="262" y="420"/>
                    </a:lnTo>
                    <a:lnTo>
                      <a:pt x="266" y="398"/>
                    </a:lnTo>
                    <a:lnTo>
                      <a:pt x="276" y="374"/>
                    </a:lnTo>
                    <a:lnTo>
                      <a:pt x="292" y="352"/>
                    </a:lnTo>
                    <a:lnTo>
                      <a:pt x="310" y="348"/>
                    </a:lnTo>
                    <a:lnTo>
                      <a:pt x="318" y="326"/>
                    </a:lnTo>
                    <a:lnTo>
                      <a:pt x="340" y="320"/>
                    </a:lnTo>
                    <a:lnTo>
                      <a:pt x="344" y="304"/>
                    </a:lnTo>
                    <a:lnTo>
                      <a:pt x="384" y="306"/>
                    </a:lnTo>
                    <a:lnTo>
                      <a:pt x="384" y="298"/>
                    </a:lnTo>
                    <a:lnTo>
                      <a:pt x="406" y="298"/>
                    </a:lnTo>
                    <a:lnTo>
                      <a:pt x="406" y="270"/>
                    </a:lnTo>
                    <a:lnTo>
                      <a:pt x="420" y="252"/>
                    </a:lnTo>
                    <a:lnTo>
                      <a:pt x="424" y="238"/>
                    </a:lnTo>
                    <a:lnTo>
                      <a:pt x="438" y="240"/>
                    </a:lnTo>
                    <a:lnTo>
                      <a:pt x="436" y="226"/>
                    </a:lnTo>
                    <a:lnTo>
                      <a:pt x="462" y="224"/>
                    </a:lnTo>
                    <a:lnTo>
                      <a:pt x="462" y="214"/>
                    </a:lnTo>
                    <a:lnTo>
                      <a:pt x="474" y="212"/>
                    </a:lnTo>
                    <a:lnTo>
                      <a:pt x="492" y="18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51" name="Freeform 7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5564188" y="2976563"/>
                <a:ext cx="187325" cy="195262"/>
              </a:xfrm>
              <a:custGeom>
                <a:avLst/>
                <a:gdLst>
                  <a:gd name="T0" fmla="*/ 2147483647 w 115"/>
                  <a:gd name="T1" fmla="*/ 2147483647 h 125"/>
                  <a:gd name="T2" fmla="*/ 2147483647 w 115"/>
                  <a:gd name="T3" fmla="*/ 2147483647 h 125"/>
                  <a:gd name="T4" fmla="*/ 2147483647 w 115"/>
                  <a:gd name="T5" fmla="*/ 2147483647 h 125"/>
                  <a:gd name="T6" fmla="*/ 2147483647 w 115"/>
                  <a:gd name="T7" fmla="*/ 0 h 125"/>
                  <a:gd name="T8" fmla="*/ 2147483647 w 115"/>
                  <a:gd name="T9" fmla="*/ 0 h 125"/>
                  <a:gd name="T10" fmla="*/ 2147483647 w 115"/>
                  <a:gd name="T11" fmla="*/ 2147483647 h 125"/>
                  <a:gd name="T12" fmla="*/ 2147483647 w 115"/>
                  <a:gd name="T13" fmla="*/ 2147483647 h 125"/>
                  <a:gd name="T14" fmla="*/ 0 w 115"/>
                  <a:gd name="T15" fmla="*/ 2147483647 h 125"/>
                  <a:gd name="T16" fmla="*/ 2147483647 w 115"/>
                  <a:gd name="T17" fmla="*/ 2147483647 h 125"/>
                  <a:gd name="T18" fmla="*/ 2147483647 w 115"/>
                  <a:gd name="T19" fmla="*/ 2147483647 h 125"/>
                  <a:gd name="T20" fmla="*/ 2147483647 w 115"/>
                  <a:gd name="T21" fmla="*/ 2147483647 h 125"/>
                  <a:gd name="T22" fmla="*/ 2147483647 w 115"/>
                  <a:gd name="T23" fmla="*/ 2147483647 h 125"/>
                  <a:gd name="T24" fmla="*/ 2147483647 w 115"/>
                  <a:gd name="T25" fmla="*/ 2147483647 h 125"/>
                  <a:gd name="T26" fmla="*/ 2147483647 w 115"/>
                  <a:gd name="T27" fmla="*/ 2147483647 h 125"/>
                  <a:gd name="T28" fmla="*/ 2147483647 w 115"/>
                  <a:gd name="T29" fmla="*/ 2147483647 h 125"/>
                  <a:gd name="T30" fmla="*/ 2147483647 w 115"/>
                  <a:gd name="T31" fmla="*/ 2147483647 h 12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15"/>
                  <a:gd name="T49" fmla="*/ 0 h 125"/>
                  <a:gd name="T50" fmla="*/ 115 w 115"/>
                  <a:gd name="T51" fmla="*/ 125 h 125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15" h="125">
                    <a:moveTo>
                      <a:pt x="114" y="46"/>
                    </a:moveTo>
                    <a:lnTo>
                      <a:pt x="88" y="34"/>
                    </a:lnTo>
                    <a:lnTo>
                      <a:pt x="56" y="34"/>
                    </a:lnTo>
                    <a:lnTo>
                      <a:pt x="60" y="0"/>
                    </a:lnTo>
                    <a:lnTo>
                      <a:pt x="28" y="0"/>
                    </a:lnTo>
                    <a:lnTo>
                      <a:pt x="24" y="24"/>
                    </a:lnTo>
                    <a:lnTo>
                      <a:pt x="6" y="30"/>
                    </a:lnTo>
                    <a:lnTo>
                      <a:pt x="0" y="74"/>
                    </a:lnTo>
                    <a:lnTo>
                      <a:pt x="8" y="96"/>
                    </a:lnTo>
                    <a:lnTo>
                      <a:pt x="20" y="114"/>
                    </a:lnTo>
                    <a:lnTo>
                      <a:pt x="58" y="124"/>
                    </a:lnTo>
                    <a:lnTo>
                      <a:pt x="56" y="102"/>
                    </a:lnTo>
                    <a:lnTo>
                      <a:pt x="64" y="84"/>
                    </a:lnTo>
                    <a:lnTo>
                      <a:pt x="76" y="66"/>
                    </a:lnTo>
                    <a:lnTo>
                      <a:pt x="100" y="70"/>
                    </a:lnTo>
                    <a:lnTo>
                      <a:pt x="114" y="4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52" name="Freeform 8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5383213" y="2863850"/>
                <a:ext cx="250825" cy="212725"/>
              </a:xfrm>
              <a:custGeom>
                <a:avLst/>
                <a:gdLst>
                  <a:gd name="T0" fmla="*/ 2147483647 w 153"/>
                  <a:gd name="T1" fmla="*/ 2147483647 h 137"/>
                  <a:gd name="T2" fmla="*/ 2147483647 w 153"/>
                  <a:gd name="T3" fmla="*/ 2147483647 h 137"/>
                  <a:gd name="T4" fmla="*/ 2147483647 w 153"/>
                  <a:gd name="T5" fmla="*/ 2147483647 h 137"/>
                  <a:gd name="T6" fmla="*/ 2147483647 w 153"/>
                  <a:gd name="T7" fmla="*/ 2147483647 h 137"/>
                  <a:gd name="T8" fmla="*/ 2147483647 w 153"/>
                  <a:gd name="T9" fmla="*/ 2147483647 h 137"/>
                  <a:gd name="T10" fmla="*/ 2147483647 w 153"/>
                  <a:gd name="T11" fmla="*/ 2147483647 h 137"/>
                  <a:gd name="T12" fmla="*/ 2147483647 w 153"/>
                  <a:gd name="T13" fmla="*/ 2147483647 h 137"/>
                  <a:gd name="T14" fmla="*/ 2147483647 w 153"/>
                  <a:gd name="T15" fmla="*/ 2147483647 h 137"/>
                  <a:gd name="T16" fmla="*/ 0 w 153"/>
                  <a:gd name="T17" fmla="*/ 2147483647 h 137"/>
                  <a:gd name="T18" fmla="*/ 2147483647 w 153"/>
                  <a:gd name="T19" fmla="*/ 2147483647 h 137"/>
                  <a:gd name="T20" fmla="*/ 2147483647 w 153"/>
                  <a:gd name="T21" fmla="*/ 2147483647 h 137"/>
                  <a:gd name="T22" fmla="*/ 2147483647 w 153"/>
                  <a:gd name="T23" fmla="*/ 2147483647 h 137"/>
                  <a:gd name="T24" fmla="*/ 2147483647 w 153"/>
                  <a:gd name="T25" fmla="*/ 2147483647 h 137"/>
                  <a:gd name="T26" fmla="*/ 2147483647 w 153"/>
                  <a:gd name="T27" fmla="*/ 2147483647 h 137"/>
                  <a:gd name="T28" fmla="*/ 2147483647 w 153"/>
                  <a:gd name="T29" fmla="*/ 0 h 137"/>
                  <a:gd name="T30" fmla="*/ 2147483647 w 153"/>
                  <a:gd name="T31" fmla="*/ 2147483647 h 137"/>
                  <a:gd name="T32" fmla="*/ 2147483647 w 153"/>
                  <a:gd name="T33" fmla="*/ 2147483647 h 137"/>
                  <a:gd name="T34" fmla="*/ 2147483647 w 153"/>
                  <a:gd name="T35" fmla="*/ 2147483647 h 137"/>
                  <a:gd name="T36" fmla="*/ 2147483647 w 153"/>
                  <a:gd name="T37" fmla="*/ 2147483647 h 137"/>
                  <a:gd name="T38" fmla="*/ 2147483647 w 153"/>
                  <a:gd name="T39" fmla="*/ 2147483647 h 137"/>
                  <a:gd name="T40" fmla="*/ 2147483647 w 153"/>
                  <a:gd name="T41" fmla="*/ 2147483647 h 137"/>
                  <a:gd name="T42" fmla="*/ 2147483647 w 153"/>
                  <a:gd name="T43" fmla="*/ 2147483647 h 137"/>
                  <a:gd name="T44" fmla="*/ 2147483647 w 153"/>
                  <a:gd name="T45" fmla="*/ 2147483647 h 137"/>
                  <a:gd name="T46" fmla="*/ 2147483647 w 153"/>
                  <a:gd name="T47" fmla="*/ 2147483647 h 137"/>
                  <a:gd name="T48" fmla="*/ 2147483647 w 153"/>
                  <a:gd name="T49" fmla="*/ 2147483647 h 13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53"/>
                  <a:gd name="T76" fmla="*/ 0 h 137"/>
                  <a:gd name="T77" fmla="*/ 153 w 153"/>
                  <a:gd name="T78" fmla="*/ 137 h 13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53" h="137">
                    <a:moveTo>
                      <a:pt x="116" y="118"/>
                    </a:moveTo>
                    <a:lnTo>
                      <a:pt x="110" y="110"/>
                    </a:lnTo>
                    <a:lnTo>
                      <a:pt x="72" y="112"/>
                    </a:lnTo>
                    <a:lnTo>
                      <a:pt x="72" y="124"/>
                    </a:lnTo>
                    <a:lnTo>
                      <a:pt x="50" y="124"/>
                    </a:lnTo>
                    <a:lnTo>
                      <a:pt x="48" y="136"/>
                    </a:lnTo>
                    <a:lnTo>
                      <a:pt x="20" y="130"/>
                    </a:lnTo>
                    <a:lnTo>
                      <a:pt x="6" y="112"/>
                    </a:lnTo>
                    <a:lnTo>
                      <a:pt x="0" y="82"/>
                    </a:lnTo>
                    <a:lnTo>
                      <a:pt x="22" y="84"/>
                    </a:lnTo>
                    <a:lnTo>
                      <a:pt x="22" y="54"/>
                    </a:lnTo>
                    <a:lnTo>
                      <a:pt x="34" y="56"/>
                    </a:lnTo>
                    <a:lnTo>
                      <a:pt x="34" y="22"/>
                    </a:lnTo>
                    <a:lnTo>
                      <a:pt x="56" y="10"/>
                    </a:lnTo>
                    <a:lnTo>
                      <a:pt x="70" y="0"/>
                    </a:lnTo>
                    <a:lnTo>
                      <a:pt x="108" y="6"/>
                    </a:lnTo>
                    <a:lnTo>
                      <a:pt x="128" y="8"/>
                    </a:lnTo>
                    <a:lnTo>
                      <a:pt x="138" y="20"/>
                    </a:lnTo>
                    <a:lnTo>
                      <a:pt x="138" y="34"/>
                    </a:lnTo>
                    <a:lnTo>
                      <a:pt x="150" y="56"/>
                    </a:lnTo>
                    <a:lnTo>
                      <a:pt x="152" y="72"/>
                    </a:lnTo>
                    <a:lnTo>
                      <a:pt x="134" y="76"/>
                    </a:lnTo>
                    <a:lnTo>
                      <a:pt x="132" y="98"/>
                    </a:lnTo>
                    <a:lnTo>
                      <a:pt x="114" y="106"/>
                    </a:lnTo>
                    <a:lnTo>
                      <a:pt x="116" y="118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53" name="Freeform 9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5197475" y="2605088"/>
                <a:ext cx="598488" cy="949325"/>
              </a:xfrm>
              <a:custGeom>
                <a:avLst/>
                <a:gdLst>
                  <a:gd name="T0" fmla="*/ 2147483647 w 363"/>
                  <a:gd name="T1" fmla="*/ 2147483647 h 605"/>
                  <a:gd name="T2" fmla="*/ 2147483647 w 363"/>
                  <a:gd name="T3" fmla="*/ 2147483647 h 605"/>
                  <a:gd name="T4" fmla="*/ 2147483647 w 363"/>
                  <a:gd name="T5" fmla="*/ 2147483647 h 605"/>
                  <a:gd name="T6" fmla="*/ 2147483647 w 363"/>
                  <a:gd name="T7" fmla="*/ 2147483647 h 605"/>
                  <a:gd name="T8" fmla="*/ 2147483647 w 363"/>
                  <a:gd name="T9" fmla="*/ 2147483647 h 605"/>
                  <a:gd name="T10" fmla="*/ 2147483647 w 363"/>
                  <a:gd name="T11" fmla="*/ 2147483647 h 605"/>
                  <a:gd name="T12" fmla="*/ 2147483647 w 363"/>
                  <a:gd name="T13" fmla="*/ 2147483647 h 605"/>
                  <a:gd name="T14" fmla="*/ 2147483647 w 363"/>
                  <a:gd name="T15" fmla="*/ 2147483647 h 605"/>
                  <a:gd name="T16" fmla="*/ 2147483647 w 363"/>
                  <a:gd name="T17" fmla="*/ 0 h 605"/>
                  <a:gd name="T18" fmla="*/ 2147483647 w 363"/>
                  <a:gd name="T19" fmla="*/ 2147483647 h 605"/>
                  <a:gd name="T20" fmla="*/ 2147483647 w 363"/>
                  <a:gd name="T21" fmla="*/ 2147483647 h 605"/>
                  <a:gd name="T22" fmla="*/ 2147483647 w 363"/>
                  <a:gd name="T23" fmla="*/ 2147483647 h 605"/>
                  <a:gd name="T24" fmla="*/ 2147483647 w 363"/>
                  <a:gd name="T25" fmla="*/ 2147483647 h 605"/>
                  <a:gd name="T26" fmla="*/ 2147483647 w 363"/>
                  <a:gd name="T27" fmla="*/ 2147483647 h 605"/>
                  <a:gd name="T28" fmla="*/ 2147483647 w 363"/>
                  <a:gd name="T29" fmla="*/ 2147483647 h 605"/>
                  <a:gd name="T30" fmla="*/ 2147483647 w 363"/>
                  <a:gd name="T31" fmla="*/ 2147483647 h 605"/>
                  <a:gd name="T32" fmla="*/ 2147483647 w 363"/>
                  <a:gd name="T33" fmla="*/ 2147483647 h 605"/>
                  <a:gd name="T34" fmla="*/ 2147483647 w 363"/>
                  <a:gd name="T35" fmla="*/ 2147483647 h 605"/>
                  <a:gd name="T36" fmla="*/ 2147483647 w 363"/>
                  <a:gd name="T37" fmla="*/ 2147483647 h 605"/>
                  <a:gd name="T38" fmla="*/ 2147483647 w 363"/>
                  <a:gd name="T39" fmla="*/ 2147483647 h 605"/>
                  <a:gd name="T40" fmla="*/ 2147483647 w 363"/>
                  <a:gd name="T41" fmla="*/ 2147483647 h 605"/>
                  <a:gd name="T42" fmla="*/ 2147483647 w 363"/>
                  <a:gd name="T43" fmla="*/ 2147483647 h 605"/>
                  <a:gd name="T44" fmla="*/ 2147483647 w 363"/>
                  <a:gd name="T45" fmla="*/ 2147483647 h 605"/>
                  <a:gd name="T46" fmla="*/ 2147483647 w 363"/>
                  <a:gd name="T47" fmla="*/ 2147483647 h 605"/>
                  <a:gd name="T48" fmla="*/ 2147483647 w 363"/>
                  <a:gd name="T49" fmla="*/ 2147483647 h 605"/>
                  <a:gd name="T50" fmla="*/ 2147483647 w 363"/>
                  <a:gd name="T51" fmla="*/ 2147483647 h 605"/>
                  <a:gd name="T52" fmla="*/ 2147483647 w 363"/>
                  <a:gd name="T53" fmla="*/ 2147483647 h 605"/>
                  <a:gd name="T54" fmla="*/ 2147483647 w 363"/>
                  <a:gd name="T55" fmla="*/ 2147483647 h 605"/>
                  <a:gd name="T56" fmla="*/ 2147483647 w 363"/>
                  <a:gd name="T57" fmla="*/ 2147483647 h 605"/>
                  <a:gd name="T58" fmla="*/ 2147483647 w 363"/>
                  <a:gd name="T59" fmla="*/ 2147483647 h 605"/>
                  <a:gd name="T60" fmla="*/ 2147483647 w 363"/>
                  <a:gd name="T61" fmla="*/ 2147483647 h 605"/>
                  <a:gd name="T62" fmla="*/ 2147483647 w 363"/>
                  <a:gd name="T63" fmla="*/ 2147483647 h 605"/>
                  <a:gd name="T64" fmla="*/ 2147483647 w 363"/>
                  <a:gd name="T65" fmla="*/ 2147483647 h 605"/>
                  <a:gd name="T66" fmla="*/ 2147483647 w 363"/>
                  <a:gd name="T67" fmla="*/ 2147483647 h 605"/>
                  <a:gd name="T68" fmla="*/ 2147483647 w 363"/>
                  <a:gd name="T69" fmla="*/ 2147483647 h 605"/>
                  <a:gd name="T70" fmla="*/ 2147483647 w 363"/>
                  <a:gd name="T71" fmla="*/ 2147483647 h 605"/>
                  <a:gd name="T72" fmla="*/ 2147483647 w 363"/>
                  <a:gd name="T73" fmla="*/ 2147483647 h 605"/>
                  <a:gd name="T74" fmla="*/ 2147483647 w 363"/>
                  <a:gd name="T75" fmla="*/ 2147483647 h 605"/>
                  <a:gd name="T76" fmla="*/ 2147483647 w 363"/>
                  <a:gd name="T77" fmla="*/ 2147483647 h 605"/>
                  <a:gd name="T78" fmla="*/ 2147483647 w 363"/>
                  <a:gd name="T79" fmla="*/ 2147483647 h 605"/>
                  <a:gd name="T80" fmla="*/ 2147483647 w 363"/>
                  <a:gd name="T81" fmla="*/ 2147483647 h 605"/>
                  <a:gd name="T82" fmla="*/ 2147483647 w 363"/>
                  <a:gd name="T83" fmla="*/ 2147483647 h 605"/>
                  <a:gd name="T84" fmla="*/ 2147483647 w 363"/>
                  <a:gd name="T85" fmla="*/ 2147483647 h 605"/>
                  <a:gd name="T86" fmla="*/ 2147483647 w 363"/>
                  <a:gd name="T87" fmla="*/ 2147483647 h 605"/>
                  <a:gd name="T88" fmla="*/ 2147483647 w 363"/>
                  <a:gd name="T89" fmla="*/ 2147483647 h 605"/>
                  <a:gd name="T90" fmla="*/ 2147483647 w 363"/>
                  <a:gd name="T91" fmla="*/ 2147483647 h 605"/>
                  <a:gd name="T92" fmla="*/ 2147483647 w 363"/>
                  <a:gd name="T93" fmla="*/ 2147483647 h 605"/>
                  <a:gd name="T94" fmla="*/ 2147483647 w 363"/>
                  <a:gd name="T95" fmla="*/ 2147483647 h 60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363"/>
                  <a:gd name="T145" fmla="*/ 0 h 605"/>
                  <a:gd name="T146" fmla="*/ 363 w 363"/>
                  <a:gd name="T147" fmla="*/ 605 h 60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363" h="605">
                    <a:moveTo>
                      <a:pt x="330" y="282"/>
                    </a:moveTo>
                    <a:lnTo>
                      <a:pt x="340" y="274"/>
                    </a:lnTo>
                    <a:lnTo>
                      <a:pt x="352" y="228"/>
                    </a:lnTo>
                    <a:lnTo>
                      <a:pt x="346" y="190"/>
                    </a:lnTo>
                    <a:lnTo>
                      <a:pt x="360" y="190"/>
                    </a:lnTo>
                    <a:lnTo>
                      <a:pt x="362" y="172"/>
                    </a:lnTo>
                    <a:lnTo>
                      <a:pt x="352" y="170"/>
                    </a:lnTo>
                    <a:lnTo>
                      <a:pt x="348" y="148"/>
                    </a:lnTo>
                    <a:lnTo>
                      <a:pt x="360" y="136"/>
                    </a:lnTo>
                    <a:lnTo>
                      <a:pt x="356" y="118"/>
                    </a:lnTo>
                    <a:lnTo>
                      <a:pt x="334" y="118"/>
                    </a:lnTo>
                    <a:lnTo>
                      <a:pt x="332" y="104"/>
                    </a:lnTo>
                    <a:lnTo>
                      <a:pt x="306" y="108"/>
                    </a:lnTo>
                    <a:lnTo>
                      <a:pt x="300" y="90"/>
                    </a:lnTo>
                    <a:lnTo>
                      <a:pt x="298" y="50"/>
                    </a:lnTo>
                    <a:lnTo>
                      <a:pt x="270" y="28"/>
                    </a:lnTo>
                    <a:lnTo>
                      <a:pt x="254" y="14"/>
                    </a:lnTo>
                    <a:lnTo>
                      <a:pt x="252" y="0"/>
                    </a:lnTo>
                    <a:lnTo>
                      <a:pt x="234" y="0"/>
                    </a:lnTo>
                    <a:lnTo>
                      <a:pt x="222" y="18"/>
                    </a:lnTo>
                    <a:lnTo>
                      <a:pt x="202" y="38"/>
                    </a:lnTo>
                    <a:lnTo>
                      <a:pt x="186" y="40"/>
                    </a:lnTo>
                    <a:lnTo>
                      <a:pt x="192" y="66"/>
                    </a:lnTo>
                    <a:lnTo>
                      <a:pt x="172" y="70"/>
                    </a:lnTo>
                    <a:lnTo>
                      <a:pt x="134" y="76"/>
                    </a:lnTo>
                    <a:lnTo>
                      <a:pt x="106" y="90"/>
                    </a:lnTo>
                    <a:lnTo>
                      <a:pt x="64" y="88"/>
                    </a:lnTo>
                    <a:lnTo>
                      <a:pt x="48" y="72"/>
                    </a:lnTo>
                    <a:lnTo>
                      <a:pt x="32" y="92"/>
                    </a:lnTo>
                    <a:lnTo>
                      <a:pt x="16" y="106"/>
                    </a:lnTo>
                    <a:lnTo>
                      <a:pt x="14" y="122"/>
                    </a:lnTo>
                    <a:lnTo>
                      <a:pt x="12" y="154"/>
                    </a:lnTo>
                    <a:lnTo>
                      <a:pt x="0" y="166"/>
                    </a:lnTo>
                    <a:lnTo>
                      <a:pt x="4" y="184"/>
                    </a:lnTo>
                    <a:lnTo>
                      <a:pt x="28" y="192"/>
                    </a:lnTo>
                    <a:lnTo>
                      <a:pt x="38" y="204"/>
                    </a:lnTo>
                    <a:lnTo>
                      <a:pt x="42" y="238"/>
                    </a:lnTo>
                    <a:lnTo>
                      <a:pt x="22" y="238"/>
                    </a:lnTo>
                    <a:lnTo>
                      <a:pt x="32" y="272"/>
                    </a:lnTo>
                    <a:lnTo>
                      <a:pt x="42" y="284"/>
                    </a:lnTo>
                    <a:lnTo>
                      <a:pt x="46" y="308"/>
                    </a:lnTo>
                    <a:lnTo>
                      <a:pt x="50" y="340"/>
                    </a:lnTo>
                    <a:lnTo>
                      <a:pt x="28" y="350"/>
                    </a:lnTo>
                    <a:lnTo>
                      <a:pt x="16" y="368"/>
                    </a:lnTo>
                    <a:lnTo>
                      <a:pt x="12" y="410"/>
                    </a:lnTo>
                    <a:lnTo>
                      <a:pt x="14" y="442"/>
                    </a:lnTo>
                    <a:lnTo>
                      <a:pt x="40" y="458"/>
                    </a:lnTo>
                    <a:lnTo>
                      <a:pt x="40" y="506"/>
                    </a:lnTo>
                    <a:lnTo>
                      <a:pt x="14" y="536"/>
                    </a:lnTo>
                    <a:lnTo>
                      <a:pt x="10" y="578"/>
                    </a:lnTo>
                    <a:lnTo>
                      <a:pt x="22" y="592"/>
                    </a:lnTo>
                    <a:lnTo>
                      <a:pt x="52" y="594"/>
                    </a:lnTo>
                    <a:lnTo>
                      <a:pt x="62" y="586"/>
                    </a:lnTo>
                    <a:lnTo>
                      <a:pt x="78" y="592"/>
                    </a:lnTo>
                    <a:lnTo>
                      <a:pt x="88" y="604"/>
                    </a:lnTo>
                    <a:lnTo>
                      <a:pt x="106" y="592"/>
                    </a:lnTo>
                    <a:lnTo>
                      <a:pt x="146" y="592"/>
                    </a:lnTo>
                    <a:lnTo>
                      <a:pt x="146" y="562"/>
                    </a:lnTo>
                    <a:lnTo>
                      <a:pt x="144" y="542"/>
                    </a:lnTo>
                    <a:lnTo>
                      <a:pt x="158" y="524"/>
                    </a:lnTo>
                    <a:lnTo>
                      <a:pt x="170" y="504"/>
                    </a:lnTo>
                    <a:lnTo>
                      <a:pt x="188" y="482"/>
                    </a:lnTo>
                    <a:lnTo>
                      <a:pt x="216" y="480"/>
                    </a:lnTo>
                    <a:lnTo>
                      <a:pt x="216" y="456"/>
                    </a:lnTo>
                    <a:lnTo>
                      <a:pt x="232" y="440"/>
                    </a:lnTo>
                    <a:lnTo>
                      <a:pt x="274" y="436"/>
                    </a:lnTo>
                    <a:lnTo>
                      <a:pt x="286" y="404"/>
                    </a:lnTo>
                    <a:lnTo>
                      <a:pt x="310" y="388"/>
                    </a:lnTo>
                    <a:lnTo>
                      <a:pt x="296" y="358"/>
                    </a:lnTo>
                    <a:lnTo>
                      <a:pt x="262" y="354"/>
                    </a:lnTo>
                    <a:lnTo>
                      <a:pt x="230" y="332"/>
                    </a:lnTo>
                    <a:lnTo>
                      <a:pt x="228" y="306"/>
                    </a:lnTo>
                    <a:lnTo>
                      <a:pt x="224" y="276"/>
                    </a:lnTo>
                    <a:lnTo>
                      <a:pt x="194" y="272"/>
                    </a:lnTo>
                    <a:lnTo>
                      <a:pt x="182" y="272"/>
                    </a:lnTo>
                    <a:lnTo>
                      <a:pt x="176" y="286"/>
                    </a:lnTo>
                    <a:lnTo>
                      <a:pt x="162" y="284"/>
                    </a:lnTo>
                    <a:lnTo>
                      <a:pt x="154" y="298"/>
                    </a:lnTo>
                    <a:lnTo>
                      <a:pt x="128" y="282"/>
                    </a:lnTo>
                    <a:lnTo>
                      <a:pt x="116" y="252"/>
                    </a:lnTo>
                    <a:lnTo>
                      <a:pt x="134" y="246"/>
                    </a:lnTo>
                    <a:lnTo>
                      <a:pt x="134" y="214"/>
                    </a:lnTo>
                    <a:lnTo>
                      <a:pt x="148" y="220"/>
                    </a:lnTo>
                    <a:lnTo>
                      <a:pt x="148" y="188"/>
                    </a:lnTo>
                    <a:lnTo>
                      <a:pt x="182" y="170"/>
                    </a:lnTo>
                    <a:lnTo>
                      <a:pt x="212" y="170"/>
                    </a:lnTo>
                    <a:lnTo>
                      <a:pt x="228" y="174"/>
                    </a:lnTo>
                    <a:lnTo>
                      <a:pt x="244" y="178"/>
                    </a:lnTo>
                    <a:lnTo>
                      <a:pt x="246" y="190"/>
                    </a:lnTo>
                    <a:lnTo>
                      <a:pt x="246" y="204"/>
                    </a:lnTo>
                    <a:lnTo>
                      <a:pt x="262" y="224"/>
                    </a:lnTo>
                    <a:lnTo>
                      <a:pt x="260" y="236"/>
                    </a:lnTo>
                    <a:lnTo>
                      <a:pt x="278" y="242"/>
                    </a:lnTo>
                    <a:lnTo>
                      <a:pt x="280" y="258"/>
                    </a:lnTo>
                    <a:lnTo>
                      <a:pt x="280" y="270"/>
                    </a:lnTo>
                    <a:lnTo>
                      <a:pt x="312" y="272"/>
                    </a:lnTo>
                    <a:lnTo>
                      <a:pt x="330" y="282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54" name="Freeform 10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5426075" y="3205163"/>
                <a:ext cx="858838" cy="552450"/>
              </a:xfrm>
              <a:custGeom>
                <a:avLst/>
                <a:gdLst>
                  <a:gd name="T0" fmla="*/ 2147483647 w 525"/>
                  <a:gd name="T1" fmla="*/ 2147483647 h 351"/>
                  <a:gd name="T2" fmla="*/ 2147483647 w 525"/>
                  <a:gd name="T3" fmla="*/ 2147483647 h 351"/>
                  <a:gd name="T4" fmla="*/ 2147483647 w 525"/>
                  <a:gd name="T5" fmla="*/ 2147483647 h 351"/>
                  <a:gd name="T6" fmla="*/ 2147483647 w 525"/>
                  <a:gd name="T7" fmla="*/ 2147483647 h 351"/>
                  <a:gd name="T8" fmla="*/ 2147483647 w 525"/>
                  <a:gd name="T9" fmla="*/ 0 h 351"/>
                  <a:gd name="T10" fmla="*/ 2147483647 w 525"/>
                  <a:gd name="T11" fmla="*/ 2147483647 h 351"/>
                  <a:gd name="T12" fmla="*/ 2147483647 w 525"/>
                  <a:gd name="T13" fmla="*/ 2147483647 h 351"/>
                  <a:gd name="T14" fmla="*/ 2147483647 w 525"/>
                  <a:gd name="T15" fmla="*/ 2147483647 h 351"/>
                  <a:gd name="T16" fmla="*/ 2147483647 w 525"/>
                  <a:gd name="T17" fmla="*/ 2147483647 h 351"/>
                  <a:gd name="T18" fmla="*/ 2147483647 w 525"/>
                  <a:gd name="T19" fmla="*/ 2147483647 h 351"/>
                  <a:gd name="T20" fmla="*/ 2147483647 w 525"/>
                  <a:gd name="T21" fmla="*/ 2147483647 h 351"/>
                  <a:gd name="T22" fmla="*/ 2147483647 w 525"/>
                  <a:gd name="T23" fmla="*/ 2147483647 h 351"/>
                  <a:gd name="T24" fmla="*/ 2147483647 w 525"/>
                  <a:gd name="T25" fmla="*/ 2147483647 h 351"/>
                  <a:gd name="T26" fmla="*/ 2147483647 w 525"/>
                  <a:gd name="T27" fmla="*/ 2147483647 h 351"/>
                  <a:gd name="T28" fmla="*/ 2147483647 w 525"/>
                  <a:gd name="T29" fmla="*/ 2147483647 h 351"/>
                  <a:gd name="T30" fmla="*/ 2147483647 w 525"/>
                  <a:gd name="T31" fmla="*/ 2147483647 h 351"/>
                  <a:gd name="T32" fmla="*/ 2147483647 w 525"/>
                  <a:gd name="T33" fmla="*/ 2147483647 h 351"/>
                  <a:gd name="T34" fmla="*/ 2147483647 w 525"/>
                  <a:gd name="T35" fmla="*/ 2147483647 h 351"/>
                  <a:gd name="T36" fmla="*/ 2147483647 w 525"/>
                  <a:gd name="T37" fmla="*/ 2147483647 h 351"/>
                  <a:gd name="T38" fmla="*/ 2147483647 w 525"/>
                  <a:gd name="T39" fmla="*/ 2147483647 h 351"/>
                  <a:gd name="T40" fmla="*/ 2147483647 w 525"/>
                  <a:gd name="T41" fmla="*/ 2147483647 h 351"/>
                  <a:gd name="T42" fmla="*/ 2147483647 w 525"/>
                  <a:gd name="T43" fmla="*/ 2147483647 h 351"/>
                  <a:gd name="T44" fmla="*/ 2147483647 w 525"/>
                  <a:gd name="T45" fmla="*/ 2147483647 h 351"/>
                  <a:gd name="T46" fmla="*/ 2147483647 w 525"/>
                  <a:gd name="T47" fmla="*/ 2147483647 h 351"/>
                  <a:gd name="T48" fmla="*/ 2147483647 w 525"/>
                  <a:gd name="T49" fmla="*/ 2147483647 h 351"/>
                  <a:gd name="T50" fmla="*/ 2147483647 w 525"/>
                  <a:gd name="T51" fmla="*/ 2147483647 h 351"/>
                  <a:gd name="T52" fmla="*/ 2147483647 w 525"/>
                  <a:gd name="T53" fmla="*/ 2147483647 h 351"/>
                  <a:gd name="T54" fmla="*/ 2147483647 w 525"/>
                  <a:gd name="T55" fmla="*/ 2147483647 h 351"/>
                  <a:gd name="T56" fmla="*/ 2147483647 w 525"/>
                  <a:gd name="T57" fmla="*/ 2147483647 h 351"/>
                  <a:gd name="T58" fmla="*/ 2147483647 w 525"/>
                  <a:gd name="T59" fmla="*/ 2147483647 h 351"/>
                  <a:gd name="T60" fmla="*/ 2147483647 w 525"/>
                  <a:gd name="T61" fmla="*/ 2147483647 h 351"/>
                  <a:gd name="T62" fmla="*/ 2147483647 w 525"/>
                  <a:gd name="T63" fmla="*/ 2147483647 h 351"/>
                  <a:gd name="T64" fmla="*/ 2147483647 w 525"/>
                  <a:gd name="T65" fmla="*/ 2147483647 h 351"/>
                  <a:gd name="T66" fmla="*/ 2147483647 w 525"/>
                  <a:gd name="T67" fmla="*/ 2147483647 h 351"/>
                  <a:gd name="T68" fmla="*/ 2147483647 w 525"/>
                  <a:gd name="T69" fmla="*/ 2147483647 h 35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525"/>
                  <a:gd name="T106" fmla="*/ 0 h 351"/>
                  <a:gd name="T107" fmla="*/ 525 w 525"/>
                  <a:gd name="T108" fmla="*/ 351 h 351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525" h="351">
                    <a:moveTo>
                      <a:pt x="6" y="206"/>
                    </a:moveTo>
                    <a:lnTo>
                      <a:pt x="6" y="176"/>
                    </a:lnTo>
                    <a:lnTo>
                      <a:pt x="0" y="154"/>
                    </a:lnTo>
                    <a:lnTo>
                      <a:pt x="42" y="100"/>
                    </a:lnTo>
                    <a:lnTo>
                      <a:pt x="72" y="94"/>
                    </a:lnTo>
                    <a:lnTo>
                      <a:pt x="78" y="70"/>
                    </a:lnTo>
                    <a:lnTo>
                      <a:pt x="94" y="52"/>
                    </a:lnTo>
                    <a:lnTo>
                      <a:pt x="126" y="52"/>
                    </a:lnTo>
                    <a:lnTo>
                      <a:pt x="144" y="18"/>
                    </a:lnTo>
                    <a:lnTo>
                      <a:pt x="168" y="0"/>
                    </a:lnTo>
                    <a:lnTo>
                      <a:pt x="174" y="18"/>
                    </a:lnTo>
                    <a:lnTo>
                      <a:pt x="196" y="20"/>
                    </a:lnTo>
                    <a:lnTo>
                      <a:pt x="208" y="32"/>
                    </a:lnTo>
                    <a:lnTo>
                      <a:pt x="242" y="24"/>
                    </a:lnTo>
                    <a:lnTo>
                      <a:pt x="262" y="18"/>
                    </a:lnTo>
                    <a:lnTo>
                      <a:pt x="264" y="50"/>
                    </a:lnTo>
                    <a:lnTo>
                      <a:pt x="262" y="74"/>
                    </a:lnTo>
                    <a:lnTo>
                      <a:pt x="280" y="84"/>
                    </a:lnTo>
                    <a:lnTo>
                      <a:pt x="298" y="92"/>
                    </a:lnTo>
                    <a:lnTo>
                      <a:pt x="322" y="76"/>
                    </a:lnTo>
                    <a:lnTo>
                      <a:pt x="348" y="52"/>
                    </a:lnTo>
                    <a:lnTo>
                      <a:pt x="360" y="32"/>
                    </a:lnTo>
                    <a:lnTo>
                      <a:pt x="362" y="16"/>
                    </a:lnTo>
                    <a:lnTo>
                      <a:pt x="380" y="10"/>
                    </a:lnTo>
                    <a:lnTo>
                      <a:pt x="400" y="20"/>
                    </a:lnTo>
                    <a:lnTo>
                      <a:pt x="430" y="26"/>
                    </a:lnTo>
                    <a:lnTo>
                      <a:pt x="450" y="30"/>
                    </a:lnTo>
                    <a:lnTo>
                      <a:pt x="474" y="32"/>
                    </a:lnTo>
                    <a:lnTo>
                      <a:pt x="496" y="38"/>
                    </a:lnTo>
                    <a:lnTo>
                      <a:pt x="524" y="42"/>
                    </a:lnTo>
                    <a:lnTo>
                      <a:pt x="522" y="74"/>
                    </a:lnTo>
                    <a:lnTo>
                      <a:pt x="494" y="82"/>
                    </a:lnTo>
                    <a:lnTo>
                      <a:pt x="462" y="82"/>
                    </a:lnTo>
                    <a:lnTo>
                      <a:pt x="448" y="100"/>
                    </a:lnTo>
                    <a:lnTo>
                      <a:pt x="434" y="102"/>
                    </a:lnTo>
                    <a:lnTo>
                      <a:pt x="418" y="116"/>
                    </a:lnTo>
                    <a:lnTo>
                      <a:pt x="404" y="124"/>
                    </a:lnTo>
                    <a:lnTo>
                      <a:pt x="406" y="158"/>
                    </a:lnTo>
                    <a:lnTo>
                      <a:pt x="382" y="156"/>
                    </a:lnTo>
                    <a:lnTo>
                      <a:pt x="364" y="176"/>
                    </a:lnTo>
                    <a:lnTo>
                      <a:pt x="362" y="200"/>
                    </a:lnTo>
                    <a:lnTo>
                      <a:pt x="340" y="210"/>
                    </a:lnTo>
                    <a:lnTo>
                      <a:pt x="332" y="214"/>
                    </a:lnTo>
                    <a:lnTo>
                      <a:pt x="334" y="252"/>
                    </a:lnTo>
                    <a:lnTo>
                      <a:pt x="312" y="264"/>
                    </a:lnTo>
                    <a:lnTo>
                      <a:pt x="306" y="282"/>
                    </a:lnTo>
                    <a:lnTo>
                      <a:pt x="298" y="298"/>
                    </a:lnTo>
                    <a:lnTo>
                      <a:pt x="288" y="312"/>
                    </a:lnTo>
                    <a:lnTo>
                      <a:pt x="270" y="310"/>
                    </a:lnTo>
                    <a:lnTo>
                      <a:pt x="264" y="336"/>
                    </a:lnTo>
                    <a:lnTo>
                      <a:pt x="240" y="340"/>
                    </a:lnTo>
                    <a:lnTo>
                      <a:pt x="230" y="320"/>
                    </a:lnTo>
                    <a:lnTo>
                      <a:pt x="212" y="324"/>
                    </a:lnTo>
                    <a:lnTo>
                      <a:pt x="198" y="326"/>
                    </a:lnTo>
                    <a:lnTo>
                      <a:pt x="194" y="346"/>
                    </a:lnTo>
                    <a:lnTo>
                      <a:pt x="154" y="338"/>
                    </a:lnTo>
                    <a:lnTo>
                      <a:pt x="150" y="316"/>
                    </a:lnTo>
                    <a:lnTo>
                      <a:pt x="132" y="314"/>
                    </a:lnTo>
                    <a:lnTo>
                      <a:pt x="112" y="328"/>
                    </a:lnTo>
                    <a:lnTo>
                      <a:pt x="102" y="346"/>
                    </a:lnTo>
                    <a:lnTo>
                      <a:pt x="76" y="342"/>
                    </a:lnTo>
                    <a:lnTo>
                      <a:pt x="66" y="350"/>
                    </a:lnTo>
                    <a:lnTo>
                      <a:pt x="26" y="348"/>
                    </a:lnTo>
                    <a:lnTo>
                      <a:pt x="12" y="324"/>
                    </a:lnTo>
                    <a:lnTo>
                      <a:pt x="10" y="292"/>
                    </a:lnTo>
                    <a:lnTo>
                      <a:pt x="16" y="270"/>
                    </a:lnTo>
                    <a:lnTo>
                      <a:pt x="24" y="256"/>
                    </a:lnTo>
                    <a:lnTo>
                      <a:pt x="54" y="254"/>
                    </a:lnTo>
                    <a:lnTo>
                      <a:pt x="60" y="236"/>
                    </a:lnTo>
                    <a:lnTo>
                      <a:pt x="26" y="230"/>
                    </a:lnTo>
                    <a:lnTo>
                      <a:pt x="6" y="20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55" name="Freeform 11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5667375" y="3649663"/>
                <a:ext cx="658813" cy="571500"/>
              </a:xfrm>
              <a:custGeom>
                <a:avLst/>
                <a:gdLst>
                  <a:gd name="T0" fmla="*/ 0 w 401"/>
                  <a:gd name="T1" fmla="*/ 2147483647 h 363"/>
                  <a:gd name="T2" fmla="*/ 2147483647 w 401"/>
                  <a:gd name="T3" fmla="*/ 2147483647 h 363"/>
                  <a:gd name="T4" fmla="*/ 2147483647 w 401"/>
                  <a:gd name="T5" fmla="*/ 2147483647 h 363"/>
                  <a:gd name="T6" fmla="*/ 2147483647 w 401"/>
                  <a:gd name="T7" fmla="*/ 2147483647 h 363"/>
                  <a:gd name="T8" fmla="*/ 2147483647 w 401"/>
                  <a:gd name="T9" fmla="*/ 2147483647 h 363"/>
                  <a:gd name="T10" fmla="*/ 2147483647 w 401"/>
                  <a:gd name="T11" fmla="*/ 2147483647 h 363"/>
                  <a:gd name="T12" fmla="*/ 2147483647 w 401"/>
                  <a:gd name="T13" fmla="*/ 2147483647 h 363"/>
                  <a:gd name="T14" fmla="*/ 2147483647 w 401"/>
                  <a:gd name="T15" fmla="*/ 2147483647 h 363"/>
                  <a:gd name="T16" fmla="*/ 2147483647 w 401"/>
                  <a:gd name="T17" fmla="*/ 2147483647 h 363"/>
                  <a:gd name="T18" fmla="*/ 2147483647 w 401"/>
                  <a:gd name="T19" fmla="*/ 2147483647 h 363"/>
                  <a:gd name="T20" fmla="*/ 2147483647 w 401"/>
                  <a:gd name="T21" fmla="*/ 0 h 363"/>
                  <a:gd name="T22" fmla="*/ 2147483647 w 401"/>
                  <a:gd name="T23" fmla="*/ 2147483647 h 363"/>
                  <a:gd name="T24" fmla="*/ 2147483647 w 401"/>
                  <a:gd name="T25" fmla="*/ 2147483647 h 363"/>
                  <a:gd name="T26" fmla="*/ 2147483647 w 401"/>
                  <a:gd name="T27" fmla="*/ 2147483647 h 363"/>
                  <a:gd name="T28" fmla="*/ 2147483647 w 401"/>
                  <a:gd name="T29" fmla="*/ 2147483647 h 363"/>
                  <a:gd name="T30" fmla="*/ 2147483647 w 401"/>
                  <a:gd name="T31" fmla="*/ 2147483647 h 363"/>
                  <a:gd name="T32" fmla="*/ 2147483647 w 401"/>
                  <a:gd name="T33" fmla="*/ 2147483647 h 363"/>
                  <a:gd name="T34" fmla="*/ 2147483647 w 401"/>
                  <a:gd name="T35" fmla="*/ 2147483647 h 363"/>
                  <a:gd name="T36" fmla="*/ 2147483647 w 401"/>
                  <a:gd name="T37" fmla="*/ 2147483647 h 363"/>
                  <a:gd name="T38" fmla="*/ 2147483647 w 401"/>
                  <a:gd name="T39" fmla="*/ 2147483647 h 363"/>
                  <a:gd name="T40" fmla="*/ 2147483647 w 401"/>
                  <a:gd name="T41" fmla="*/ 2147483647 h 363"/>
                  <a:gd name="T42" fmla="*/ 2147483647 w 401"/>
                  <a:gd name="T43" fmla="*/ 2147483647 h 363"/>
                  <a:gd name="T44" fmla="*/ 2147483647 w 401"/>
                  <a:gd name="T45" fmla="*/ 2147483647 h 363"/>
                  <a:gd name="T46" fmla="*/ 2147483647 w 401"/>
                  <a:gd name="T47" fmla="*/ 2147483647 h 363"/>
                  <a:gd name="T48" fmla="*/ 2147483647 w 401"/>
                  <a:gd name="T49" fmla="*/ 2147483647 h 363"/>
                  <a:gd name="T50" fmla="*/ 2147483647 w 401"/>
                  <a:gd name="T51" fmla="*/ 2147483647 h 363"/>
                  <a:gd name="T52" fmla="*/ 2147483647 w 401"/>
                  <a:gd name="T53" fmla="*/ 2147483647 h 363"/>
                  <a:gd name="T54" fmla="*/ 2147483647 w 401"/>
                  <a:gd name="T55" fmla="*/ 2147483647 h 363"/>
                  <a:gd name="T56" fmla="*/ 2147483647 w 401"/>
                  <a:gd name="T57" fmla="*/ 2147483647 h 363"/>
                  <a:gd name="T58" fmla="*/ 2147483647 w 401"/>
                  <a:gd name="T59" fmla="*/ 2147483647 h 363"/>
                  <a:gd name="T60" fmla="*/ 2147483647 w 401"/>
                  <a:gd name="T61" fmla="*/ 2147483647 h 363"/>
                  <a:gd name="T62" fmla="*/ 2147483647 w 401"/>
                  <a:gd name="T63" fmla="*/ 2147483647 h 363"/>
                  <a:gd name="T64" fmla="*/ 2147483647 w 401"/>
                  <a:gd name="T65" fmla="*/ 2147483647 h 363"/>
                  <a:gd name="T66" fmla="*/ 2147483647 w 401"/>
                  <a:gd name="T67" fmla="*/ 2147483647 h 363"/>
                  <a:gd name="T68" fmla="*/ 2147483647 w 401"/>
                  <a:gd name="T69" fmla="*/ 2147483647 h 363"/>
                  <a:gd name="T70" fmla="*/ 2147483647 w 401"/>
                  <a:gd name="T71" fmla="*/ 2147483647 h 363"/>
                  <a:gd name="T72" fmla="*/ 2147483647 w 401"/>
                  <a:gd name="T73" fmla="*/ 2147483647 h 363"/>
                  <a:gd name="T74" fmla="*/ 2147483647 w 401"/>
                  <a:gd name="T75" fmla="*/ 2147483647 h 363"/>
                  <a:gd name="T76" fmla="*/ 2147483647 w 401"/>
                  <a:gd name="T77" fmla="*/ 2147483647 h 363"/>
                  <a:gd name="T78" fmla="*/ 2147483647 w 401"/>
                  <a:gd name="T79" fmla="*/ 2147483647 h 363"/>
                  <a:gd name="T80" fmla="*/ 2147483647 w 401"/>
                  <a:gd name="T81" fmla="*/ 2147483647 h 363"/>
                  <a:gd name="T82" fmla="*/ 2147483647 w 401"/>
                  <a:gd name="T83" fmla="*/ 2147483647 h 363"/>
                  <a:gd name="T84" fmla="*/ 2147483647 w 401"/>
                  <a:gd name="T85" fmla="*/ 2147483647 h 363"/>
                  <a:gd name="T86" fmla="*/ 2147483647 w 401"/>
                  <a:gd name="T87" fmla="*/ 2147483647 h 363"/>
                  <a:gd name="T88" fmla="*/ 2147483647 w 401"/>
                  <a:gd name="T89" fmla="*/ 2147483647 h 363"/>
                  <a:gd name="T90" fmla="*/ 2147483647 w 401"/>
                  <a:gd name="T91" fmla="*/ 2147483647 h 363"/>
                  <a:gd name="T92" fmla="*/ 2147483647 w 401"/>
                  <a:gd name="T93" fmla="*/ 2147483647 h 363"/>
                  <a:gd name="T94" fmla="*/ 2147483647 w 401"/>
                  <a:gd name="T95" fmla="*/ 2147483647 h 363"/>
                  <a:gd name="T96" fmla="*/ 2147483647 w 401"/>
                  <a:gd name="T97" fmla="*/ 2147483647 h 363"/>
                  <a:gd name="T98" fmla="*/ 2147483647 w 401"/>
                  <a:gd name="T99" fmla="*/ 2147483647 h 363"/>
                  <a:gd name="T100" fmla="*/ 2147483647 w 401"/>
                  <a:gd name="T101" fmla="*/ 2147483647 h 363"/>
                  <a:gd name="T102" fmla="*/ 2147483647 w 401"/>
                  <a:gd name="T103" fmla="*/ 2147483647 h 363"/>
                  <a:gd name="T104" fmla="*/ 2147483647 w 401"/>
                  <a:gd name="T105" fmla="*/ 2147483647 h 363"/>
                  <a:gd name="T106" fmla="*/ 2147483647 w 401"/>
                  <a:gd name="T107" fmla="*/ 2147483647 h 363"/>
                  <a:gd name="T108" fmla="*/ 2147483647 w 401"/>
                  <a:gd name="T109" fmla="*/ 2147483647 h 363"/>
                  <a:gd name="T110" fmla="*/ 2147483647 w 401"/>
                  <a:gd name="T111" fmla="*/ 2147483647 h 363"/>
                  <a:gd name="T112" fmla="*/ 0 w 401"/>
                  <a:gd name="T113" fmla="*/ 2147483647 h 36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01"/>
                  <a:gd name="T172" fmla="*/ 0 h 363"/>
                  <a:gd name="T173" fmla="*/ 401 w 401"/>
                  <a:gd name="T174" fmla="*/ 363 h 363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01" h="363">
                    <a:moveTo>
                      <a:pt x="0" y="70"/>
                    </a:moveTo>
                    <a:lnTo>
                      <a:pt x="12" y="52"/>
                    </a:lnTo>
                    <a:lnTo>
                      <a:pt x="36" y="58"/>
                    </a:lnTo>
                    <a:lnTo>
                      <a:pt x="46" y="56"/>
                    </a:lnTo>
                    <a:lnTo>
                      <a:pt x="46" y="42"/>
                    </a:lnTo>
                    <a:lnTo>
                      <a:pt x="82" y="32"/>
                    </a:lnTo>
                    <a:lnTo>
                      <a:pt x="94" y="50"/>
                    </a:lnTo>
                    <a:lnTo>
                      <a:pt x="110" y="50"/>
                    </a:lnTo>
                    <a:lnTo>
                      <a:pt x="120" y="22"/>
                    </a:lnTo>
                    <a:lnTo>
                      <a:pt x="138" y="24"/>
                    </a:lnTo>
                    <a:lnTo>
                      <a:pt x="154" y="0"/>
                    </a:lnTo>
                    <a:lnTo>
                      <a:pt x="168" y="8"/>
                    </a:lnTo>
                    <a:lnTo>
                      <a:pt x="184" y="30"/>
                    </a:lnTo>
                    <a:lnTo>
                      <a:pt x="212" y="38"/>
                    </a:lnTo>
                    <a:lnTo>
                      <a:pt x="230" y="44"/>
                    </a:lnTo>
                    <a:lnTo>
                      <a:pt x="246" y="64"/>
                    </a:lnTo>
                    <a:lnTo>
                      <a:pt x="278" y="102"/>
                    </a:lnTo>
                    <a:lnTo>
                      <a:pt x="298" y="118"/>
                    </a:lnTo>
                    <a:lnTo>
                      <a:pt x="298" y="150"/>
                    </a:lnTo>
                    <a:lnTo>
                      <a:pt x="318" y="166"/>
                    </a:lnTo>
                    <a:lnTo>
                      <a:pt x="338" y="178"/>
                    </a:lnTo>
                    <a:lnTo>
                      <a:pt x="342" y="200"/>
                    </a:lnTo>
                    <a:lnTo>
                      <a:pt x="360" y="216"/>
                    </a:lnTo>
                    <a:lnTo>
                      <a:pt x="366" y="232"/>
                    </a:lnTo>
                    <a:lnTo>
                      <a:pt x="398" y="230"/>
                    </a:lnTo>
                    <a:lnTo>
                      <a:pt x="400" y="266"/>
                    </a:lnTo>
                    <a:lnTo>
                      <a:pt x="358" y="264"/>
                    </a:lnTo>
                    <a:lnTo>
                      <a:pt x="350" y="272"/>
                    </a:lnTo>
                    <a:lnTo>
                      <a:pt x="360" y="296"/>
                    </a:lnTo>
                    <a:lnTo>
                      <a:pt x="346" y="312"/>
                    </a:lnTo>
                    <a:lnTo>
                      <a:pt x="344" y="348"/>
                    </a:lnTo>
                    <a:lnTo>
                      <a:pt x="334" y="362"/>
                    </a:lnTo>
                    <a:lnTo>
                      <a:pt x="302" y="348"/>
                    </a:lnTo>
                    <a:lnTo>
                      <a:pt x="288" y="344"/>
                    </a:lnTo>
                    <a:lnTo>
                      <a:pt x="274" y="356"/>
                    </a:lnTo>
                    <a:lnTo>
                      <a:pt x="258" y="350"/>
                    </a:lnTo>
                    <a:lnTo>
                      <a:pt x="258" y="344"/>
                    </a:lnTo>
                    <a:lnTo>
                      <a:pt x="200" y="344"/>
                    </a:lnTo>
                    <a:lnTo>
                      <a:pt x="178" y="340"/>
                    </a:lnTo>
                    <a:lnTo>
                      <a:pt x="180" y="318"/>
                    </a:lnTo>
                    <a:lnTo>
                      <a:pt x="168" y="304"/>
                    </a:lnTo>
                    <a:lnTo>
                      <a:pt x="170" y="296"/>
                    </a:lnTo>
                    <a:lnTo>
                      <a:pt x="138" y="296"/>
                    </a:lnTo>
                    <a:lnTo>
                      <a:pt x="140" y="270"/>
                    </a:lnTo>
                    <a:lnTo>
                      <a:pt x="158" y="254"/>
                    </a:lnTo>
                    <a:lnTo>
                      <a:pt x="152" y="222"/>
                    </a:lnTo>
                    <a:lnTo>
                      <a:pt x="124" y="204"/>
                    </a:lnTo>
                    <a:lnTo>
                      <a:pt x="118" y="174"/>
                    </a:lnTo>
                    <a:lnTo>
                      <a:pt x="86" y="166"/>
                    </a:lnTo>
                    <a:lnTo>
                      <a:pt x="92" y="152"/>
                    </a:lnTo>
                    <a:lnTo>
                      <a:pt x="96" y="124"/>
                    </a:lnTo>
                    <a:lnTo>
                      <a:pt x="66" y="126"/>
                    </a:lnTo>
                    <a:lnTo>
                      <a:pt x="60" y="108"/>
                    </a:lnTo>
                    <a:lnTo>
                      <a:pt x="34" y="98"/>
                    </a:lnTo>
                    <a:lnTo>
                      <a:pt x="20" y="82"/>
                    </a:lnTo>
                    <a:lnTo>
                      <a:pt x="2" y="80"/>
                    </a:lnTo>
                    <a:lnTo>
                      <a:pt x="0" y="7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56" name="Freeform 12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6226175" y="4068763"/>
                <a:ext cx="112713" cy="163512"/>
              </a:xfrm>
              <a:custGeom>
                <a:avLst/>
                <a:gdLst>
                  <a:gd name="T0" fmla="*/ 2147483647 w 69"/>
                  <a:gd name="T1" fmla="*/ 0 h 105"/>
                  <a:gd name="T2" fmla="*/ 2147483647 w 69"/>
                  <a:gd name="T3" fmla="*/ 2147483647 h 105"/>
                  <a:gd name="T4" fmla="*/ 2147483647 w 69"/>
                  <a:gd name="T5" fmla="*/ 2147483647 h 105"/>
                  <a:gd name="T6" fmla="*/ 2147483647 w 69"/>
                  <a:gd name="T7" fmla="*/ 2147483647 h 105"/>
                  <a:gd name="T8" fmla="*/ 2147483647 w 69"/>
                  <a:gd name="T9" fmla="*/ 2147483647 h 105"/>
                  <a:gd name="T10" fmla="*/ 2147483647 w 69"/>
                  <a:gd name="T11" fmla="*/ 2147483647 h 105"/>
                  <a:gd name="T12" fmla="*/ 2147483647 w 69"/>
                  <a:gd name="T13" fmla="*/ 2147483647 h 105"/>
                  <a:gd name="T14" fmla="*/ 0 w 69"/>
                  <a:gd name="T15" fmla="*/ 2147483647 h 105"/>
                  <a:gd name="T16" fmla="*/ 2147483647 w 69"/>
                  <a:gd name="T17" fmla="*/ 2147483647 h 105"/>
                  <a:gd name="T18" fmla="*/ 2147483647 w 69"/>
                  <a:gd name="T19" fmla="*/ 2147483647 h 105"/>
                  <a:gd name="T20" fmla="*/ 2147483647 w 69"/>
                  <a:gd name="T21" fmla="*/ 2147483647 h 105"/>
                  <a:gd name="T22" fmla="*/ 2147483647 w 69"/>
                  <a:gd name="T23" fmla="*/ 0 h 10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69"/>
                  <a:gd name="T37" fmla="*/ 0 h 105"/>
                  <a:gd name="T38" fmla="*/ 69 w 69"/>
                  <a:gd name="T39" fmla="*/ 105 h 10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69" h="105">
                    <a:moveTo>
                      <a:pt x="38" y="0"/>
                    </a:moveTo>
                    <a:lnTo>
                      <a:pt x="48" y="28"/>
                    </a:lnTo>
                    <a:lnTo>
                      <a:pt x="68" y="44"/>
                    </a:lnTo>
                    <a:lnTo>
                      <a:pt x="66" y="72"/>
                    </a:lnTo>
                    <a:lnTo>
                      <a:pt x="46" y="90"/>
                    </a:lnTo>
                    <a:lnTo>
                      <a:pt x="32" y="104"/>
                    </a:lnTo>
                    <a:lnTo>
                      <a:pt x="14" y="102"/>
                    </a:lnTo>
                    <a:lnTo>
                      <a:pt x="0" y="74"/>
                    </a:lnTo>
                    <a:lnTo>
                      <a:pt x="4" y="44"/>
                    </a:lnTo>
                    <a:lnTo>
                      <a:pt x="16" y="28"/>
                    </a:lnTo>
                    <a:lnTo>
                      <a:pt x="12" y="8"/>
                    </a:lnTo>
                    <a:lnTo>
                      <a:pt x="38" y="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57" name="Freeform 13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5919788" y="4183063"/>
                <a:ext cx="469900" cy="550862"/>
              </a:xfrm>
              <a:custGeom>
                <a:avLst/>
                <a:gdLst>
                  <a:gd name="T0" fmla="*/ 2147483647 w 285"/>
                  <a:gd name="T1" fmla="*/ 0 h 349"/>
                  <a:gd name="T2" fmla="*/ 2147483647 w 285"/>
                  <a:gd name="T3" fmla="*/ 2147483647 h 349"/>
                  <a:gd name="T4" fmla="*/ 2147483647 w 285"/>
                  <a:gd name="T5" fmla="*/ 2147483647 h 349"/>
                  <a:gd name="T6" fmla="*/ 2147483647 w 285"/>
                  <a:gd name="T7" fmla="*/ 2147483647 h 349"/>
                  <a:gd name="T8" fmla="*/ 2147483647 w 285"/>
                  <a:gd name="T9" fmla="*/ 2147483647 h 349"/>
                  <a:gd name="T10" fmla="*/ 2147483647 w 285"/>
                  <a:gd name="T11" fmla="*/ 2147483647 h 349"/>
                  <a:gd name="T12" fmla="*/ 2147483647 w 285"/>
                  <a:gd name="T13" fmla="*/ 2147483647 h 349"/>
                  <a:gd name="T14" fmla="*/ 2147483647 w 285"/>
                  <a:gd name="T15" fmla="*/ 2147483647 h 349"/>
                  <a:gd name="T16" fmla="*/ 2147483647 w 285"/>
                  <a:gd name="T17" fmla="*/ 2147483647 h 349"/>
                  <a:gd name="T18" fmla="*/ 0 w 285"/>
                  <a:gd name="T19" fmla="*/ 2147483647 h 349"/>
                  <a:gd name="T20" fmla="*/ 0 w 285"/>
                  <a:gd name="T21" fmla="*/ 2147483647 h 349"/>
                  <a:gd name="T22" fmla="*/ 0 w 285"/>
                  <a:gd name="T23" fmla="*/ 2147483647 h 349"/>
                  <a:gd name="T24" fmla="*/ 2147483647 w 285"/>
                  <a:gd name="T25" fmla="*/ 2147483647 h 349"/>
                  <a:gd name="T26" fmla="*/ 2147483647 w 285"/>
                  <a:gd name="T27" fmla="*/ 2147483647 h 349"/>
                  <a:gd name="T28" fmla="*/ 2147483647 w 285"/>
                  <a:gd name="T29" fmla="*/ 2147483647 h 349"/>
                  <a:gd name="T30" fmla="*/ 2147483647 w 285"/>
                  <a:gd name="T31" fmla="*/ 2147483647 h 349"/>
                  <a:gd name="T32" fmla="*/ 2147483647 w 285"/>
                  <a:gd name="T33" fmla="*/ 2147483647 h 349"/>
                  <a:gd name="T34" fmla="*/ 2147483647 w 285"/>
                  <a:gd name="T35" fmla="*/ 2147483647 h 349"/>
                  <a:gd name="T36" fmla="*/ 2147483647 w 285"/>
                  <a:gd name="T37" fmla="*/ 2147483647 h 349"/>
                  <a:gd name="T38" fmla="*/ 2147483647 w 285"/>
                  <a:gd name="T39" fmla="*/ 2147483647 h 349"/>
                  <a:gd name="T40" fmla="*/ 2147483647 w 285"/>
                  <a:gd name="T41" fmla="*/ 2147483647 h 349"/>
                  <a:gd name="T42" fmla="*/ 2147483647 w 285"/>
                  <a:gd name="T43" fmla="*/ 2147483647 h 349"/>
                  <a:gd name="T44" fmla="*/ 2147483647 w 285"/>
                  <a:gd name="T45" fmla="*/ 2147483647 h 349"/>
                  <a:gd name="T46" fmla="*/ 2147483647 w 285"/>
                  <a:gd name="T47" fmla="*/ 2147483647 h 349"/>
                  <a:gd name="T48" fmla="*/ 2147483647 w 285"/>
                  <a:gd name="T49" fmla="*/ 2147483647 h 349"/>
                  <a:gd name="T50" fmla="*/ 2147483647 w 285"/>
                  <a:gd name="T51" fmla="*/ 2147483647 h 349"/>
                  <a:gd name="T52" fmla="*/ 2147483647 w 285"/>
                  <a:gd name="T53" fmla="*/ 2147483647 h 349"/>
                  <a:gd name="T54" fmla="*/ 2147483647 w 285"/>
                  <a:gd name="T55" fmla="*/ 2147483647 h 349"/>
                  <a:gd name="T56" fmla="*/ 2147483647 w 285"/>
                  <a:gd name="T57" fmla="*/ 2147483647 h 349"/>
                  <a:gd name="T58" fmla="*/ 2147483647 w 285"/>
                  <a:gd name="T59" fmla="*/ 2147483647 h 349"/>
                  <a:gd name="T60" fmla="*/ 2147483647 w 285"/>
                  <a:gd name="T61" fmla="*/ 2147483647 h 349"/>
                  <a:gd name="T62" fmla="*/ 2147483647 w 285"/>
                  <a:gd name="T63" fmla="*/ 2147483647 h 349"/>
                  <a:gd name="T64" fmla="*/ 2147483647 w 285"/>
                  <a:gd name="T65" fmla="*/ 2147483647 h 349"/>
                  <a:gd name="T66" fmla="*/ 2147483647 w 285"/>
                  <a:gd name="T67" fmla="*/ 2147483647 h 349"/>
                  <a:gd name="T68" fmla="*/ 2147483647 w 285"/>
                  <a:gd name="T69" fmla="*/ 2147483647 h 349"/>
                  <a:gd name="T70" fmla="*/ 2147483647 w 285"/>
                  <a:gd name="T71" fmla="*/ 2147483647 h 349"/>
                  <a:gd name="T72" fmla="*/ 2147483647 w 285"/>
                  <a:gd name="T73" fmla="*/ 2147483647 h 349"/>
                  <a:gd name="T74" fmla="*/ 2147483647 w 285"/>
                  <a:gd name="T75" fmla="*/ 2147483647 h 349"/>
                  <a:gd name="T76" fmla="*/ 2147483647 w 285"/>
                  <a:gd name="T77" fmla="*/ 2147483647 h 349"/>
                  <a:gd name="T78" fmla="*/ 2147483647 w 285"/>
                  <a:gd name="T79" fmla="*/ 2147483647 h 349"/>
                  <a:gd name="T80" fmla="*/ 2147483647 w 285"/>
                  <a:gd name="T81" fmla="*/ 2147483647 h 349"/>
                  <a:gd name="T82" fmla="*/ 2147483647 w 285"/>
                  <a:gd name="T83" fmla="*/ 0 h 349"/>
                  <a:gd name="T84" fmla="*/ 2147483647 w 285"/>
                  <a:gd name="T85" fmla="*/ 2147483647 h 349"/>
                  <a:gd name="T86" fmla="*/ 2147483647 w 285"/>
                  <a:gd name="T87" fmla="*/ 2147483647 h 349"/>
                  <a:gd name="T88" fmla="*/ 2147483647 w 285"/>
                  <a:gd name="T89" fmla="*/ 0 h 349"/>
                  <a:gd name="T90" fmla="*/ 2147483647 w 285"/>
                  <a:gd name="T91" fmla="*/ 0 h 349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85"/>
                  <a:gd name="T139" fmla="*/ 0 h 349"/>
                  <a:gd name="T140" fmla="*/ 285 w 285"/>
                  <a:gd name="T141" fmla="*/ 349 h 349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85" h="349">
                    <a:moveTo>
                      <a:pt x="78" y="0"/>
                    </a:moveTo>
                    <a:lnTo>
                      <a:pt x="80" y="28"/>
                    </a:lnTo>
                    <a:lnTo>
                      <a:pt x="80" y="72"/>
                    </a:lnTo>
                    <a:lnTo>
                      <a:pt x="64" y="88"/>
                    </a:lnTo>
                    <a:lnTo>
                      <a:pt x="36" y="84"/>
                    </a:lnTo>
                    <a:lnTo>
                      <a:pt x="36" y="128"/>
                    </a:lnTo>
                    <a:lnTo>
                      <a:pt x="26" y="132"/>
                    </a:lnTo>
                    <a:lnTo>
                      <a:pt x="24" y="150"/>
                    </a:lnTo>
                    <a:lnTo>
                      <a:pt x="16" y="162"/>
                    </a:lnTo>
                    <a:lnTo>
                      <a:pt x="0" y="162"/>
                    </a:lnTo>
                    <a:lnTo>
                      <a:pt x="0" y="216"/>
                    </a:lnTo>
                    <a:lnTo>
                      <a:pt x="0" y="238"/>
                    </a:lnTo>
                    <a:lnTo>
                      <a:pt x="14" y="240"/>
                    </a:lnTo>
                    <a:lnTo>
                      <a:pt x="28" y="256"/>
                    </a:lnTo>
                    <a:lnTo>
                      <a:pt x="52" y="268"/>
                    </a:lnTo>
                    <a:lnTo>
                      <a:pt x="54" y="294"/>
                    </a:lnTo>
                    <a:lnTo>
                      <a:pt x="58" y="316"/>
                    </a:lnTo>
                    <a:lnTo>
                      <a:pt x="70" y="318"/>
                    </a:lnTo>
                    <a:lnTo>
                      <a:pt x="72" y="340"/>
                    </a:lnTo>
                    <a:lnTo>
                      <a:pt x="100" y="340"/>
                    </a:lnTo>
                    <a:lnTo>
                      <a:pt x="98" y="330"/>
                    </a:lnTo>
                    <a:lnTo>
                      <a:pt x="122" y="328"/>
                    </a:lnTo>
                    <a:lnTo>
                      <a:pt x="128" y="346"/>
                    </a:lnTo>
                    <a:lnTo>
                      <a:pt x="162" y="348"/>
                    </a:lnTo>
                    <a:lnTo>
                      <a:pt x="186" y="348"/>
                    </a:lnTo>
                    <a:lnTo>
                      <a:pt x="206" y="328"/>
                    </a:lnTo>
                    <a:lnTo>
                      <a:pt x="206" y="294"/>
                    </a:lnTo>
                    <a:lnTo>
                      <a:pt x="220" y="266"/>
                    </a:lnTo>
                    <a:lnTo>
                      <a:pt x="264" y="258"/>
                    </a:lnTo>
                    <a:lnTo>
                      <a:pt x="270" y="196"/>
                    </a:lnTo>
                    <a:lnTo>
                      <a:pt x="262" y="166"/>
                    </a:lnTo>
                    <a:lnTo>
                      <a:pt x="272" y="148"/>
                    </a:lnTo>
                    <a:lnTo>
                      <a:pt x="284" y="114"/>
                    </a:lnTo>
                    <a:lnTo>
                      <a:pt x="276" y="76"/>
                    </a:lnTo>
                    <a:lnTo>
                      <a:pt x="242" y="74"/>
                    </a:lnTo>
                    <a:lnTo>
                      <a:pt x="224" y="70"/>
                    </a:lnTo>
                    <a:lnTo>
                      <a:pt x="204" y="68"/>
                    </a:lnTo>
                    <a:lnTo>
                      <a:pt x="202" y="48"/>
                    </a:lnTo>
                    <a:lnTo>
                      <a:pt x="208" y="26"/>
                    </a:lnTo>
                    <a:lnTo>
                      <a:pt x="188" y="6"/>
                    </a:lnTo>
                    <a:lnTo>
                      <a:pt x="174" y="16"/>
                    </a:lnTo>
                    <a:lnTo>
                      <a:pt x="132" y="0"/>
                    </a:lnTo>
                    <a:lnTo>
                      <a:pt x="118" y="12"/>
                    </a:lnTo>
                    <a:lnTo>
                      <a:pt x="106" y="10"/>
                    </a:lnTo>
                    <a:lnTo>
                      <a:pt x="98" y="0"/>
                    </a:lnTo>
                    <a:lnTo>
                      <a:pt x="78" y="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58" name="Freeform 14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5473700" y="3689350"/>
                <a:ext cx="584200" cy="781050"/>
              </a:xfrm>
              <a:custGeom>
                <a:avLst/>
                <a:gdLst>
                  <a:gd name="T0" fmla="*/ 2147483647 w 357"/>
                  <a:gd name="T1" fmla="*/ 2147483647 h 495"/>
                  <a:gd name="T2" fmla="*/ 2147483647 w 357"/>
                  <a:gd name="T3" fmla="*/ 2147483647 h 495"/>
                  <a:gd name="T4" fmla="*/ 2147483647 w 357"/>
                  <a:gd name="T5" fmla="*/ 2147483647 h 495"/>
                  <a:gd name="T6" fmla="*/ 2147483647 w 357"/>
                  <a:gd name="T7" fmla="*/ 2147483647 h 495"/>
                  <a:gd name="T8" fmla="*/ 0 w 357"/>
                  <a:gd name="T9" fmla="*/ 2147483647 h 495"/>
                  <a:gd name="T10" fmla="*/ 2147483647 w 357"/>
                  <a:gd name="T11" fmla="*/ 2147483647 h 495"/>
                  <a:gd name="T12" fmla="*/ 2147483647 w 357"/>
                  <a:gd name="T13" fmla="*/ 2147483647 h 495"/>
                  <a:gd name="T14" fmla="*/ 2147483647 w 357"/>
                  <a:gd name="T15" fmla="*/ 2147483647 h 495"/>
                  <a:gd name="T16" fmla="*/ 2147483647 w 357"/>
                  <a:gd name="T17" fmla="*/ 2147483647 h 495"/>
                  <a:gd name="T18" fmla="*/ 2147483647 w 357"/>
                  <a:gd name="T19" fmla="*/ 2147483647 h 495"/>
                  <a:gd name="T20" fmla="*/ 2147483647 w 357"/>
                  <a:gd name="T21" fmla="*/ 2147483647 h 495"/>
                  <a:gd name="T22" fmla="*/ 2147483647 w 357"/>
                  <a:gd name="T23" fmla="*/ 2147483647 h 495"/>
                  <a:gd name="T24" fmla="*/ 2147483647 w 357"/>
                  <a:gd name="T25" fmla="*/ 2147483647 h 495"/>
                  <a:gd name="T26" fmla="*/ 2147483647 w 357"/>
                  <a:gd name="T27" fmla="*/ 2147483647 h 495"/>
                  <a:gd name="T28" fmla="*/ 2147483647 w 357"/>
                  <a:gd name="T29" fmla="*/ 2147483647 h 495"/>
                  <a:gd name="T30" fmla="*/ 2147483647 w 357"/>
                  <a:gd name="T31" fmla="*/ 2147483647 h 495"/>
                  <a:gd name="T32" fmla="*/ 2147483647 w 357"/>
                  <a:gd name="T33" fmla="*/ 2147483647 h 495"/>
                  <a:gd name="T34" fmla="*/ 2147483647 w 357"/>
                  <a:gd name="T35" fmla="*/ 2147483647 h 495"/>
                  <a:gd name="T36" fmla="*/ 2147483647 w 357"/>
                  <a:gd name="T37" fmla="*/ 2147483647 h 495"/>
                  <a:gd name="T38" fmla="*/ 2147483647 w 357"/>
                  <a:gd name="T39" fmla="*/ 2147483647 h 495"/>
                  <a:gd name="T40" fmla="*/ 2147483647 w 357"/>
                  <a:gd name="T41" fmla="*/ 2147483647 h 495"/>
                  <a:gd name="T42" fmla="*/ 2147483647 w 357"/>
                  <a:gd name="T43" fmla="*/ 2147483647 h 495"/>
                  <a:gd name="T44" fmla="*/ 2147483647 w 357"/>
                  <a:gd name="T45" fmla="*/ 2147483647 h 495"/>
                  <a:gd name="T46" fmla="*/ 2147483647 w 357"/>
                  <a:gd name="T47" fmla="*/ 2147483647 h 495"/>
                  <a:gd name="T48" fmla="*/ 2147483647 w 357"/>
                  <a:gd name="T49" fmla="*/ 2147483647 h 495"/>
                  <a:gd name="T50" fmla="*/ 2147483647 w 357"/>
                  <a:gd name="T51" fmla="*/ 2147483647 h 495"/>
                  <a:gd name="T52" fmla="*/ 2147483647 w 357"/>
                  <a:gd name="T53" fmla="*/ 2147483647 h 495"/>
                  <a:gd name="T54" fmla="*/ 2147483647 w 357"/>
                  <a:gd name="T55" fmla="*/ 2147483647 h 495"/>
                  <a:gd name="T56" fmla="*/ 2147483647 w 357"/>
                  <a:gd name="T57" fmla="*/ 2147483647 h 495"/>
                  <a:gd name="T58" fmla="*/ 2147483647 w 357"/>
                  <a:gd name="T59" fmla="*/ 2147483647 h 495"/>
                  <a:gd name="T60" fmla="*/ 2147483647 w 357"/>
                  <a:gd name="T61" fmla="*/ 2147483647 h 495"/>
                  <a:gd name="T62" fmla="*/ 2147483647 w 357"/>
                  <a:gd name="T63" fmla="*/ 2147483647 h 495"/>
                  <a:gd name="T64" fmla="*/ 2147483647 w 357"/>
                  <a:gd name="T65" fmla="*/ 2147483647 h 495"/>
                  <a:gd name="T66" fmla="*/ 2147483647 w 357"/>
                  <a:gd name="T67" fmla="*/ 0 h 495"/>
                  <a:gd name="T68" fmla="*/ 2147483647 w 357"/>
                  <a:gd name="T69" fmla="*/ 2147483647 h 495"/>
                  <a:gd name="T70" fmla="*/ 2147483647 w 357"/>
                  <a:gd name="T71" fmla="*/ 2147483647 h 495"/>
                  <a:gd name="T72" fmla="*/ 2147483647 w 357"/>
                  <a:gd name="T73" fmla="*/ 2147483647 h 495"/>
                  <a:gd name="T74" fmla="*/ 2147483647 w 357"/>
                  <a:gd name="T75" fmla="*/ 2147483647 h 49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57"/>
                  <a:gd name="T115" fmla="*/ 0 h 495"/>
                  <a:gd name="T116" fmla="*/ 357 w 357"/>
                  <a:gd name="T117" fmla="*/ 495 h 49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57" h="495">
                    <a:moveTo>
                      <a:pt x="66" y="32"/>
                    </a:moveTo>
                    <a:lnTo>
                      <a:pt x="70" y="72"/>
                    </a:lnTo>
                    <a:lnTo>
                      <a:pt x="88" y="78"/>
                    </a:lnTo>
                    <a:lnTo>
                      <a:pt x="86" y="100"/>
                    </a:lnTo>
                    <a:lnTo>
                      <a:pt x="56" y="94"/>
                    </a:lnTo>
                    <a:lnTo>
                      <a:pt x="34" y="100"/>
                    </a:lnTo>
                    <a:lnTo>
                      <a:pt x="22" y="100"/>
                    </a:lnTo>
                    <a:lnTo>
                      <a:pt x="22" y="126"/>
                    </a:lnTo>
                    <a:lnTo>
                      <a:pt x="14" y="158"/>
                    </a:lnTo>
                    <a:lnTo>
                      <a:pt x="0" y="164"/>
                    </a:lnTo>
                    <a:lnTo>
                      <a:pt x="0" y="210"/>
                    </a:lnTo>
                    <a:lnTo>
                      <a:pt x="22" y="228"/>
                    </a:lnTo>
                    <a:lnTo>
                      <a:pt x="66" y="232"/>
                    </a:lnTo>
                    <a:lnTo>
                      <a:pt x="70" y="256"/>
                    </a:lnTo>
                    <a:lnTo>
                      <a:pt x="66" y="300"/>
                    </a:lnTo>
                    <a:lnTo>
                      <a:pt x="52" y="304"/>
                    </a:lnTo>
                    <a:lnTo>
                      <a:pt x="44" y="330"/>
                    </a:lnTo>
                    <a:lnTo>
                      <a:pt x="66" y="340"/>
                    </a:lnTo>
                    <a:lnTo>
                      <a:pt x="74" y="368"/>
                    </a:lnTo>
                    <a:lnTo>
                      <a:pt x="74" y="404"/>
                    </a:lnTo>
                    <a:lnTo>
                      <a:pt x="84" y="424"/>
                    </a:lnTo>
                    <a:lnTo>
                      <a:pt x="96" y="450"/>
                    </a:lnTo>
                    <a:lnTo>
                      <a:pt x="114" y="462"/>
                    </a:lnTo>
                    <a:lnTo>
                      <a:pt x="132" y="458"/>
                    </a:lnTo>
                    <a:lnTo>
                      <a:pt x="148" y="456"/>
                    </a:lnTo>
                    <a:lnTo>
                      <a:pt x="160" y="476"/>
                    </a:lnTo>
                    <a:lnTo>
                      <a:pt x="174" y="472"/>
                    </a:lnTo>
                    <a:lnTo>
                      <a:pt x="180" y="456"/>
                    </a:lnTo>
                    <a:lnTo>
                      <a:pt x="196" y="448"/>
                    </a:lnTo>
                    <a:lnTo>
                      <a:pt x="212" y="468"/>
                    </a:lnTo>
                    <a:lnTo>
                      <a:pt x="254" y="488"/>
                    </a:lnTo>
                    <a:lnTo>
                      <a:pt x="268" y="488"/>
                    </a:lnTo>
                    <a:lnTo>
                      <a:pt x="270" y="494"/>
                    </a:lnTo>
                    <a:lnTo>
                      <a:pt x="280" y="480"/>
                    </a:lnTo>
                    <a:lnTo>
                      <a:pt x="294" y="472"/>
                    </a:lnTo>
                    <a:lnTo>
                      <a:pt x="304" y="462"/>
                    </a:lnTo>
                    <a:lnTo>
                      <a:pt x="306" y="444"/>
                    </a:lnTo>
                    <a:lnTo>
                      <a:pt x="312" y="444"/>
                    </a:lnTo>
                    <a:lnTo>
                      <a:pt x="316" y="400"/>
                    </a:lnTo>
                    <a:lnTo>
                      <a:pt x="336" y="404"/>
                    </a:lnTo>
                    <a:lnTo>
                      <a:pt x="356" y="386"/>
                    </a:lnTo>
                    <a:lnTo>
                      <a:pt x="350" y="324"/>
                    </a:lnTo>
                    <a:lnTo>
                      <a:pt x="340" y="312"/>
                    </a:lnTo>
                    <a:lnTo>
                      <a:pt x="300" y="312"/>
                    </a:lnTo>
                    <a:lnTo>
                      <a:pt x="300" y="290"/>
                    </a:lnTo>
                    <a:lnTo>
                      <a:pt x="290" y="276"/>
                    </a:lnTo>
                    <a:lnTo>
                      <a:pt x="288" y="266"/>
                    </a:lnTo>
                    <a:lnTo>
                      <a:pt x="258" y="266"/>
                    </a:lnTo>
                    <a:lnTo>
                      <a:pt x="260" y="260"/>
                    </a:lnTo>
                    <a:lnTo>
                      <a:pt x="264" y="246"/>
                    </a:lnTo>
                    <a:lnTo>
                      <a:pt x="280" y="228"/>
                    </a:lnTo>
                    <a:lnTo>
                      <a:pt x="272" y="196"/>
                    </a:lnTo>
                    <a:lnTo>
                      <a:pt x="266" y="188"/>
                    </a:lnTo>
                    <a:lnTo>
                      <a:pt x="246" y="180"/>
                    </a:lnTo>
                    <a:lnTo>
                      <a:pt x="238" y="146"/>
                    </a:lnTo>
                    <a:lnTo>
                      <a:pt x="208" y="140"/>
                    </a:lnTo>
                    <a:lnTo>
                      <a:pt x="216" y="108"/>
                    </a:lnTo>
                    <a:lnTo>
                      <a:pt x="216" y="94"/>
                    </a:lnTo>
                    <a:lnTo>
                      <a:pt x="194" y="94"/>
                    </a:lnTo>
                    <a:lnTo>
                      <a:pt x="182" y="94"/>
                    </a:lnTo>
                    <a:lnTo>
                      <a:pt x="178" y="76"/>
                    </a:lnTo>
                    <a:lnTo>
                      <a:pt x="150" y="64"/>
                    </a:lnTo>
                    <a:lnTo>
                      <a:pt x="138" y="52"/>
                    </a:lnTo>
                    <a:lnTo>
                      <a:pt x="122" y="48"/>
                    </a:lnTo>
                    <a:lnTo>
                      <a:pt x="130" y="28"/>
                    </a:lnTo>
                    <a:lnTo>
                      <a:pt x="124" y="18"/>
                    </a:lnTo>
                    <a:lnTo>
                      <a:pt x="118" y="4"/>
                    </a:lnTo>
                    <a:lnTo>
                      <a:pt x="104" y="0"/>
                    </a:lnTo>
                    <a:lnTo>
                      <a:pt x="88" y="6"/>
                    </a:lnTo>
                    <a:lnTo>
                      <a:pt x="86" y="10"/>
                    </a:lnTo>
                    <a:lnTo>
                      <a:pt x="82" y="14"/>
                    </a:lnTo>
                    <a:lnTo>
                      <a:pt x="78" y="18"/>
                    </a:lnTo>
                    <a:lnTo>
                      <a:pt x="76" y="22"/>
                    </a:lnTo>
                    <a:lnTo>
                      <a:pt x="72" y="24"/>
                    </a:lnTo>
                    <a:lnTo>
                      <a:pt x="70" y="28"/>
                    </a:lnTo>
                    <a:lnTo>
                      <a:pt x="66" y="30"/>
                    </a:lnTo>
                    <a:lnTo>
                      <a:pt x="66" y="32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59" name="Freeform 15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886325" y="3516313"/>
                <a:ext cx="738188" cy="693737"/>
              </a:xfrm>
              <a:custGeom>
                <a:avLst/>
                <a:gdLst>
                  <a:gd name="T0" fmla="*/ 2147483647 w 451"/>
                  <a:gd name="T1" fmla="*/ 2147483647 h 441"/>
                  <a:gd name="T2" fmla="*/ 2147483647 w 451"/>
                  <a:gd name="T3" fmla="*/ 2147483647 h 441"/>
                  <a:gd name="T4" fmla="*/ 2147483647 w 451"/>
                  <a:gd name="T5" fmla="*/ 2147483647 h 441"/>
                  <a:gd name="T6" fmla="*/ 2147483647 w 451"/>
                  <a:gd name="T7" fmla="*/ 2147483647 h 441"/>
                  <a:gd name="T8" fmla="*/ 2147483647 w 451"/>
                  <a:gd name="T9" fmla="*/ 2147483647 h 441"/>
                  <a:gd name="T10" fmla="*/ 2147483647 w 451"/>
                  <a:gd name="T11" fmla="*/ 2147483647 h 441"/>
                  <a:gd name="T12" fmla="*/ 2147483647 w 451"/>
                  <a:gd name="T13" fmla="*/ 2147483647 h 441"/>
                  <a:gd name="T14" fmla="*/ 2147483647 w 451"/>
                  <a:gd name="T15" fmla="*/ 2147483647 h 441"/>
                  <a:gd name="T16" fmla="*/ 2147483647 w 451"/>
                  <a:gd name="T17" fmla="*/ 2147483647 h 441"/>
                  <a:gd name="T18" fmla="*/ 2147483647 w 451"/>
                  <a:gd name="T19" fmla="*/ 2147483647 h 441"/>
                  <a:gd name="T20" fmla="*/ 0 w 451"/>
                  <a:gd name="T21" fmla="*/ 2147483647 h 441"/>
                  <a:gd name="T22" fmla="*/ 2147483647 w 451"/>
                  <a:gd name="T23" fmla="*/ 2147483647 h 441"/>
                  <a:gd name="T24" fmla="*/ 2147483647 w 451"/>
                  <a:gd name="T25" fmla="*/ 2147483647 h 441"/>
                  <a:gd name="T26" fmla="*/ 2147483647 w 451"/>
                  <a:gd name="T27" fmla="*/ 2147483647 h 441"/>
                  <a:gd name="T28" fmla="*/ 2147483647 w 451"/>
                  <a:gd name="T29" fmla="*/ 2147483647 h 441"/>
                  <a:gd name="T30" fmla="*/ 2147483647 w 451"/>
                  <a:gd name="T31" fmla="*/ 2147483647 h 441"/>
                  <a:gd name="T32" fmla="*/ 2147483647 w 451"/>
                  <a:gd name="T33" fmla="*/ 2147483647 h 441"/>
                  <a:gd name="T34" fmla="*/ 2147483647 w 451"/>
                  <a:gd name="T35" fmla="*/ 2147483647 h 441"/>
                  <a:gd name="T36" fmla="*/ 2147483647 w 451"/>
                  <a:gd name="T37" fmla="*/ 2147483647 h 441"/>
                  <a:gd name="T38" fmla="*/ 2147483647 w 451"/>
                  <a:gd name="T39" fmla="*/ 2147483647 h 441"/>
                  <a:gd name="T40" fmla="*/ 2147483647 w 451"/>
                  <a:gd name="T41" fmla="*/ 2147483647 h 441"/>
                  <a:gd name="T42" fmla="*/ 2147483647 w 451"/>
                  <a:gd name="T43" fmla="*/ 2147483647 h 441"/>
                  <a:gd name="T44" fmla="*/ 2147483647 w 451"/>
                  <a:gd name="T45" fmla="*/ 2147483647 h 441"/>
                  <a:gd name="T46" fmla="*/ 2147483647 w 451"/>
                  <a:gd name="T47" fmla="*/ 2147483647 h 441"/>
                  <a:gd name="T48" fmla="*/ 2147483647 w 451"/>
                  <a:gd name="T49" fmla="*/ 2147483647 h 441"/>
                  <a:gd name="T50" fmla="*/ 2147483647 w 451"/>
                  <a:gd name="T51" fmla="*/ 2147483647 h 441"/>
                  <a:gd name="T52" fmla="*/ 2147483647 w 451"/>
                  <a:gd name="T53" fmla="*/ 2147483647 h 441"/>
                  <a:gd name="T54" fmla="*/ 2147483647 w 451"/>
                  <a:gd name="T55" fmla="*/ 2147483647 h 441"/>
                  <a:gd name="T56" fmla="*/ 2147483647 w 451"/>
                  <a:gd name="T57" fmla="*/ 2147483647 h 441"/>
                  <a:gd name="T58" fmla="*/ 2147483647 w 451"/>
                  <a:gd name="T59" fmla="*/ 2147483647 h 441"/>
                  <a:gd name="T60" fmla="*/ 2147483647 w 451"/>
                  <a:gd name="T61" fmla="*/ 2147483647 h 441"/>
                  <a:gd name="T62" fmla="*/ 2147483647 w 451"/>
                  <a:gd name="T63" fmla="*/ 2147483647 h 441"/>
                  <a:gd name="T64" fmla="*/ 2147483647 w 451"/>
                  <a:gd name="T65" fmla="*/ 2147483647 h 441"/>
                  <a:gd name="T66" fmla="*/ 2147483647 w 451"/>
                  <a:gd name="T67" fmla="*/ 2147483647 h 441"/>
                  <a:gd name="T68" fmla="*/ 2147483647 w 451"/>
                  <a:gd name="T69" fmla="*/ 2147483647 h 441"/>
                  <a:gd name="T70" fmla="*/ 2147483647 w 451"/>
                  <a:gd name="T71" fmla="*/ 2147483647 h 441"/>
                  <a:gd name="T72" fmla="*/ 2147483647 w 451"/>
                  <a:gd name="T73" fmla="*/ 2147483647 h 441"/>
                  <a:gd name="T74" fmla="*/ 2147483647 w 451"/>
                  <a:gd name="T75" fmla="*/ 2147483647 h 441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451"/>
                  <a:gd name="T115" fmla="*/ 0 h 441"/>
                  <a:gd name="T116" fmla="*/ 451 w 451"/>
                  <a:gd name="T117" fmla="*/ 441 h 441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451" h="441">
                    <a:moveTo>
                      <a:pt x="336" y="4"/>
                    </a:moveTo>
                    <a:lnTo>
                      <a:pt x="294" y="8"/>
                    </a:lnTo>
                    <a:lnTo>
                      <a:pt x="282" y="20"/>
                    </a:lnTo>
                    <a:lnTo>
                      <a:pt x="268" y="6"/>
                    </a:lnTo>
                    <a:lnTo>
                      <a:pt x="250" y="0"/>
                    </a:lnTo>
                    <a:lnTo>
                      <a:pt x="240" y="12"/>
                    </a:lnTo>
                    <a:lnTo>
                      <a:pt x="216" y="4"/>
                    </a:lnTo>
                    <a:lnTo>
                      <a:pt x="218" y="32"/>
                    </a:lnTo>
                    <a:lnTo>
                      <a:pt x="226" y="50"/>
                    </a:lnTo>
                    <a:lnTo>
                      <a:pt x="224" y="66"/>
                    </a:lnTo>
                    <a:lnTo>
                      <a:pt x="210" y="72"/>
                    </a:lnTo>
                    <a:lnTo>
                      <a:pt x="208" y="90"/>
                    </a:lnTo>
                    <a:lnTo>
                      <a:pt x="192" y="102"/>
                    </a:lnTo>
                    <a:lnTo>
                      <a:pt x="174" y="110"/>
                    </a:lnTo>
                    <a:lnTo>
                      <a:pt x="166" y="134"/>
                    </a:lnTo>
                    <a:lnTo>
                      <a:pt x="126" y="128"/>
                    </a:lnTo>
                    <a:lnTo>
                      <a:pt x="122" y="144"/>
                    </a:lnTo>
                    <a:lnTo>
                      <a:pt x="80" y="140"/>
                    </a:lnTo>
                    <a:lnTo>
                      <a:pt x="54" y="168"/>
                    </a:lnTo>
                    <a:lnTo>
                      <a:pt x="28" y="180"/>
                    </a:lnTo>
                    <a:lnTo>
                      <a:pt x="2" y="186"/>
                    </a:lnTo>
                    <a:lnTo>
                      <a:pt x="0" y="220"/>
                    </a:lnTo>
                    <a:lnTo>
                      <a:pt x="12" y="238"/>
                    </a:lnTo>
                    <a:lnTo>
                      <a:pt x="26" y="240"/>
                    </a:lnTo>
                    <a:lnTo>
                      <a:pt x="28" y="284"/>
                    </a:lnTo>
                    <a:lnTo>
                      <a:pt x="40" y="282"/>
                    </a:lnTo>
                    <a:lnTo>
                      <a:pt x="44" y="320"/>
                    </a:lnTo>
                    <a:lnTo>
                      <a:pt x="58" y="332"/>
                    </a:lnTo>
                    <a:lnTo>
                      <a:pt x="86" y="328"/>
                    </a:lnTo>
                    <a:lnTo>
                      <a:pt x="90" y="338"/>
                    </a:lnTo>
                    <a:lnTo>
                      <a:pt x="114" y="358"/>
                    </a:lnTo>
                    <a:lnTo>
                      <a:pt x="140" y="368"/>
                    </a:lnTo>
                    <a:lnTo>
                      <a:pt x="144" y="382"/>
                    </a:lnTo>
                    <a:lnTo>
                      <a:pt x="192" y="378"/>
                    </a:lnTo>
                    <a:lnTo>
                      <a:pt x="196" y="368"/>
                    </a:lnTo>
                    <a:lnTo>
                      <a:pt x="236" y="366"/>
                    </a:lnTo>
                    <a:lnTo>
                      <a:pt x="252" y="382"/>
                    </a:lnTo>
                    <a:lnTo>
                      <a:pt x="260" y="416"/>
                    </a:lnTo>
                    <a:lnTo>
                      <a:pt x="284" y="418"/>
                    </a:lnTo>
                    <a:lnTo>
                      <a:pt x="292" y="404"/>
                    </a:lnTo>
                    <a:lnTo>
                      <a:pt x="310" y="406"/>
                    </a:lnTo>
                    <a:lnTo>
                      <a:pt x="328" y="424"/>
                    </a:lnTo>
                    <a:lnTo>
                      <a:pt x="328" y="436"/>
                    </a:lnTo>
                    <a:lnTo>
                      <a:pt x="366" y="440"/>
                    </a:lnTo>
                    <a:lnTo>
                      <a:pt x="390" y="430"/>
                    </a:lnTo>
                    <a:lnTo>
                      <a:pt x="416" y="432"/>
                    </a:lnTo>
                    <a:lnTo>
                      <a:pt x="416" y="414"/>
                    </a:lnTo>
                    <a:lnTo>
                      <a:pt x="426" y="410"/>
                    </a:lnTo>
                    <a:lnTo>
                      <a:pt x="432" y="384"/>
                    </a:lnTo>
                    <a:lnTo>
                      <a:pt x="434" y="362"/>
                    </a:lnTo>
                    <a:lnTo>
                      <a:pt x="426" y="336"/>
                    </a:lnTo>
                    <a:lnTo>
                      <a:pt x="386" y="334"/>
                    </a:lnTo>
                    <a:lnTo>
                      <a:pt x="366" y="320"/>
                    </a:lnTo>
                    <a:lnTo>
                      <a:pt x="362" y="274"/>
                    </a:lnTo>
                    <a:lnTo>
                      <a:pt x="378" y="268"/>
                    </a:lnTo>
                    <a:lnTo>
                      <a:pt x="386" y="212"/>
                    </a:lnTo>
                    <a:lnTo>
                      <a:pt x="422" y="206"/>
                    </a:lnTo>
                    <a:lnTo>
                      <a:pt x="442" y="208"/>
                    </a:lnTo>
                    <a:lnTo>
                      <a:pt x="448" y="208"/>
                    </a:lnTo>
                    <a:lnTo>
                      <a:pt x="450" y="184"/>
                    </a:lnTo>
                    <a:lnTo>
                      <a:pt x="434" y="180"/>
                    </a:lnTo>
                    <a:lnTo>
                      <a:pt x="428" y="164"/>
                    </a:lnTo>
                    <a:lnTo>
                      <a:pt x="426" y="140"/>
                    </a:lnTo>
                    <a:lnTo>
                      <a:pt x="404" y="140"/>
                    </a:lnTo>
                    <a:lnTo>
                      <a:pt x="394" y="148"/>
                    </a:lnTo>
                    <a:lnTo>
                      <a:pt x="376" y="144"/>
                    </a:lnTo>
                    <a:lnTo>
                      <a:pt x="356" y="146"/>
                    </a:lnTo>
                    <a:lnTo>
                      <a:pt x="344" y="126"/>
                    </a:lnTo>
                    <a:lnTo>
                      <a:pt x="342" y="98"/>
                    </a:lnTo>
                    <a:lnTo>
                      <a:pt x="348" y="56"/>
                    </a:lnTo>
                    <a:lnTo>
                      <a:pt x="380" y="56"/>
                    </a:lnTo>
                    <a:lnTo>
                      <a:pt x="388" y="54"/>
                    </a:lnTo>
                    <a:lnTo>
                      <a:pt x="392" y="34"/>
                    </a:lnTo>
                    <a:lnTo>
                      <a:pt x="372" y="30"/>
                    </a:lnTo>
                    <a:lnTo>
                      <a:pt x="354" y="26"/>
                    </a:lnTo>
                    <a:lnTo>
                      <a:pt x="336" y="4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60" name="Freeform 16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830763" y="2897188"/>
                <a:ext cx="452437" cy="919162"/>
              </a:xfrm>
              <a:custGeom>
                <a:avLst/>
                <a:gdLst>
                  <a:gd name="T0" fmla="*/ 2147483647 w 277"/>
                  <a:gd name="T1" fmla="*/ 0 h 585"/>
                  <a:gd name="T2" fmla="*/ 2147483647 w 277"/>
                  <a:gd name="T3" fmla="*/ 2147483647 h 585"/>
                  <a:gd name="T4" fmla="*/ 2147483647 w 277"/>
                  <a:gd name="T5" fmla="*/ 2147483647 h 585"/>
                  <a:gd name="T6" fmla="*/ 2147483647 w 277"/>
                  <a:gd name="T7" fmla="*/ 2147483647 h 585"/>
                  <a:gd name="T8" fmla="*/ 2147483647 w 277"/>
                  <a:gd name="T9" fmla="*/ 2147483647 h 585"/>
                  <a:gd name="T10" fmla="*/ 2147483647 w 277"/>
                  <a:gd name="T11" fmla="*/ 2147483647 h 585"/>
                  <a:gd name="T12" fmla="*/ 2147483647 w 277"/>
                  <a:gd name="T13" fmla="*/ 2147483647 h 585"/>
                  <a:gd name="T14" fmla="*/ 2147483647 w 277"/>
                  <a:gd name="T15" fmla="*/ 2147483647 h 585"/>
                  <a:gd name="T16" fmla="*/ 2147483647 w 277"/>
                  <a:gd name="T17" fmla="*/ 2147483647 h 585"/>
                  <a:gd name="T18" fmla="*/ 2147483647 w 277"/>
                  <a:gd name="T19" fmla="*/ 2147483647 h 585"/>
                  <a:gd name="T20" fmla="*/ 2147483647 w 277"/>
                  <a:gd name="T21" fmla="*/ 2147483647 h 585"/>
                  <a:gd name="T22" fmla="*/ 2147483647 w 277"/>
                  <a:gd name="T23" fmla="*/ 2147483647 h 585"/>
                  <a:gd name="T24" fmla="*/ 2147483647 w 277"/>
                  <a:gd name="T25" fmla="*/ 2147483647 h 585"/>
                  <a:gd name="T26" fmla="*/ 2147483647 w 277"/>
                  <a:gd name="T27" fmla="*/ 2147483647 h 585"/>
                  <a:gd name="T28" fmla="*/ 2147483647 w 277"/>
                  <a:gd name="T29" fmla="*/ 2147483647 h 585"/>
                  <a:gd name="T30" fmla="*/ 2147483647 w 277"/>
                  <a:gd name="T31" fmla="*/ 2147483647 h 585"/>
                  <a:gd name="T32" fmla="*/ 2147483647 w 277"/>
                  <a:gd name="T33" fmla="*/ 2147483647 h 585"/>
                  <a:gd name="T34" fmla="*/ 2147483647 w 277"/>
                  <a:gd name="T35" fmla="*/ 2147483647 h 585"/>
                  <a:gd name="T36" fmla="*/ 2147483647 w 277"/>
                  <a:gd name="T37" fmla="*/ 2147483647 h 585"/>
                  <a:gd name="T38" fmla="*/ 2147483647 w 277"/>
                  <a:gd name="T39" fmla="*/ 2147483647 h 585"/>
                  <a:gd name="T40" fmla="*/ 2147483647 w 277"/>
                  <a:gd name="T41" fmla="*/ 2147483647 h 585"/>
                  <a:gd name="T42" fmla="*/ 2147483647 w 277"/>
                  <a:gd name="T43" fmla="*/ 2147483647 h 585"/>
                  <a:gd name="T44" fmla="*/ 2147483647 w 277"/>
                  <a:gd name="T45" fmla="*/ 2147483647 h 585"/>
                  <a:gd name="T46" fmla="*/ 2147483647 w 277"/>
                  <a:gd name="T47" fmla="*/ 2147483647 h 585"/>
                  <a:gd name="T48" fmla="*/ 2147483647 w 277"/>
                  <a:gd name="T49" fmla="*/ 2147483647 h 585"/>
                  <a:gd name="T50" fmla="*/ 2147483647 w 277"/>
                  <a:gd name="T51" fmla="*/ 2147483647 h 585"/>
                  <a:gd name="T52" fmla="*/ 2147483647 w 277"/>
                  <a:gd name="T53" fmla="*/ 2147483647 h 585"/>
                  <a:gd name="T54" fmla="*/ 2147483647 w 277"/>
                  <a:gd name="T55" fmla="*/ 2147483647 h 585"/>
                  <a:gd name="T56" fmla="*/ 2147483647 w 277"/>
                  <a:gd name="T57" fmla="*/ 2147483647 h 585"/>
                  <a:gd name="T58" fmla="*/ 2147483647 w 277"/>
                  <a:gd name="T59" fmla="*/ 2147483647 h 585"/>
                  <a:gd name="T60" fmla="*/ 2147483647 w 277"/>
                  <a:gd name="T61" fmla="*/ 2147483647 h 585"/>
                  <a:gd name="T62" fmla="*/ 2147483647 w 277"/>
                  <a:gd name="T63" fmla="*/ 2147483647 h 585"/>
                  <a:gd name="T64" fmla="*/ 2147483647 w 277"/>
                  <a:gd name="T65" fmla="*/ 2147483647 h 585"/>
                  <a:gd name="T66" fmla="*/ 2147483647 w 277"/>
                  <a:gd name="T67" fmla="*/ 2147483647 h 585"/>
                  <a:gd name="T68" fmla="*/ 2147483647 w 277"/>
                  <a:gd name="T69" fmla="*/ 2147483647 h 585"/>
                  <a:gd name="T70" fmla="*/ 2147483647 w 277"/>
                  <a:gd name="T71" fmla="*/ 2147483647 h 585"/>
                  <a:gd name="T72" fmla="*/ 2147483647 w 277"/>
                  <a:gd name="T73" fmla="*/ 2147483647 h 585"/>
                  <a:gd name="T74" fmla="*/ 0 w 277"/>
                  <a:gd name="T75" fmla="*/ 2147483647 h 585"/>
                  <a:gd name="T76" fmla="*/ 2147483647 w 277"/>
                  <a:gd name="T77" fmla="*/ 2147483647 h 585"/>
                  <a:gd name="T78" fmla="*/ 2147483647 w 277"/>
                  <a:gd name="T79" fmla="*/ 2147483647 h 585"/>
                  <a:gd name="T80" fmla="*/ 2147483647 w 277"/>
                  <a:gd name="T81" fmla="*/ 2147483647 h 585"/>
                  <a:gd name="T82" fmla="*/ 0 w 277"/>
                  <a:gd name="T83" fmla="*/ 2147483647 h 585"/>
                  <a:gd name="T84" fmla="*/ 2147483647 w 277"/>
                  <a:gd name="T85" fmla="*/ 2147483647 h 585"/>
                  <a:gd name="T86" fmla="*/ 2147483647 w 277"/>
                  <a:gd name="T87" fmla="*/ 2147483647 h 585"/>
                  <a:gd name="T88" fmla="*/ 2147483647 w 277"/>
                  <a:gd name="T89" fmla="*/ 2147483647 h 585"/>
                  <a:gd name="T90" fmla="*/ 2147483647 w 277"/>
                  <a:gd name="T91" fmla="*/ 2147483647 h 585"/>
                  <a:gd name="T92" fmla="*/ 2147483647 w 277"/>
                  <a:gd name="T93" fmla="*/ 2147483647 h 585"/>
                  <a:gd name="T94" fmla="*/ 2147483647 w 277"/>
                  <a:gd name="T95" fmla="*/ 2147483647 h 585"/>
                  <a:gd name="T96" fmla="*/ 2147483647 w 277"/>
                  <a:gd name="T97" fmla="*/ 2147483647 h 585"/>
                  <a:gd name="T98" fmla="*/ 2147483647 w 277"/>
                  <a:gd name="T99" fmla="*/ 2147483647 h 585"/>
                  <a:gd name="T100" fmla="*/ 2147483647 w 277"/>
                  <a:gd name="T101" fmla="*/ 2147483647 h 585"/>
                  <a:gd name="T102" fmla="*/ 2147483647 w 277"/>
                  <a:gd name="T103" fmla="*/ 2147483647 h 585"/>
                  <a:gd name="T104" fmla="*/ 2147483647 w 277"/>
                  <a:gd name="T105" fmla="*/ 2147483647 h 585"/>
                  <a:gd name="T106" fmla="*/ 2147483647 w 277"/>
                  <a:gd name="T107" fmla="*/ 2147483647 h 585"/>
                  <a:gd name="T108" fmla="*/ 2147483647 w 277"/>
                  <a:gd name="T109" fmla="*/ 2147483647 h 585"/>
                  <a:gd name="T110" fmla="*/ 2147483647 w 277"/>
                  <a:gd name="T111" fmla="*/ 2147483647 h 585"/>
                  <a:gd name="T112" fmla="*/ 2147483647 w 277"/>
                  <a:gd name="T113" fmla="*/ 2147483647 h 585"/>
                  <a:gd name="T114" fmla="*/ 2147483647 w 277"/>
                  <a:gd name="T115" fmla="*/ 2147483647 h 585"/>
                  <a:gd name="T116" fmla="*/ 2147483647 w 277"/>
                  <a:gd name="T117" fmla="*/ 2147483647 h 585"/>
                  <a:gd name="T118" fmla="*/ 2147483647 w 277"/>
                  <a:gd name="T119" fmla="*/ 2147483647 h 585"/>
                  <a:gd name="T120" fmla="*/ 2147483647 w 277"/>
                  <a:gd name="T121" fmla="*/ 2147483647 h 585"/>
                  <a:gd name="T122" fmla="*/ 2147483647 w 277"/>
                  <a:gd name="T123" fmla="*/ 0 h 58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77"/>
                  <a:gd name="T187" fmla="*/ 0 h 585"/>
                  <a:gd name="T188" fmla="*/ 277 w 277"/>
                  <a:gd name="T189" fmla="*/ 585 h 58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77" h="585">
                    <a:moveTo>
                      <a:pt x="240" y="0"/>
                    </a:moveTo>
                    <a:lnTo>
                      <a:pt x="254" y="4"/>
                    </a:lnTo>
                    <a:lnTo>
                      <a:pt x="266" y="20"/>
                    </a:lnTo>
                    <a:lnTo>
                      <a:pt x="268" y="52"/>
                    </a:lnTo>
                    <a:lnTo>
                      <a:pt x="250" y="54"/>
                    </a:lnTo>
                    <a:lnTo>
                      <a:pt x="254" y="72"/>
                    </a:lnTo>
                    <a:lnTo>
                      <a:pt x="268" y="98"/>
                    </a:lnTo>
                    <a:lnTo>
                      <a:pt x="276" y="140"/>
                    </a:lnTo>
                    <a:lnTo>
                      <a:pt x="272" y="154"/>
                    </a:lnTo>
                    <a:lnTo>
                      <a:pt x="244" y="170"/>
                    </a:lnTo>
                    <a:lnTo>
                      <a:pt x="238" y="206"/>
                    </a:lnTo>
                    <a:lnTo>
                      <a:pt x="238" y="252"/>
                    </a:lnTo>
                    <a:lnTo>
                      <a:pt x="250" y="266"/>
                    </a:lnTo>
                    <a:lnTo>
                      <a:pt x="262" y="270"/>
                    </a:lnTo>
                    <a:lnTo>
                      <a:pt x="264" y="318"/>
                    </a:lnTo>
                    <a:lnTo>
                      <a:pt x="240" y="352"/>
                    </a:lnTo>
                    <a:lnTo>
                      <a:pt x="236" y="380"/>
                    </a:lnTo>
                    <a:lnTo>
                      <a:pt x="238" y="398"/>
                    </a:lnTo>
                    <a:lnTo>
                      <a:pt x="250" y="404"/>
                    </a:lnTo>
                    <a:lnTo>
                      <a:pt x="252" y="430"/>
                    </a:lnTo>
                    <a:lnTo>
                      <a:pt x="258" y="446"/>
                    </a:lnTo>
                    <a:lnTo>
                      <a:pt x="252" y="466"/>
                    </a:lnTo>
                    <a:lnTo>
                      <a:pt x="242" y="472"/>
                    </a:lnTo>
                    <a:lnTo>
                      <a:pt x="234" y="494"/>
                    </a:lnTo>
                    <a:lnTo>
                      <a:pt x="202" y="508"/>
                    </a:lnTo>
                    <a:lnTo>
                      <a:pt x="196" y="528"/>
                    </a:lnTo>
                    <a:lnTo>
                      <a:pt x="160" y="524"/>
                    </a:lnTo>
                    <a:lnTo>
                      <a:pt x="152" y="544"/>
                    </a:lnTo>
                    <a:lnTo>
                      <a:pt x="116" y="536"/>
                    </a:lnTo>
                    <a:lnTo>
                      <a:pt x="84" y="566"/>
                    </a:lnTo>
                    <a:lnTo>
                      <a:pt x="34" y="584"/>
                    </a:lnTo>
                    <a:lnTo>
                      <a:pt x="10" y="582"/>
                    </a:lnTo>
                    <a:lnTo>
                      <a:pt x="10" y="526"/>
                    </a:lnTo>
                    <a:lnTo>
                      <a:pt x="22" y="510"/>
                    </a:lnTo>
                    <a:lnTo>
                      <a:pt x="18" y="486"/>
                    </a:lnTo>
                    <a:lnTo>
                      <a:pt x="10" y="468"/>
                    </a:lnTo>
                    <a:lnTo>
                      <a:pt x="10" y="386"/>
                    </a:lnTo>
                    <a:lnTo>
                      <a:pt x="0" y="374"/>
                    </a:lnTo>
                    <a:lnTo>
                      <a:pt x="8" y="356"/>
                    </a:lnTo>
                    <a:lnTo>
                      <a:pt x="18" y="358"/>
                    </a:lnTo>
                    <a:lnTo>
                      <a:pt x="18" y="296"/>
                    </a:lnTo>
                    <a:lnTo>
                      <a:pt x="0" y="266"/>
                    </a:lnTo>
                    <a:lnTo>
                      <a:pt x="2" y="250"/>
                    </a:lnTo>
                    <a:lnTo>
                      <a:pt x="8" y="234"/>
                    </a:lnTo>
                    <a:lnTo>
                      <a:pt x="24" y="214"/>
                    </a:lnTo>
                    <a:lnTo>
                      <a:pt x="36" y="216"/>
                    </a:lnTo>
                    <a:lnTo>
                      <a:pt x="36" y="196"/>
                    </a:lnTo>
                    <a:lnTo>
                      <a:pt x="40" y="160"/>
                    </a:lnTo>
                    <a:lnTo>
                      <a:pt x="42" y="134"/>
                    </a:lnTo>
                    <a:lnTo>
                      <a:pt x="74" y="128"/>
                    </a:lnTo>
                    <a:lnTo>
                      <a:pt x="96" y="110"/>
                    </a:lnTo>
                    <a:lnTo>
                      <a:pt x="94" y="92"/>
                    </a:lnTo>
                    <a:lnTo>
                      <a:pt x="106" y="88"/>
                    </a:lnTo>
                    <a:lnTo>
                      <a:pt x="116" y="88"/>
                    </a:lnTo>
                    <a:lnTo>
                      <a:pt x="118" y="78"/>
                    </a:lnTo>
                    <a:lnTo>
                      <a:pt x="136" y="68"/>
                    </a:lnTo>
                    <a:lnTo>
                      <a:pt x="134" y="54"/>
                    </a:lnTo>
                    <a:lnTo>
                      <a:pt x="170" y="54"/>
                    </a:lnTo>
                    <a:lnTo>
                      <a:pt x="180" y="40"/>
                    </a:lnTo>
                    <a:lnTo>
                      <a:pt x="206" y="34"/>
                    </a:lnTo>
                    <a:lnTo>
                      <a:pt x="234" y="16"/>
                    </a:lnTo>
                    <a:lnTo>
                      <a:pt x="240" y="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61" name="Freeform 17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316413" y="3128963"/>
                <a:ext cx="644525" cy="1077912"/>
              </a:xfrm>
              <a:custGeom>
                <a:avLst/>
                <a:gdLst>
                  <a:gd name="T0" fmla="*/ 2147483647 w 393"/>
                  <a:gd name="T1" fmla="*/ 0 h 685"/>
                  <a:gd name="T2" fmla="*/ 2147483647 w 393"/>
                  <a:gd name="T3" fmla="*/ 2147483647 h 685"/>
                  <a:gd name="T4" fmla="*/ 2147483647 w 393"/>
                  <a:gd name="T5" fmla="*/ 2147483647 h 685"/>
                  <a:gd name="T6" fmla="*/ 2147483647 w 393"/>
                  <a:gd name="T7" fmla="*/ 2147483647 h 685"/>
                  <a:gd name="T8" fmla="*/ 2147483647 w 393"/>
                  <a:gd name="T9" fmla="*/ 2147483647 h 685"/>
                  <a:gd name="T10" fmla="*/ 2147483647 w 393"/>
                  <a:gd name="T11" fmla="*/ 2147483647 h 685"/>
                  <a:gd name="T12" fmla="*/ 2147483647 w 393"/>
                  <a:gd name="T13" fmla="*/ 2147483647 h 685"/>
                  <a:gd name="T14" fmla="*/ 2147483647 w 393"/>
                  <a:gd name="T15" fmla="*/ 2147483647 h 685"/>
                  <a:gd name="T16" fmla="*/ 2147483647 w 393"/>
                  <a:gd name="T17" fmla="*/ 2147483647 h 685"/>
                  <a:gd name="T18" fmla="*/ 2147483647 w 393"/>
                  <a:gd name="T19" fmla="*/ 2147483647 h 685"/>
                  <a:gd name="T20" fmla="*/ 2147483647 w 393"/>
                  <a:gd name="T21" fmla="*/ 2147483647 h 685"/>
                  <a:gd name="T22" fmla="*/ 2147483647 w 393"/>
                  <a:gd name="T23" fmla="*/ 2147483647 h 685"/>
                  <a:gd name="T24" fmla="*/ 2147483647 w 393"/>
                  <a:gd name="T25" fmla="*/ 2147483647 h 685"/>
                  <a:gd name="T26" fmla="*/ 2147483647 w 393"/>
                  <a:gd name="T27" fmla="*/ 2147483647 h 685"/>
                  <a:gd name="T28" fmla="*/ 2147483647 w 393"/>
                  <a:gd name="T29" fmla="*/ 2147483647 h 685"/>
                  <a:gd name="T30" fmla="*/ 2147483647 w 393"/>
                  <a:gd name="T31" fmla="*/ 2147483647 h 685"/>
                  <a:gd name="T32" fmla="*/ 2147483647 w 393"/>
                  <a:gd name="T33" fmla="*/ 2147483647 h 685"/>
                  <a:gd name="T34" fmla="*/ 2147483647 w 393"/>
                  <a:gd name="T35" fmla="*/ 2147483647 h 685"/>
                  <a:gd name="T36" fmla="*/ 2147483647 w 393"/>
                  <a:gd name="T37" fmla="*/ 2147483647 h 685"/>
                  <a:gd name="T38" fmla="*/ 2147483647 w 393"/>
                  <a:gd name="T39" fmla="*/ 2147483647 h 685"/>
                  <a:gd name="T40" fmla="*/ 2147483647 w 393"/>
                  <a:gd name="T41" fmla="*/ 2147483647 h 685"/>
                  <a:gd name="T42" fmla="*/ 0 w 393"/>
                  <a:gd name="T43" fmla="*/ 2147483647 h 685"/>
                  <a:gd name="T44" fmla="*/ 2147483647 w 393"/>
                  <a:gd name="T45" fmla="*/ 2147483647 h 685"/>
                  <a:gd name="T46" fmla="*/ 2147483647 w 393"/>
                  <a:gd name="T47" fmla="*/ 2147483647 h 685"/>
                  <a:gd name="T48" fmla="*/ 2147483647 w 393"/>
                  <a:gd name="T49" fmla="*/ 2147483647 h 685"/>
                  <a:gd name="T50" fmla="*/ 2147483647 w 393"/>
                  <a:gd name="T51" fmla="*/ 2147483647 h 685"/>
                  <a:gd name="T52" fmla="*/ 2147483647 w 393"/>
                  <a:gd name="T53" fmla="*/ 2147483647 h 685"/>
                  <a:gd name="T54" fmla="*/ 2147483647 w 393"/>
                  <a:gd name="T55" fmla="*/ 2147483647 h 685"/>
                  <a:gd name="T56" fmla="*/ 2147483647 w 393"/>
                  <a:gd name="T57" fmla="*/ 2147483647 h 685"/>
                  <a:gd name="T58" fmla="*/ 2147483647 w 393"/>
                  <a:gd name="T59" fmla="*/ 2147483647 h 685"/>
                  <a:gd name="T60" fmla="*/ 2147483647 w 393"/>
                  <a:gd name="T61" fmla="*/ 2147483647 h 685"/>
                  <a:gd name="T62" fmla="*/ 2147483647 w 393"/>
                  <a:gd name="T63" fmla="*/ 2147483647 h 685"/>
                  <a:gd name="T64" fmla="*/ 2147483647 w 393"/>
                  <a:gd name="T65" fmla="*/ 2147483647 h 685"/>
                  <a:gd name="T66" fmla="*/ 2147483647 w 393"/>
                  <a:gd name="T67" fmla="*/ 2147483647 h 685"/>
                  <a:gd name="T68" fmla="*/ 2147483647 w 393"/>
                  <a:gd name="T69" fmla="*/ 2147483647 h 685"/>
                  <a:gd name="T70" fmla="*/ 2147483647 w 393"/>
                  <a:gd name="T71" fmla="*/ 2147483647 h 685"/>
                  <a:gd name="T72" fmla="*/ 2147483647 w 393"/>
                  <a:gd name="T73" fmla="*/ 2147483647 h 685"/>
                  <a:gd name="T74" fmla="*/ 2147483647 w 393"/>
                  <a:gd name="T75" fmla="*/ 2147483647 h 685"/>
                  <a:gd name="T76" fmla="*/ 2147483647 w 393"/>
                  <a:gd name="T77" fmla="*/ 2147483647 h 685"/>
                  <a:gd name="T78" fmla="*/ 2147483647 w 393"/>
                  <a:gd name="T79" fmla="*/ 2147483647 h 685"/>
                  <a:gd name="T80" fmla="*/ 2147483647 w 393"/>
                  <a:gd name="T81" fmla="*/ 2147483647 h 685"/>
                  <a:gd name="T82" fmla="*/ 2147483647 w 393"/>
                  <a:gd name="T83" fmla="*/ 2147483647 h 685"/>
                  <a:gd name="T84" fmla="*/ 2147483647 w 393"/>
                  <a:gd name="T85" fmla="*/ 2147483647 h 685"/>
                  <a:gd name="T86" fmla="*/ 2147483647 w 393"/>
                  <a:gd name="T87" fmla="*/ 2147483647 h 685"/>
                  <a:gd name="T88" fmla="*/ 2147483647 w 393"/>
                  <a:gd name="T89" fmla="*/ 2147483647 h 685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393"/>
                  <a:gd name="T136" fmla="*/ 0 h 685"/>
                  <a:gd name="T137" fmla="*/ 393 w 393"/>
                  <a:gd name="T138" fmla="*/ 685 h 685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393" h="685">
                    <a:moveTo>
                      <a:pt x="356" y="8"/>
                    </a:moveTo>
                    <a:lnTo>
                      <a:pt x="322" y="0"/>
                    </a:lnTo>
                    <a:lnTo>
                      <a:pt x="290" y="8"/>
                    </a:lnTo>
                    <a:lnTo>
                      <a:pt x="276" y="32"/>
                    </a:lnTo>
                    <a:lnTo>
                      <a:pt x="256" y="40"/>
                    </a:lnTo>
                    <a:lnTo>
                      <a:pt x="248" y="52"/>
                    </a:lnTo>
                    <a:lnTo>
                      <a:pt x="242" y="72"/>
                    </a:lnTo>
                    <a:lnTo>
                      <a:pt x="232" y="80"/>
                    </a:lnTo>
                    <a:lnTo>
                      <a:pt x="232" y="110"/>
                    </a:lnTo>
                    <a:lnTo>
                      <a:pt x="214" y="126"/>
                    </a:lnTo>
                    <a:lnTo>
                      <a:pt x="210" y="162"/>
                    </a:lnTo>
                    <a:lnTo>
                      <a:pt x="190" y="162"/>
                    </a:lnTo>
                    <a:lnTo>
                      <a:pt x="184" y="170"/>
                    </a:lnTo>
                    <a:lnTo>
                      <a:pt x="160" y="160"/>
                    </a:lnTo>
                    <a:lnTo>
                      <a:pt x="148" y="144"/>
                    </a:lnTo>
                    <a:lnTo>
                      <a:pt x="122" y="146"/>
                    </a:lnTo>
                    <a:lnTo>
                      <a:pt x="104" y="176"/>
                    </a:lnTo>
                    <a:lnTo>
                      <a:pt x="98" y="198"/>
                    </a:lnTo>
                    <a:lnTo>
                      <a:pt x="86" y="202"/>
                    </a:lnTo>
                    <a:lnTo>
                      <a:pt x="88" y="230"/>
                    </a:lnTo>
                    <a:lnTo>
                      <a:pt x="104" y="236"/>
                    </a:lnTo>
                    <a:lnTo>
                      <a:pt x="112" y="252"/>
                    </a:lnTo>
                    <a:lnTo>
                      <a:pt x="122" y="260"/>
                    </a:lnTo>
                    <a:lnTo>
                      <a:pt x="156" y="258"/>
                    </a:lnTo>
                    <a:lnTo>
                      <a:pt x="176" y="272"/>
                    </a:lnTo>
                    <a:lnTo>
                      <a:pt x="192" y="284"/>
                    </a:lnTo>
                    <a:lnTo>
                      <a:pt x="198" y="308"/>
                    </a:lnTo>
                    <a:lnTo>
                      <a:pt x="190" y="318"/>
                    </a:lnTo>
                    <a:lnTo>
                      <a:pt x="190" y="366"/>
                    </a:lnTo>
                    <a:lnTo>
                      <a:pt x="170" y="368"/>
                    </a:lnTo>
                    <a:lnTo>
                      <a:pt x="168" y="382"/>
                    </a:lnTo>
                    <a:lnTo>
                      <a:pt x="140" y="378"/>
                    </a:lnTo>
                    <a:lnTo>
                      <a:pt x="136" y="404"/>
                    </a:lnTo>
                    <a:lnTo>
                      <a:pt x="124" y="418"/>
                    </a:lnTo>
                    <a:lnTo>
                      <a:pt x="104" y="404"/>
                    </a:lnTo>
                    <a:lnTo>
                      <a:pt x="42" y="410"/>
                    </a:lnTo>
                    <a:lnTo>
                      <a:pt x="44" y="440"/>
                    </a:lnTo>
                    <a:lnTo>
                      <a:pt x="54" y="446"/>
                    </a:lnTo>
                    <a:lnTo>
                      <a:pt x="44" y="462"/>
                    </a:lnTo>
                    <a:lnTo>
                      <a:pt x="46" y="488"/>
                    </a:lnTo>
                    <a:lnTo>
                      <a:pt x="44" y="524"/>
                    </a:lnTo>
                    <a:lnTo>
                      <a:pt x="24" y="536"/>
                    </a:lnTo>
                    <a:lnTo>
                      <a:pt x="2" y="536"/>
                    </a:lnTo>
                    <a:lnTo>
                      <a:pt x="0" y="580"/>
                    </a:lnTo>
                    <a:lnTo>
                      <a:pt x="10" y="604"/>
                    </a:lnTo>
                    <a:lnTo>
                      <a:pt x="20" y="620"/>
                    </a:lnTo>
                    <a:lnTo>
                      <a:pt x="38" y="626"/>
                    </a:lnTo>
                    <a:lnTo>
                      <a:pt x="46" y="612"/>
                    </a:lnTo>
                    <a:lnTo>
                      <a:pt x="60" y="604"/>
                    </a:lnTo>
                    <a:lnTo>
                      <a:pt x="78" y="608"/>
                    </a:lnTo>
                    <a:lnTo>
                      <a:pt x="84" y="628"/>
                    </a:lnTo>
                    <a:lnTo>
                      <a:pt x="142" y="626"/>
                    </a:lnTo>
                    <a:lnTo>
                      <a:pt x="156" y="648"/>
                    </a:lnTo>
                    <a:lnTo>
                      <a:pt x="170" y="660"/>
                    </a:lnTo>
                    <a:lnTo>
                      <a:pt x="216" y="656"/>
                    </a:lnTo>
                    <a:lnTo>
                      <a:pt x="240" y="672"/>
                    </a:lnTo>
                    <a:lnTo>
                      <a:pt x="240" y="684"/>
                    </a:lnTo>
                    <a:lnTo>
                      <a:pt x="286" y="684"/>
                    </a:lnTo>
                    <a:lnTo>
                      <a:pt x="296" y="666"/>
                    </a:lnTo>
                    <a:lnTo>
                      <a:pt x="282" y="660"/>
                    </a:lnTo>
                    <a:lnTo>
                      <a:pt x="284" y="638"/>
                    </a:lnTo>
                    <a:lnTo>
                      <a:pt x="298" y="620"/>
                    </a:lnTo>
                    <a:lnTo>
                      <a:pt x="324" y="614"/>
                    </a:lnTo>
                    <a:lnTo>
                      <a:pt x="322" y="594"/>
                    </a:lnTo>
                    <a:lnTo>
                      <a:pt x="314" y="576"/>
                    </a:lnTo>
                    <a:lnTo>
                      <a:pt x="294" y="562"/>
                    </a:lnTo>
                    <a:lnTo>
                      <a:pt x="304" y="550"/>
                    </a:lnTo>
                    <a:lnTo>
                      <a:pt x="332" y="554"/>
                    </a:lnTo>
                    <a:lnTo>
                      <a:pt x="386" y="558"/>
                    </a:lnTo>
                    <a:lnTo>
                      <a:pt x="392" y="552"/>
                    </a:lnTo>
                    <a:lnTo>
                      <a:pt x="390" y="526"/>
                    </a:lnTo>
                    <a:lnTo>
                      <a:pt x="378" y="524"/>
                    </a:lnTo>
                    <a:lnTo>
                      <a:pt x="374" y="486"/>
                    </a:lnTo>
                    <a:lnTo>
                      <a:pt x="358" y="478"/>
                    </a:lnTo>
                    <a:lnTo>
                      <a:pt x="348" y="460"/>
                    </a:lnTo>
                    <a:lnTo>
                      <a:pt x="350" y="432"/>
                    </a:lnTo>
                    <a:lnTo>
                      <a:pt x="328" y="428"/>
                    </a:lnTo>
                    <a:lnTo>
                      <a:pt x="324" y="374"/>
                    </a:lnTo>
                    <a:lnTo>
                      <a:pt x="340" y="360"/>
                    </a:lnTo>
                    <a:lnTo>
                      <a:pt x="326" y="314"/>
                    </a:lnTo>
                    <a:lnTo>
                      <a:pt x="326" y="236"/>
                    </a:lnTo>
                    <a:lnTo>
                      <a:pt x="316" y="222"/>
                    </a:lnTo>
                    <a:lnTo>
                      <a:pt x="326" y="208"/>
                    </a:lnTo>
                    <a:lnTo>
                      <a:pt x="336" y="212"/>
                    </a:lnTo>
                    <a:lnTo>
                      <a:pt x="332" y="140"/>
                    </a:lnTo>
                    <a:lnTo>
                      <a:pt x="314" y="114"/>
                    </a:lnTo>
                    <a:lnTo>
                      <a:pt x="318" y="90"/>
                    </a:lnTo>
                    <a:lnTo>
                      <a:pt x="338" y="70"/>
                    </a:lnTo>
                    <a:lnTo>
                      <a:pt x="350" y="68"/>
                    </a:lnTo>
                    <a:lnTo>
                      <a:pt x="356" y="8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62" name="Freeform 18"/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657725" y="3981450"/>
                <a:ext cx="992188" cy="592138"/>
              </a:xfrm>
              <a:custGeom>
                <a:avLst/>
                <a:gdLst>
                  <a:gd name="T0" fmla="*/ 2147483647 w 606"/>
                  <a:gd name="T1" fmla="*/ 2147483647 h 378"/>
                  <a:gd name="T2" fmla="*/ 2147483647 w 606"/>
                  <a:gd name="T3" fmla="*/ 2147483647 h 378"/>
                  <a:gd name="T4" fmla="*/ 2147483647 w 606"/>
                  <a:gd name="T5" fmla="*/ 2147483647 h 378"/>
                  <a:gd name="T6" fmla="*/ 2147483647 w 606"/>
                  <a:gd name="T7" fmla="*/ 2147483647 h 378"/>
                  <a:gd name="T8" fmla="*/ 2147483647 w 606"/>
                  <a:gd name="T9" fmla="*/ 2147483647 h 378"/>
                  <a:gd name="T10" fmla="*/ 2147483647 w 606"/>
                  <a:gd name="T11" fmla="*/ 2147483647 h 378"/>
                  <a:gd name="T12" fmla="*/ 2147483647 w 606"/>
                  <a:gd name="T13" fmla="*/ 2147483647 h 378"/>
                  <a:gd name="T14" fmla="*/ 2147483647 w 606"/>
                  <a:gd name="T15" fmla="*/ 2147483647 h 378"/>
                  <a:gd name="T16" fmla="*/ 2147483647 w 606"/>
                  <a:gd name="T17" fmla="*/ 2147483647 h 378"/>
                  <a:gd name="T18" fmla="*/ 2147483647 w 606"/>
                  <a:gd name="T19" fmla="*/ 2147483647 h 378"/>
                  <a:gd name="T20" fmla="*/ 2147483647 w 606"/>
                  <a:gd name="T21" fmla="*/ 2147483647 h 378"/>
                  <a:gd name="T22" fmla="*/ 2147483647 w 606"/>
                  <a:gd name="T23" fmla="*/ 2147483647 h 378"/>
                  <a:gd name="T24" fmla="*/ 2147483647 w 606"/>
                  <a:gd name="T25" fmla="*/ 2147483647 h 378"/>
                  <a:gd name="T26" fmla="*/ 2147483647 w 606"/>
                  <a:gd name="T27" fmla="*/ 0 h 378"/>
                  <a:gd name="T28" fmla="*/ 2147483647 w 606"/>
                  <a:gd name="T29" fmla="*/ 2147483647 h 378"/>
                  <a:gd name="T30" fmla="*/ 2147483647 w 606"/>
                  <a:gd name="T31" fmla="*/ 2147483647 h 378"/>
                  <a:gd name="T32" fmla="*/ 2147483647 w 606"/>
                  <a:gd name="T33" fmla="*/ 2147483647 h 378"/>
                  <a:gd name="T34" fmla="*/ 2147483647 w 606"/>
                  <a:gd name="T35" fmla="*/ 2147483647 h 378"/>
                  <a:gd name="T36" fmla="*/ 2147483647 w 606"/>
                  <a:gd name="T37" fmla="*/ 2147483647 h 378"/>
                  <a:gd name="T38" fmla="*/ 2147483647 w 606"/>
                  <a:gd name="T39" fmla="*/ 2147483647 h 378"/>
                  <a:gd name="T40" fmla="*/ 2147483647 w 606"/>
                  <a:gd name="T41" fmla="*/ 2147483647 h 378"/>
                  <a:gd name="T42" fmla="*/ 2147483647 w 606"/>
                  <a:gd name="T43" fmla="*/ 2147483647 h 378"/>
                  <a:gd name="T44" fmla="*/ 2147483647 w 606"/>
                  <a:gd name="T45" fmla="*/ 2147483647 h 378"/>
                  <a:gd name="T46" fmla="*/ 2147483647 w 606"/>
                  <a:gd name="T47" fmla="*/ 2147483647 h 378"/>
                  <a:gd name="T48" fmla="*/ 2147483647 w 606"/>
                  <a:gd name="T49" fmla="*/ 2147483647 h 378"/>
                  <a:gd name="T50" fmla="*/ 2147483647 w 606"/>
                  <a:gd name="T51" fmla="*/ 2147483647 h 378"/>
                  <a:gd name="T52" fmla="*/ 2147483647 w 606"/>
                  <a:gd name="T53" fmla="*/ 2147483647 h 378"/>
                  <a:gd name="T54" fmla="*/ 2147483647 w 606"/>
                  <a:gd name="T55" fmla="*/ 2147483647 h 378"/>
                  <a:gd name="T56" fmla="*/ 2147483647 w 606"/>
                  <a:gd name="T57" fmla="*/ 2147483647 h 378"/>
                  <a:gd name="T58" fmla="*/ 2147483647 w 606"/>
                  <a:gd name="T59" fmla="*/ 2147483647 h 378"/>
                  <a:gd name="T60" fmla="*/ 2147483647 w 606"/>
                  <a:gd name="T61" fmla="*/ 2147483647 h 378"/>
                  <a:gd name="T62" fmla="*/ 2147483647 w 606"/>
                  <a:gd name="T63" fmla="*/ 2147483647 h 378"/>
                  <a:gd name="T64" fmla="*/ 2147483647 w 606"/>
                  <a:gd name="T65" fmla="*/ 2147483647 h 378"/>
                  <a:gd name="T66" fmla="*/ 2147483647 w 606"/>
                  <a:gd name="T67" fmla="*/ 2147483647 h 378"/>
                  <a:gd name="T68" fmla="*/ 2147483647 w 606"/>
                  <a:gd name="T69" fmla="*/ 2147483647 h 378"/>
                  <a:gd name="T70" fmla="*/ 2147483647 w 606"/>
                  <a:gd name="T71" fmla="*/ 2147483647 h 378"/>
                  <a:gd name="T72" fmla="*/ 2147483647 w 606"/>
                  <a:gd name="T73" fmla="*/ 2147483647 h 378"/>
                  <a:gd name="T74" fmla="*/ 2147483647 w 606"/>
                  <a:gd name="T75" fmla="*/ 2147483647 h 378"/>
                  <a:gd name="T76" fmla="*/ 2147483647 w 606"/>
                  <a:gd name="T77" fmla="*/ 2147483647 h 378"/>
                  <a:gd name="T78" fmla="*/ 2147483647 w 606"/>
                  <a:gd name="T79" fmla="*/ 2147483647 h 378"/>
                  <a:gd name="T80" fmla="*/ 2147483647 w 606"/>
                  <a:gd name="T81" fmla="*/ 2147483647 h 37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606"/>
                  <a:gd name="T124" fmla="*/ 0 h 378"/>
                  <a:gd name="T125" fmla="*/ 606 w 606"/>
                  <a:gd name="T126" fmla="*/ 378 h 378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606" h="378">
                    <a:moveTo>
                      <a:pt x="606" y="270"/>
                    </a:moveTo>
                    <a:lnTo>
                      <a:pt x="598" y="262"/>
                    </a:lnTo>
                    <a:lnTo>
                      <a:pt x="574" y="218"/>
                    </a:lnTo>
                    <a:lnTo>
                      <a:pt x="576" y="192"/>
                    </a:lnTo>
                    <a:lnTo>
                      <a:pt x="570" y="164"/>
                    </a:lnTo>
                    <a:lnTo>
                      <a:pt x="550" y="144"/>
                    </a:lnTo>
                    <a:lnTo>
                      <a:pt x="536" y="130"/>
                    </a:lnTo>
                    <a:lnTo>
                      <a:pt x="510" y="136"/>
                    </a:lnTo>
                    <a:lnTo>
                      <a:pt x="496" y="142"/>
                    </a:lnTo>
                    <a:lnTo>
                      <a:pt x="470" y="138"/>
                    </a:lnTo>
                    <a:lnTo>
                      <a:pt x="468" y="126"/>
                    </a:lnTo>
                    <a:lnTo>
                      <a:pt x="452" y="110"/>
                    </a:lnTo>
                    <a:lnTo>
                      <a:pt x="432" y="104"/>
                    </a:lnTo>
                    <a:lnTo>
                      <a:pt x="416" y="118"/>
                    </a:lnTo>
                    <a:lnTo>
                      <a:pt x="396" y="116"/>
                    </a:lnTo>
                    <a:lnTo>
                      <a:pt x="394" y="90"/>
                    </a:lnTo>
                    <a:lnTo>
                      <a:pt x="376" y="68"/>
                    </a:lnTo>
                    <a:lnTo>
                      <a:pt x="334" y="68"/>
                    </a:lnTo>
                    <a:lnTo>
                      <a:pt x="324" y="80"/>
                    </a:lnTo>
                    <a:lnTo>
                      <a:pt x="286" y="84"/>
                    </a:lnTo>
                    <a:lnTo>
                      <a:pt x="280" y="66"/>
                    </a:lnTo>
                    <a:lnTo>
                      <a:pt x="250" y="58"/>
                    </a:lnTo>
                    <a:lnTo>
                      <a:pt x="230" y="38"/>
                    </a:lnTo>
                    <a:lnTo>
                      <a:pt x="224" y="28"/>
                    </a:lnTo>
                    <a:lnTo>
                      <a:pt x="200" y="34"/>
                    </a:lnTo>
                    <a:lnTo>
                      <a:pt x="178" y="14"/>
                    </a:lnTo>
                    <a:lnTo>
                      <a:pt x="138" y="12"/>
                    </a:lnTo>
                    <a:lnTo>
                      <a:pt x="94" y="0"/>
                    </a:lnTo>
                    <a:lnTo>
                      <a:pt x="80" y="18"/>
                    </a:lnTo>
                    <a:lnTo>
                      <a:pt x="90" y="30"/>
                    </a:lnTo>
                    <a:lnTo>
                      <a:pt x="104" y="44"/>
                    </a:lnTo>
                    <a:lnTo>
                      <a:pt x="112" y="72"/>
                    </a:lnTo>
                    <a:lnTo>
                      <a:pt x="96" y="74"/>
                    </a:lnTo>
                    <a:lnTo>
                      <a:pt x="78" y="84"/>
                    </a:lnTo>
                    <a:lnTo>
                      <a:pt x="70" y="100"/>
                    </a:lnTo>
                    <a:lnTo>
                      <a:pt x="66" y="116"/>
                    </a:lnTo>
                    <a:lnTo>
                      <a:pt x="74" y="130"/>
                    </a:lnTo>
                    <a:lnTo>
                      <a:pt x="86" y="136"/>
                    </a:lnTo>
                    <a:lnTo>
                      <a:pt x="120" y="134"/>
                    </a:lnTo>
                    <a:lnTo>
                      <a:pt x="116" y="174"/>
                    </a:lnTo>
                    <a:lnTo>
                      <a:pt x="126" y="196"/>
                    </a:lnTo>
                    <a:lnTo>
                      <a:pt x="114" y="216"/>
                    </a:lnTo>
                    <a:lnTo>
                      <a:pt x="90" y="232"/>
                    </a:lnTo>
                    <a:lnTo>
                      <a:pt x="66" y="240"/>
                    </a:lnTo>
                    <a:lnTo>
                      <a:pt x="48" y="258"/>
                    </a:lnTo>
                    <a:lnTo>
                      <a:pt x="10" y="260"/>
                    </a:lnTo>
                    <a:lnTo>
                      <a:pt x="0" y="304"/>
                    </a:lnTo>
                    <a:lnTo>
                      <a:pt x="16" y="338"/>
                    </a:lnTo>
                    <a:lnTo>
                      <a:pt x="36" y="364"/>
                    </a:lnTo>
                    <a:lnTo>
                      <a:pt x="62" y="378"/>
                    </a:lnTo>
                    <a:lnTo>
                      <a:pt x="74" y="376"/>
                    </a:lnTo>
                    <a:lnTo>
                      <a:pt x="82" y="348"/>
                    </a:lnTo>
                    <a:lnTo>
                      <a:pt x="104" y="342"/>
                    </a:lnTo>
                    <a:lnTo>
                      <a:pt x="108" y="332"/>
                    </a:lnTo>
                    <a:lnTo>
                      <a:pt x="156" y="332"/>
                    </a:lnTo>
                    <a:lnTo>
                      <a:pt x="162" y="312"/>
                    </a:lnTo>
                    <a:lnTo>
                      <a:pt x="136" y="298"/>
                    </a:lnTo>
                    <a:lnTo>
                      <a:pt x="146" y="288"/>
                    </a:lnTo>
                    <a:lnTo>
                      <a:pt x="186" y="288"/>
                    </a:lnTo>
                    <a:lnTo>
                      <a:pt x="192" y="304"/>
                    </a:lnTo>
                    <a:lnTo>
                      <a:pt x="266" y="302"/>
                    </a:lnTo>
                    <a:lnTo>
                      <a:pt x="280" y="328"/>
                    </a:lnTo>
                    <a:lnTo>
                      <a:pt x="304" y="334"/>
                    </a:lnTo>
                    <a:lnTo>
                      <a:pt x="324" y="334"/>
                    </a:lnTo>
                    <a:lnTo>
                      <a:pt x="334" y="306"/>
                    </a:lnTo>
                    <a:lnTo>
                      <a:pt x="344" y="308"/>
                    </a:lnTo>
                    <a:lnTo>
                      <a:pt x="352" y="332"/>
                    </a:lnTo>
                    <a:lnTo>
                      <a:pt x="372" y="332"/>
                    </a:lnTo>
                    <a:lnTo>
                      <a:pt x="378" y="310"/>
                    </a:lnTo>
                    <a:lnTo>
                      <a:pt x="404" y="302"/>
                    </a:lnTo>
                    <a:lnTo>
                      <a:pt x="402" y="338"/>
                    </a:lnTo>
                    <a:lnTo>
                      <a:pt x="416" y="350"/>
                    </a:lnTo>
                    <a:lnTo>
                      <a:pt x="436" y="352"/>
                    </a:lnTo>
                    <a:lnTo>
                      <a:pt x="460" y="330"/>
                    </a:lnTo>
                    <a:lnTo>
                      <a:pt x="480" y="324"/>
                    </a:lnTo>
                    <a:lnTo>
                      <a:pt x="502" y="332"/>
                    </a:lnTo>
                    <a:lnTo>
                      <a:pt x="514" y="318"/>
                    </a:lnTo>
                    <a:lnTo>
                      <a:pt x="512" y="304"/>
                    </a:lnTo>
                    <a:lnTo>
                      <a:pt x="538" y="308"/>
                    </a:lnTo>
                    <a:lnTo>
                      <a:pt x="544" y="294"/>
                    </a:lnTo>
                    <a:lnTo>
                      <a:pt x="578" y="290"/>
                    </a:lnTo>
                    <a:lnTo>
                      <a:pt x="594" y="288"/>
                    </a:lnTo>
                    <a:lnTo>
                      <a:pt x="606" y="27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63" name="Freeform 19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2824163" y="2636838"/>
                <a:ext cx="1822450" cy="1497012"/>
              </a:xfrm>
              <a:custGeom>
                <a:avLst/>
                <a:gdLst>
                  <a:gd name="T0" fmla="*/ 2147483647 w 1111"/>
                  <a:gd name="T1" fmla="*/ 2147483647 h 949"/>
                  <a:gd name="T2" fmla="*/ 2147483647 w 1111"/>
                  <a:gd name="T3" fmla="*/ 2147483647 h 949"/>
                  <a:gd name="T4" fmla="*/ 2147483647 w 1111"/>
                  <a:gd name="T5" fmla="*/ 2147483647 h 949"/>
                  <a:gd name="T6" fmla="*/ 2147483647 w 1111"/>
                  <a:gd name="T7" fmla="*/ 2147483647 h 949"/>
                  <a:gd name="T8" fmla="*/ 2147483647 w 1111"/>
                  <a:gd name="T9" fmla="*/ 2147483647 h 949"/>
                  <a:gd name="T10" fmla="*/ 2147483647 w 1111"/>
                  <a:gd name="T11" fmla="*/ 2147483647 h 949"/>
                  <a:gd name="T12" fmla="*/ 2147483647 w 1111"/>
                  <a:gd name="T13" fmla="*/ 2147483647 h 949"/>
                  <a:gd name="T14" fmla="*/ 2147483647 w 1111"/>
                  <a:gd name="T15" fmla="*/ 2147483647 h 949"/>
                  <a:gd name="T16" fmla="*/ 2147483647 w 1111"/>
                  <a:gd name="T17" fmla="*/ 2147483647 h 949"/>
                  <a:gd name="T18" fmla="*/ 2147483647 w 1111"/>
                  <a:gd name="T19" fmla="*/ 2147483647 h 949"/>
                  <a:gd name="T20" fmla="*/ 2147483647 w 1111"/>
                  <a:gd name="T21" fmla="*/ 2147483647 h 949"/>
                  <a:gd name="T22" fmla="*/ 2147483647 w 1111"/>
                  <a:gd name="T23" fmla="*/ 2147483647 h 949"/>
                  <a:gd name="T24" fmla="*/ 2147483647 w 1111"/>
                  <a:gd name="T25" fmla="*/ 2147483647 h 949"/>
                  <a:gd name="T26" fmla="*/ 2147483647 w 1111"/>
                  <a:gd name="T27" fmla="*/ 2147483647 h 949"/>
                  <a:gd name="T28" fmla="*/ 2147483647 w 1111"/>
                  <a:gd name="T29" fmla="*/ 2147483647 h 949"/>
                  <a:gd name="T30" fmla="*/ 2147483647 w 1111"/>
                  <a:gd name="T31" fmla="*/ 2147483647 h 949"/>
                  <a:gd name="T32" fmla="*/ 2147483647 w 1111"/>
                  <a:gd name="T33" fmla="*/ 2147483647 h 949"/>
                  <a:gd name="T34" fmla="*/ 2147483647 w 1111"/>
                  <a:gd name="T35" fmla="*/ 2147483647 h 949"/>
                  <a:gd name="T36" fmla="*/ 2147483647 w 1111"/>
                  <a:gd name="T37" fmla="*/ 2147483647 h 949"/>
                  <a:gd name="T38" fmla="*/ 2147483647 w 1111"/>
                  <a:gd name="T39" fmla="*/ 2147483647 h 949"/>
                  <a:gd name="T40" fmla="*/ 2147483647 w 1111"/>
                  <a:gd name="T41" fmla="*/ 2147483647 h 949"/>
                  <a:gd name="T42" fmla="*/ 2147483647 w 1111"/>
                  <a:gd name="T43" fmla="*/ 2147483647 h 949"/>
                  <a:gd name="T44" fmla="*/ 2147483647 w 1111"/>
                  <a:gd name="T45" fmla="*/ 2147483647 h 949"/>
                  <a:gd name="T46" fmla="*/ 2147483647 w 1111"/>
                  <a:gd name="T47" fmla="*/ 2147483647 h 949"/>
                  <a:gd name="T48" fmla="*/ 2147483647 w 1111"/>
                  <a:gd name="T49" fmla="*/ 2147483647 h 949"/>
                  <a:gd name="T50" fmla="*/ 2147483647 w 1111"/>
                  <a:gd name="T51" fmla="*/ 2147483647 h 949"/>
                  <a:gd name="T52" fmla="*/ 2147483647 w 1111"/>
                  <a:gd name="T53" fmla="*/ 2147483647 h 949"/>
                  <a:gd name="T54" fmla="*/ 2147483647 w 1111"/>
                  <a:gd name="T55" fmla="*/ 2147483647 h 949"/>
                  <a:gd name="T56" fmla="*/ 2147483647 w 1111"/>
                  <a:gd name="T57" fmla="*/ 2147483647 h 949"/>
                  <a:gd name="T58" fmla="*/ 2147483647 w 1111"/>
                  <a:gd name="T59" fmla="*/ 2147483647 h 949"/>
                  <a:gd name="T60" fmla="*/ 2147483647 w 1111"/>
                  <a:gd name="T61" fmla="*/ 2147483647 h 949"/>
                  <a:gd name="T62" fmla="*/ 2147483647 w 1111"/>
                  <a:gd name="T63" fmla="*/ 2147483647 h 949"/>
                  <a:gd name="T64" fmla="*/ 2147483647 w 1111"/>
                  <a:gd name="T65" fmla="*/ 2147483647 h 949"/>
                  <a:gd name="T66" fmla="*/ 2147483647 w 1111"/>
                  <a:gd name="T67" fmla="*/ 2147483647 h 949"/>
                  <a:gd name="T68" fmla="*/ 2147483647 w 1111"/>
                  <a:gd name="T69" fmla="*/ 2147483647 h 949"/>
                  <a:gd name="T70" fmla="*/ 2147483647 w 1111"/>
                  <a:gd name="T71" fmla="*/ 2147483647 h 949"/>
                  <a:gd name="T72" fmla="*/ 2147483647 w 1111"/>
                  <a:gd name="T73" fmla="*/ 2147483647 h 949"/>
                  <a:gd name="T74" fmla="*/ 2147483647 w 1111"/>
                  <a:gd name="T75" fmla="*/ 2147483647 h 949"/>
                  <a:gd name="T76" fmla="*/ 2147483647 w 1111"/>
                  <a:gd name="T77" fmla="*/ 2147483647 h 949"/>
                  <a:gd name="T78" fmla="*/ 2147483647 w 1111"/>
                  <a:gd name="T79" fmla="*/ 2147483647 h 949"/>
                  <a:gd name="T80" fmla="*/ 2147483647 w 1111"/>
                  <a:gd name="T81" fmla="*/ 2147483647 h 949"/>
                  <a:gd name="T82" fmla="*/ 2147483647 w 1111"/>
                  <a:gd name="T83" fmla="*/ 2147483647 h 949"/>
                  <a:gd name="T84" fmla="*/ 2147483647 w 1111"/>
                  <a:gd name="T85" fmla="*/ 2147483647 h 949"/>
                  <a:gd name="T86" fmla="*/ 2147483647 w 1111"/>
                  <a:gd name="T87" fmla="*/ 2147483647 h 949"/>
                  <a:gd name="T88" fmla="*/ 2147483647 w 1111"/>
                  <a:gd name="T89" fmla="*/ 2147483647 h 949"/>
                  <a:gd name="T90" fmla="*/ 2147483647 w 1111"/>
                  <a:gd name="T91" fmla="*/ 2147483647 h 949"/>
                  <a:gd name="T92" fmla="*/ 2147483647 w 1111"/>
                  <a:gd name="T93" fmla="*/ 2147483647 h 949"/>
                  <a:gd name="T94" fmla="*/ 2147483647 w 1111"/>
                  <a:gd name="T95" fmla="*/ 2147483647 h 94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111"/>
                  <a:gd name="T145" fmla="*/ 0 h 949"/>
                  <a:gd name="T146" fmla="*/ 1111 w 1111"/>
                  <a:gd name="T147" fmla="*/ 949 h 949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111" h="949">
                    <a:moveTo>
                      <a:pt x="1032" y="466"/>
                    </a:moveTo>
                    <a:lnTo>
                      <a:pt x="1020" y="458"/>
                    </a:lnTo>
                    <a:lnTo>
                      <a:pt x="1014" y="442"/>
                    </a:lnTo>
                    <a:lnTo>
                      <a:pt x="1010" y="430"/>
                    </a:lnTo>
                    <a:lnTo>
                      <a:pt x="988" y="432"/>
                    </a:lnTo>
                    <a:lnTo>
                      <a:pt x="976" y="422"/>
                    </a:lnTo>
                    <a:lnTo>
                      <a:pt x="978" y="386"/>
                    </a:lnTo>
                    <a:lnTo>
                      <a:pt x="978" y="360"/>
                    </a:lnTo>
                    <a:lnTo>
                      <a:pt x="968" y="350"/>
                    </a:lnTo>
                    <a:lnTo>
                      <a:pt x="964" y="334"/>
                    </a:lnTo>
                    <a:lnTo>
                      <a:pt x="960" y="320"/>
                    </a:lnTo>
                    <a:lnTo>
                      <a:pt x="952" y="322"/>
                    </a:lnTo>
                    <a:lnTo>
                      <a:pt x="938" y="340"/>
                    </a:lnTo>
                    <a:lnTo>
                      <a:pt x="934" y="356"/>
                    </a:lnTo>
                    <a:lnTo>
                      <a:pt x="920" y="376"/>
                    </a:lnTo>
                    <a:lnTo>
                      <a:pt x="910" y="404"/>
                    </a:lnTo>
                    <a:lnTo>
                      <a:pt x="906" y="418"/>
                    </a:lnTo>
                    <a:lnTo>
                      <a:pt x="892" y="422"/>
                    </a:lnTo>
                    <a:lnTo>
                      <a:pt x="884" y="444"/>
                    </a:lnTo>
                    <a:lnTo>
                      <a:pt x="872" y="454"/>
                    </a:lnTo>
                    <a:lnTo>
                      <a:pt x="868" y="474"/>
                    </a:lnTo>
                    <a:lnTo>
                      <a:pt x="850" y="480"/>
                    </a:lnTo>
                    <a:lnTo>
                      <a:pt x="834" y="486"/>
                    </a:lnTo>
                    <a:lnTo>
                      <a:pt x="814" y="494"/>
                    </a:lnTo>
                    <a:lnTo>
                      <a:pt x="802" y="498"/>
                    </a:lnTo>
                    <a:lnTo>
                      <a:pt x="780" y="504"/>
                    </a:lnTo>
                    <a:lnTo>
                      <a:pt x="762" y="488"/>
                    </a:lnTo>
                    <a:lnTo>
                      <a:pt x="750" y="474"/>
                    </a:lnTo>
                    <a:lnTo>
                      <a:pt x="734" y="474"/>
                    </a:lnTo>
                    <a:lnTo>
                      <a:pt x="730" y="452"/>
                    </a:lnTo>
                    <a:lnTo>
                      <a:pt x="734" y="438"/>
                    </a:lnTo>
                    <a:lnTo>
                      <a:pt x="738" y="424"/>
                    </a:lnTo>
                    <a:lnTo>
                      <a:pt x="754" y="414"/>
                    </a:lnTo>
                    <a:lnTo>
                      <a:pt x="750" y="394"/>
                    </a:lnTo>
                    <a:lnTo>
                      <a:pt x="776" y="380"/>
                    </a:lnTo>
                    <a:lnTo>
                      <a:pt x="776" y="362"/>
                    </a:lnTo>
                    <a:lnTo>
                      <a:pt x="762" y="338"/>
                    </a:lnTo>
                    <a:lnTo>
                      <a:pt x="738" y="332"/>
                    </a:lnTo>
                    <a:lnTo>
                      <a:pt x="722" y="338"/>
                    </a:lnTo>
                    <a:lnTo>
                      <a:pt x="716" y="344"/>
                    </a:lnTo>
                    <a:lnTo>
                      <a:pt x="648" y="344"/>
                    </a:lnTo>
                    <a:lnTo>
                      <a:pt x="630" y="342"/>
                    </a:lnTo>
                    <a:lnTo>
                      <a:pt x="628" y="350"/>
                    </a:lnTo>
                    <a:lnTo>
                      <a:pt x="630" y="366"/>
                    </a:lnTo>
                    <a:lnTo>
                      <a:pt x="636" y="380"/>
                    </a:lnTo>
                    <a:lnTo>
                      <a:pt x="626" y="388"/>
                    </a:lnTo>
                    <a:lnTo>
                      <a:pt x="600" y="392"/>
                    </a:lnTo>
                    <a:lnTo>
                      <a:pt x="590" y="372"/>
                    </a:lnTo>
                    <a:lnTo>
                      <a:pt x="578" y="364"/>
                    </a:lnTo>
                    <a:lnTo>
                      <a:pt x="556" y="366"/>
                    </a:lnTo>
                    <a:lnTo>
                      <a:pt x="556" y="338"/>
                    </a:lnTo>
                    <a:lnTo>
                      <a:pt x="538" y="326"/>
                    </a:lnTo>
                    <a:lnTo>
                      <a:pt x="534" y="312"/>
                    </a:lnTo>
                    <a:lnTo>
                      <a:pt x="514" y="296"/>
                    </a:lnTo>
                    <a:lnTo>
                      <a:pt x="500" y="276"/>
                    </a:lnTo>
                    <a:lnTo>
                      <a:pt x="482" y="266"/>
                    </a:lnTo>
                    <a:lnTo>
                      <a:pt x="478" y="246"/>
                    </a:lnTo>
                    <a:lnTo>
                      <a:pt x="492" y="238"/>
                    </a:lnTo>
                    <a:lnTo>
                      <a:pt x="504" y="230"/>
                    </a:lnTo>
                    <a:lnTo>
                      <a:pt x="506" y="204"/>
                    </a:lnTo>
                    <a:lnTo>
                      <a:pt x="514" y="200"/>
                    </a:lnTo>
                    <a:lnTo>
                      <a:pt x="510" y="188"/>
                    </a:lnTo>
                    <a:lnTo>
                      <a:pt x="500" y="180"/>
                    </a:lnTo>
                    <a:lnTo>
                      <a:pt x="484" y="186"/>
                    </a:lnTo>
                    <a:lnTo>
                      <a:pt x="430" y="188"/>
                    </a:lnTo>
                    <a:lnTo>
                      <a:pt x="416" y="196"/>
                    </a:lnTo>
                    <a:lnTo>
                      <a:pt x="396" y="206"/>
                    </a:lnTo>
                    <a:lnTo>
                      <a:pt x="380" y="200"/>
                    </a:lnTo>
                    <a:lnTo>
                      <a:pt x="384" y="176"/>
                    </a:lnTo>
                    <a:lnTo>
                      <a:pt x="394" y="176"/>
                    </a:lnTo>
                    <a:lnTo>
                      <a:pt x="396" y="164"/>
                    </a:lnTo>
                    <a:lnTo>
                      <a:pt x="370" y="142"/>
                    </a:lnTo>
                    <a:lnTo>
                      <a:pt x="356" y="118"/>
                    </a:lnTo>
                    <a:lnTo>
                      <a:pt x="346" y="74"/>
                    </a:lnTo>
                    <a:lnTo>
                      <a:pt x="334" y="36"/>
                    </a:lnTo>
                    <a:lnTo>
                      <a:pt x="324" y="14"/>
                    </a:lnTo>
                    <a:lnTo>
                      <a:pt x="320" y="0"/>
                    </a:lnTo>
                    <a:lnTo>
                      <a:pt x="270" y="0"/>
                    </a:lnTo>
                    <a:lnTo>
                      <a:pt x="256" y="12"/>
                    </a:lnTo>
                    <a:lnTo>
                      <a:pt x="248" y="44"/>
                    </a:lnTo>
                    <a:lnTo>
                      <a:pt x="232" y="66"/>
                    </a:lnTo>
                    <a:lnTo>
                      <a:pt x="220" y="80"/>
                    </a:lnTo>
                    <a:lnTo>
                      <a:pt x="212" y="68"/>
                    </a:lnTo>
                    <a:lnTo>
                      <a:pt x="188" y="68"/>
                    </a:lnTo>
                    <a:lnTo>
                      <a:pt x="182" y="78"/>
                    </a:lnTo>
                    <a:lnTo>
                      <a:pt x="144" y="88"/>
                    </a:lnTo>
                    <a:lnTo>
                      <a:pt x="112" y="110"/>
                    </a:lnTo>
                    <a:lnTo>
                      <a:pt x="100" y="138"/>
                    </a:lnTo>
                    <a:lnTo>
                      <a:pt x="78" y="140"/>
                    </a:lnTo>
                    <a:lnTo>
                      <a:pt x="68" y="158"/>
                    </a:lnTo>
                    <a:lnTo>
                      <a:pt x="64" y="188"/>
                    </a:lnTo>
                    <a:lnTo>
                      <a:pt x="32" y="190"/>
                    </a:lnTo>
                    <a:lnTo>
                      <a:pt x="8" y="196"/>
                    </a:lnTo>
                    <a:lnTo>
                      <a:pt x="0" y="222"/>
                    </a:lnTo>
                    <a:lnTo>
                      <a:pt x="6" y="252"/>
                    </a:lnTo>
                    <a:lnTo>
                      <a:pt x="6" y="278"/>
                    </a:lnTo>
                    <a:lnTo>
                      <a:pt x="10" y="294"/>
                    </a:lnTo>
                    <a:lnTo>
                      <a:pt x="48" y="294"/>
                    </a:lnTo>
                    <a:lnTo>
                      <a:pt x="76" y="288"/>
                    </a:lnTo>
                    <a:lnTo>
                      <a:pt x="106" y="292"/>
                    </a:lnTo>
                    <a:lnTo>
                      <a:pt x="134" y="302"/>
                    </a:lnTo>
                    <a:lnTo>
                      <a:pt x="170" y="328"/>
                    </a:lnTo>
                    <a:lnTo>
                      <a:pt x="202" y="334"/>
                    </a:lnTo>
                    <a:lnTo>
                      <a:pt x="232" y="358"/>
                    </a:lnTo>
                    <a:lnTo>
                      <a:pt x="262" y="358"/>
                    </a:lnTo>
                    <a:lnTo>
                      <a:pt x="284" y="332"/>
                    </a:lnTo>
                    <a:lnTo>
                      <a:pt x="300" y="308"/>
                    </a:lnTo>
                    <a:lnTo>
                      <a:pt x="312" y="310"/>
                    </a:lnTo>
                    <a:lnTo>
                      <a:pt x="324" y="332"/>
                    </a:lnTo>
                    <a:lnTo>
                      <a:pt x="354" y="336"/>
                    </a:lnTo>
                    <a:lnTo>
                      <a:pt x="374" y="334"/>
                    </a:lnTo>
                    <a:lnTo>
                      <a:pt x="386" y="324"/>
                    </a:lnTo>
                    <a:lnTo>
                      <a:pt x="410" y="328"/>
                    </a:lnTo>
                    <a:lnTo>
                      <a:pt x="438" y="344"/>
                    </a:lnTo>
                    <a:lnTo>
                      <a:pt x="448" y="364"/>
                    </a:lnTo>
                    <a:lnTo>
                      <a:pt x="458" y="378"/>
                    </a:lnTo>
                    <a:lnTo>
                      <a:pt x="488" y="376"/>
                    </a:lnTo>
                    <a:lnTo>
                      <a:pt x="492" y="362"/>
                    </a:lnTo>
                    <a:lnTo>
                      <a:pt x="504" y="380"/>
                    </a:lnTo>
                    <a:lnTo>
                      <a:pt x="514" y="412"/>
                    </a:lnTo>
                    <a:lnTo>
                      <a:pt x="558" y="436"/>
                    </a:lnTo>
                    <a:lnTo>
                      <a:pt x="590" y="460"/>
                    </a:lnTo>
                    <a:lnTo>
                      <a:pt x="598" y="474"/>
                    </a:lnTo>
                    <a:lnTo>
                      <a:pt x="626" y="468"/>
                    </a:lnTo>
                    <a:lnTo>
                      <a:pt x="650" y="484"/>
                    </a:lnTo>
                    <a:lnTo>
                      <a:pt x="662" y="528"/>
                    </a:lnTo>
                    <a:lnTo>
                      <a:pt x="662" y="556"/>
                    </a:lnTo>
                    <a:lnTo>
                      <a:pt x="678" y="576"/>
                    </a:lnTo>
                    <a:lnTo>
                      <a:pt x="680" y="608"/>
                    </a:lnTo>
                    <a:lnTo>
                      <a:pt x="698" y="616"/>
                    </a:lnTo>
                    <a:lnTo>
                      <a:pt x="690" y="628"/>
                    </a:lnTo>
                    <a:lnTo>
                      <a:pt x="682" y="640"/>
                    </a:lnTo>
                    <a:lnTo>
                      <a:pt x="670" y="668"/>
                    </a:lnTo>
                    <a:lnTo>
                      <a:pt x="648" y="670"/>
                    </a:lnTo>
                    <a:lnTo>
                      <a:pt x="644" y="708"/>
                    </a:lnTo>
                    <a:lnTo>
                      <a:pt x="604" y="718"/>
                    </a:lnTo>
                    <a:lnTo>
                      <a:pt x="606" y="770"/>
                    </a:lnTo>
                    <a:lnTo>
                      <a:pt x="582" y="780"/>
                    </a:lnTo>
                    <a:lnTo>
                      <a:pt x="550" y="780"/>
                    </a:lnTo>
                    <a:lnTo>
                      <a:pt x="552" y="806"/>
                    </a:lnTo>
                    <a:lnTo>
                      <a:pt x="584" y="810"/>
                    </a:lnTo>
                    <a:lnTo>
                      <a:pt x="600" y="812"/>
                    </a:lnTo>
                    <a:lnTo>
                      <a:pt x="620" y="822"/>
                    </a:lnTo>
                    <a:lnTo>
                      <a:pt x="650" y="838"/>
                    </a:lnTo>
                    <a:lnTo>
                      <a:pt x="654" y="816"/>
                    </a:lnTo>
                    <a:lnTo>
                      <a:pt x="654" y="794"/>
                    </a:lnTo>
                    <a:lnTo>
                      <a:pt x="676" y="784"/>
                    </a:lnTo>
                    <a:lnTo>
                      <a:pt x="692" y="790"/>
                    </a:lnTo>
                    <a:lnTo>
                      <a:pt x="694" y="806"/>
                    </a:lnTo>
                    <a:lnTo>
                      <a:pt x="716" y="816"/>
                    </a:lnTo>
                    <a:lnTo>
                      <a:pt x="722" y="832"/>
                    </a:lnTo>
                    <a:lnTo>
                      <a:pt x="760" y="834"/>
                    </a:lnTo>
                    <a:lnTo>
                      <a:pt x="782" y="866"/>
                    </a:lnTo>
                    <a:lnTo>
                      <a:pt x="800" y="870"/>
                    </a:lnTo>
                    <a:lnTo>
                      <a:pt x="800" y="902"/>
                    </a:lnTo>
                    <a:lnTo>
                      <a:pt x="810" y="918"/>
                    </a:lnTo>
                    <a:lnTo>
                      <a:pt x="818" y="944"/>
                    </a:lnTo>
                    <a:lnTo>
                      <a:pt x="834" y="948"/>
                    </a:lnTo>
                    <a:lnTo>
                      <a:pt x="858" y="946"/>
                    </a:lnTo>
                    <a:lnTo>
                      <a:pt x="870" y="936"/>
                    </a:lnTo>
                    <a:lnTo>
                      <a:pt x="872" y="918"/>
                    </a:lnTo>
                    <a:lnTo>
                      <a:pt x="904" y="912"/>
                    </a:lnTo>
                    <a:lnTo>
                      <a:pt x="918" y="900"/>
                    </a:lnTo>
                    <a:lnTo>
                      <a:pt x="912" y="882"/>
                    </a:lnTo>
                    <a:lnTo>
                      <a:pt x="914" y="870"/>
                    </a:lnTo>
                    <a:lnTo>
                      <a:pt x="918" y="852"/>
                    </a:lnTo>
                    <a:lnTo>
                      <a:pt x="938" y="852"/>
                    </a:lnTo>
                    <a:lnTo>
                      <a:pt x="958" y="836"/>
                    </a:lnTo>
                    <a:lnTo>
                      <a:pt x="958" y="776"/>
                    </a:lnTo>
                    <a:lnTo>
                      <a:pt x="964" y="762"/>
                    </a:lnTo>
                    <a:lnTo>
                      <a:pt x="958" y="748"/>
                    </a:lnTo>
                    <a:lnTo>
                      <a:pt x="956" y="730"/>
                    </a:lnTo>
                    <a:lnTo>
                      <a:pt x="958" y="724"/>
                    </a:lnTo>
                    <a:lnTo>
                      <a:pt x="1000" y="720"/>
                    </a:lnTo>
                    <a:lnTo>
                      <a:pt x="1012" y="720"/>
                    </a:lnTo>
                    <a:lnTo>
                      <a:pt x="1030" y="732"/>
                    </a:lnTo>
                    <a:lnTo>
                      <a:pt x="1048" y="720"/>
                    </a:lnTo>
                    <a:lnTo>
                      <a:pt x="1052" y="700"/>
                    </a:lnTo>
                    <a:lnTo>
                      <a:pt x="1062" y="692"/>
                    </a:lnTo>
                    <a:lnTo>
                      <a:pt x="1076" y="696"/>
                    </a:lnTo>
                    <a:lnTo>
                      <a:pt x="1084" y="682"/>
                    </a:lnTo>
                    <a:lnTo>
                      <a:pt x="1102" y="676"/>
                    </a:lnTo>
                    <a:lnTo>
                      <a:pt x="1104" y="626"/>
                    </a:lnTo>
                    <a:lnTo>
                      <a:pt x="1110" y="616"/>
                    </a:lnTo>
                    <a:lnTo>
                      <a:pt x="1106" y="592"/>
                    </a:lnTo>
                    <a:lnTo>
                      <a:pt x="1082" y="574"/>
                    </a:lnTo>
                    <a:lnTo>
                      <a:pt x="1064" y="568"/>
                    </a:lnTo>
                    <a:lnTo>
                      <a:pt x="1030" y="570"/>
                    </a:lnTo>
                    <a:lnTo>
                      <a:pt x="1016" y="546"/>
                    </a:lnTo>
                    <a:lnTo>
                      <a:pt x="1000" y="538"/>
                    </a:lnTo>
                    <a:lnTo>
                      <a:pt x="998" y="518"/>
                    </a:lnTo>
                    <a:lnTo>
                      <a:pt x="1012" y="514"/>
                    </a:lnTo>
                    <a:lnTo>
                      <a:pt x="1018" y="486"/>
                    </a:lnTo>
                    <a:lnTo>
                      <a:pt x="1032" y="46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64" name="Freeform 20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3289300" y="3865563"/>
                <a:ext cx="1577975" cy="1155700"/>
              </a:xfrm>
              <a:custGeom>
                <a:avLst/>
                <a:gdLst>
                  <a:gd name="T0" fmla="*/ 2147483647 w 963"/>
                  <a:gd name="T1" fmla="*/ 2147483647 h 735"/>
                  <a:gd name="T2" fmla="*/ 2147483647 w 963"/>
                  <a:gd name="T3" fmla="*/ 2147483647 h 735"/>
                  <a:gd name="T4" fmla="*/ 2147483647 w 963"/>
                  <a:gd name="T5" fmla="*/ 2147483647 h 735"/>
                  <a:gd name="T6" fmla="*/ 2147483647 w 963"/>
                  <a:gd name="T7" fmla="*/ 2147483647 h 735"/>
                  <a:gd name="T8" fmla="*/ 2147483647 w 963"/>
                  <a:gd name="T9" fmla="*/ 2147483647 h 735"/>
                  <a:gd name="T10" fmla="*/ 2147483647 w 963"/>
                  <a:gd name="T11" fmla="*/ 2147483647 h 735"/>
                  <a:gd name="T12" fmla="*/ 2147483647 w 963"/>
                  <a:gd name="T13" fmla="*/ 2147483647 h 735"/>
                  <a:gd name="T14" fmla="*/ 2147483647 w 963"/>
                  <a:gd name="T15" fmla="*/ 2147483647 h 735"/>
                  <a:gd name="T16" fmla="*/ 2147483647 w 963"/>
                  <a:gd name="T17" fmla="*/ 2147483647 h 735"/>
                  <a:gd name="T18" fmla="*/ 2147483647 w 963"/>
                  <a:gd name="T19" fmla="*/ 2147483647 h 735"/>
                  <a:gd name="T20" fmla="*/ 2147483647 w 963"/>
                  <a:gd name="T21" fmla="*/ 2147483647 h 735"/>
                  <a:gd name="T22" fmla="*/ 2147483647 w 963"/>
                  <a:gd name="T23" fmla="*/ 2147483647 h 735"/>
                  <a:gd name="T24" fmla="*/ 2147483647 w 963"/>
                  <a:gd name="T25" fmla="*/ 2147483647 h 735"/>
                  <a:gd name="T26" fmla="*/ 2147483647 w 963"/>
                  <a:gd name="T27" fmla="*/ 2147483647 h 735"/>
                  <a:gd name="T28" fmla="*/ 2147483647 w 963"/>
                  <a:gd name="T29" fmla="*/ 2147483647 h 735"/>
                  <a:gd name="T30" fmla="*/ 2147483647 w 963"/>
                  <a:gd name="T31" fmla="*/ 2147483647 h 735"/>
                  <a:gd name="T32" fmla="*/ 2147483647 w 963"/>
                  <a:gd name="T33" fmla="*/ 2147483647 h 735"/>
                  <a:gd name="T34" fmla="*/ 2147483647 w 963"/>
                  <a:gd name="T35" fmla="*/ 2147483647 h 735"/>
                  <a:gd name="T36" fmla="*/ 2147483647 w 963"/>
                  <a:gd name="T37" fmla="*/ 2147483647 h 735"/>
                  <a:gd name="T38" fmla="*/ 2147483647 w 963"/>
                  <a:gd name="T39" fmla="*/ 2147483647 h 735"/>
                  <a:gd name="T40" fmla="*/ 2147483647 w 963"/>
                  <a:gd name="T41" fmla="*/ 2147483647 h 735"/>
                  <a:gd name="T42" fmla="*/ 2147483647 w 963"/>
                  <a:gd name="T43" fmla="*/ 2147483647 h 735"/>
                  <a:gd name="T44" fmla="*/ 2147483647 w 963"/>
                  <a:gd name="T45" fmla="*/ 2147483647 h 735"/>
                  <a:gd name="T46" fmla="*/ 2147483647 w 963"/>
                  <a:gd name="T47" fmla="*/ 2147483647 h 735"/>
                  <a:gd name="T48" fmla="*/ 2147483647 w 963"/>
                  <a:gd name="T49" fmla="*/ 2147483647 h 735"/>
                  <a:gd name="T50" fmla="*/ 2147483647 w 963"/>
                  <a:gd name="T51" fmla="*/ 2147483647 h 735"/>
                  <a:gd name="T52" fmla="*/ 2147483647 w 963"/>
                  <a:gd name="T53" fmla="*/ 2147483647 h 735"/>
                  <a:gd name="T54" fmla="*/ 2147483647 w 963"/>
                  <a:gd name="T55" fmla="*/ 2147483647 h 735"/>
                  <a:gd name="T56" fmla="*/ 2147483647 w 963"/>
                  <a:gd name="T57" fmla="*/ 2147483647 h 735"/>
                  <a:gd name="T58" fmla="*/ 2147483647 w 963"/>
                  <a:gd name="T59" fmla="*/ 2147483647 h 735"/>
                  <a:gd name="T60" fmla="*/ 2147483647 w 963"/>
                  <a:gd name="T61" fmla="*/ 2147483647 h 735"/>
                  <a:gd name="T62" fmla="*/ 2147483647 w 963"/>
                  <a:gd name="T63" fmla="*/ 2147483647 h 735"/>
                  <a:gd name="T64" fmla="*/ 2147483647 w 963"/>
                  <a:gd name="T65" fmla="*/ 2147483647 h 735"/>
                  <a:gd name="T66" fmla="*/ 2147483647 w 963"/>
                  <a:gd name="T67" fmla="*/ 2147483647 h 735"/>
                  <a:gd name="T68" fmla="*/ 2147483647 w 963"/>
                  <a:gd name="T69" fmla="*/ 2147483647 h 735"/>
                  <a:gd name="T70" fmla="*/ 2147483647 w 963"/>
                  <a:gd name="T71" fmla="*/ 2147483647 h 735"/>
                  <a:gd name="T72" fmla="*/ 2147483647 w 963"/>
                  <a:gd name="T73" fmla="*/ 2147483647 h 735"/>
                  <a:gd name="T74" fmla="*/ 2147483647 w 963"/>
                  <a:gd name="T75" fmla="*/ 2147483647 h 735"/>
                  <a:gd name="T76" fmla="*/ 2147483647 w 963"/>
                  <a:gd name="T77" fmla="*/ 2147483647 h 735"/>
                  <a:gd name="T78" fmla="*/ 2147483647 w 963"/>
                  <a:gd name="T79" fmla="*/ 2147483647 h 735"/>
                  <a:gd name="T80" fmla="*/ 2147483647 w 963"/>
                  <a:gd name="T81" fmla="*/ 2147483647 h 735"/>
                  <a:gd name="T82" fmla="*/ 2147483647 w 963"/>
                  <a:gd name="T83" fmla="*/ 2147483647 h 735"/>
                  <a:gd name="T84" fmla="*/ 2147483647 w 963"/>
                  <a:gd name="T85" fmla="*/ 2147483647 h 735"/>
                  <a:gd name="T86" fmla="*/ 2147483647 w 963"/>
                  <a:gd name="T87" fmla="*/ 2147483647 h 735"/>
                  <a:gd name="T88" fmla="*/ 2147483647 w 963"/>
                  <a:gd name="T89" fmla="*/ 2147483647 h 735"/>
                  <a:gd name="T90" fmla="*/ 2147483647 w 963"/>
                  <a:gd name="T91" fmla="*/ 0 h 73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963"/>
                  <a:gd name="T139" fmla="*/ 0 h 735"/>
                  <a:gd name="T140" fmla="*/ 963 w 963"/>
                  <a:gd name="T141" fmla="*/ 735 h 735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963" h="735">
                    <a:moveTo>
                      <a:pt x="362" y="50"/>
                    </a:moveTo>
                    <a:lnTo>
                      <a:pt x="370" y="82"/>
                    </a:lnTo>
                    <a:lnTo>
                      <a:pt x="356" y="92"/>
                    </a:lnTo>
                    <a:lnTo>
                      <a:pt x="312" y="90"/>
                    </a:lnTo>
                    <a:lnTo>
                      <a:pt x="282" y="96"/>
                    </a:lnTo>
                    <a:lnTo>
                      <a:pt x="274" y="116"/>
                    </a:lnTo>
                    <a:lnTo>
                      <a:pt x="260" y="138"/>
                    </a:lnTo>
                    <a:lnTo>
                      <a:pt x="226" y="142"/>
                    </a:lnTo>
                    <a:lnTo>
                      <a:pt x="212" y="128"/>
                    </a:lnTo>
                    <a:lnTo>
                      <a:pt x="164" y="126"/>
                    </a:lnTo>
                    <a:lnTo>
                      <a:pt x="144" y="124"/>
                    </a:lnTo>
                    <a:lnTo>
                      <a:pt x="116" y="84"/>
                    </a:lnTo>
                    <a:lnTo>
                      <a:pt x="100" y="70"/>
                    </a:lnTo>
                    <a:lnTo>
                      <a:pt x="88" y="38"/>
                    </a:lnTo>
                    <a:lnTo>
                      <a:pt x="86" y="22"/>
                    </a:lnTo>
                    <a:lnTo>
                      <a:pt x="56" y="22"/>
                    </a:lnTo>
                    <a:lnTo>
                      <a:pt x="22" y="10"/>
                    </a:lnTo>
                    <a:lnTo>
                      <a:pt x="8" y="4"/>
                    </a:lnTo>
                    <a:lnTo>
                      <a:pt x="0" y="16"/>
                    </a:lnTo>
                    <a:lnTo>
                      <a:pt x="6" y="36"/>
                    </a:lnTo>
                    <a:lnTo>
                      <a:pt x="20" y="54"/>
                    </a:lnTo>
                    <a:lnTo>
                      <a:pt x="16" y="74"/>
                    </a:lnTo>
                    <a:lnTo>
                      <a:pt x="8" y="94"/>
                    </a:lnTo>
                    <a:lnTo>
                      <a:pt x="6" y="118"/>
                    </a:lnTo>
                    <a:lnTo>
                      <a:pt x="20" y="142"/>
                    </a:lnTo>
                    <a:lnTo>
                      <a:pt x="40" y="172"/>
                    </a:lnTo>
                    <a:lnTo>
                      <a:pt x="60" y="212"/>
                    </a:lnTo>
                    <a:lnTo>
                      <a:pt x="84" y="248"/>
                    </a:lnTo>
                    <a:lnTo>
                      <a:pt x="80" y="282"/>
                    </a:lnTo>
                    <a:lnTo>
                      <a:pt x="86" y="320"/>
                    </a:lnTo>
                    <a:lnTo>
                      <a:pt x="90" y="340"/>
                    </a:lnTo>
                    <a:lnTo>
                      <a:pt x="100" y="366"/>
                    </a:lnTo>
                    <a:lnTo>
                      <a:pt x="98" y="436"/>
                    </a:lnTo>
                    <a:lnTo>
                      <a:pt x="112" y="444"/>
                    </a:lnTo>
                    <a:lnTo>
                      <a:pt x="108" y="488"/>
                    </a:lnTo>
                    <a:lnTo>
                      <a:pt x="118" y="514"/>
                    </a:lnTo>
                    <a:lnTo>
                      <a:pt x="136" y="510"/>
                    </a:lnTo>
                    <a:lnTo>
                      <a:pt x="146" y="488"/>
                    </a:lnTo>
                    <a:lnTo>
                      <a:pt x="168" y="492"/>
                    </a:lnTo>
                    <a:lnTo>
                      <a:pt x="194" y="510"/>
                    </a:lnTo>
                    <a:lnTo>
                      <a:pt x="192" y="542"/>
                    </a:lnTo>
                    <a:lnTo>
                      <a:pt x="212" y="560"/>
                    </a:lnTo>
                    <a:lnTo>
                      <a:pt x="240" y="568"/>
                    </a:lnTo>
                    <a:lnTo>
                      <a:pt x="238" y="596"/>
                    </a:lnTo>
                    <a:lnTo>
                      <a:pt x="254" y="628"/>
                    </a:lnTo>
                    <a:lnTo>
                      <a:pt x="272" y="632"/>
                    </a:lnTo>
                    <a:lnTo>
                      <a:pt x="274" y="666"/>
                    </a:lnTo>
                    <a:lnTo>
                      <a:pt x="302" y="692"/>
                    </a:lnTo>
                    <a:lnTo>
                      <a:pt x="308" y="722"/>
                    </a:lnTo>
                    <a:lnTo>
                      <a:pt x="328" y="734"/>
                    </a:lnTo>
                    <a:lnTo>
                      <a:pt x="346" y="726"/>
                    </a:lnTo>
                    <a:lnTo>
                      <a:pt x="370" y="724"/>
                    </a:lnTo>
                    <a:lnTo>
                      <a:pt x="388" y="706"/>
                    </a:lnTo>
                    <a:lnTo>
                      <a:pt x="404" y="678"/>
                    </a:lnTo>
                    <a:lnTo>
                      <a:pt x="392" y="670"/>
                    </a:lnTo>
                    <a:lnTo>
                      <a:pt x="386" y="636"/>
                    </a:lnTo>
                    <a:lnTo>
                      <a:pt x="406" y="618"/>
                    </a:lnTo>
                    <a:lnTo>
                      <a:pt x="412" y="594"/>
                    </a:lnTo>
                    <a:lnTo>
                      <a:pt x="432" y="578"/>
                    </a:lnTo>
                    <a:lnTo>
                      <a:pt x="438" y="542"/>
                    </a:lnTo>
                    <a:lnTo>
                      <a:pt x="468" y="540"/>
                    </a:lnTo>
                    <a:lnTo>
                      <a:pt x="474" y="516"/>
                    </a:lnTo>
                    <a:lnTo>
                      <a:pt x="490" y="512"/>
                    </a:lnTo>
                    <a:lnTo>
                      <a:pt x="502" y="546"/>
                    </a:lnTo>
                    <a:lnTo>
                      <a:pt x="516" y="572"/>
                    </a:lnTo>
                    <a:lnTo>
                      <a:pt x="536" y="560"/>
                    </a:lnTo>
                    <a:lnTo>
                      <a:pt x="566" y="564"/>
                    </a:lnTo>
                    <a:lnTo>
                      <a:pt x="572" y="582"/>
                    </a:lnTo>
                    <a:lnTo>
                      <a:pt x="600" y="604"/>
                    </a:lnTo>
                    <a:lnTo>
                      <a:pt x="616" y="592"/>
                    </a:lnTo>
                    <a:lnTo>
                      <a:pt x="646" y="588"/>
                    </a:lnTo>
                    <a:lnTo>
                      <a:pt x="664" y="570"/>
                    </a:lnTo>
                    <a:lnTo>
                      <a:pt x="650" y="554"/>
                    </a:lnTo>
                    <a:lnTo>
                      <a:pt x="628" y="546"/>
                    </a:lnTo>
                    <a:lnTo>
                      <a:pt x="626" y="524"/>
                    </a:lnTo>
                    <a:lnTo>
                      <a:pt x="668" y="518"/>
                    </a:lnTo>
                    <a:lnTo>
                      <a:pt x="704" y="508"/>
                    </a:lnTo>
                    <a:lnTo>
                      <a:pt x="718" y="488"/>
                    </a:lnTo>
                    <a:lnTo>
                      <a:pt x="748" y="488"/>
                    </a:lnTo>
                    <a:lnTo>
                      <a:pt x="742" y="446"/>
                    </a:lnTo>
                    <a:lnTo>
                      <a:pt x="770" y="446"/>
                    </a:lnTo>
                    <a:lnTo>
                      <a:pt x="788" y="468"/>
                    </a:lnTo>
                    <a:lnTo>
                      <a:pt x="816" y="464"/>
                    </a:lnTo>
                    <a:lnTo>
                      <a:pt x="822" y="494"/>
                    </a:lnTo>
                    <a:lnTo>
                      <a:pt x="850" y="508"/>
                    </a:lnTo>
                    <a:lnTo>
                      <a:pt x="860" y="526"/>
                    </a:lnTo>
                    <a:lnTo>
                      <a:pt x="870" y="530"/>
                    </a:lnTo>
                    <a:lnTo>
                      <a:pt x="890" y="524"/>
                    </a:lnTo>
                    <a:lnTo>
                      <a:pt x="900" y="514"/>
                    </a:lnTo>
                    <a:lnTo>
                      <a:pt x="900" y="466"/>
                    </a:lnTo>
                    <a:lnTo>
                      <a:pt x="900" y="444"/>
                    </a:lnTo>
                    <a:lnTo>
                      <a:pt x="872" y="432"/>
                    </a:lnTo>
                    <a:lnTo>
                      <a:pt x="858" y="412"/>
                    </a:lnTo>
                    <a:lnTo>
                      <a:pt x="842" y="386"/>
                    </a:lnTo>
                    <a:lnTo>
                      <a:pt x="836" y="370"/>
                    </a:lnTo>
                    <a:lnTo>
                      <a:pt x="842" y="354"/>
                    </a:lnTo>
                    <a:lnTo>
                      <a:pt x="850" y="334"/>
                    </a:lnTo>
                    <a:lnTo>
                      <a:pt x="884" y="334"/>
                    </a:lnTo>
                    <a:lnTo>
                      <a:pt x="902" y="314"/>
                    </a:lnTo>
                    <a:lnTo>
                      <a:pt x="924" y="306"/>
                    </a:lnTo>
                    <a:lnTo>
                      <a:pt x="940" y="294"/>
                    </a:lnTo>
                    <a:lnTo>
                      <a:pt x="952" y="286"/>
                    </a:lnTo>
                    <a:lnTo>
                      <a:pt x="962" y="268"/>
                    </a:lnTo>
                    <a:lnTo>
                      <a:pt x="952" y="240"/>
                    </a:lnTo>
                    <a:lnTo>
                      <a:pt x="954" y="208"/>
                    </a:lnTo>
                    <a:lnTo>
                      <a:pt x="950" y="204"/>
                    </a:lnTo>
                    <a:lnTo>
                      <a:pt x="914" y="206"/>
                    </a:lnTo>
                    <a:lnTo>
                      <a:pt x="904" y="214"/>
                    </a:lnTo>
                    <a:lnTo>
                      <a:pt x="866" y="210"/>
                    </a:lnTo>
                    <a:lnTo>
                      <a:pt x="866" y="198"/>
                    </a:lnTo>
                    <a:lnTo>
                      <a:pt x="842" y="184"/>
                    </a:lnTo>
                    <a:lnTo>
                      <a:pt x="804" y="190"/>
                    </a:lnTo>
                    <a:lnTo>
                      <a:pt x="786" y="182"/>
                    </a:lnTo>
                    <a:lnTo>
                      <a:pt x="770" y="156"/>
                    </a:lnTo>
                    <a:lnTo>
                      <a:pt x="734" y="156"/>
                    </a:lnTo>
                    <a:lnTo>
                      <a:pt x="708" y="156"/>
                    </a:lnTo>
                    <a:lnTo>
                      <a:pt x="706" y="136"/>
                    </a:lnTo>
                    <a:lnTo>
                      <a:pt x="692" y="130"/>
                    </a:lnTo>
                    <a:lnTo>
                      <a:pt x="678" y="134"/>
                    </a:lnTo>
                    <a:lnTo>
                      <a:pt x="662" y="144"/>
                    </a:lnTo>
                    <a:lnTo>
                      <a:pt x="656" y="152"/>
                    </a:lnTo>
                    <a:lnTo>
                      <a:pt x="636" y="136"/>
                    </a:lnTo>
                    <a:lnTo>
                      <a:pt x="632" y="122"/>
                    </a:lnTo>
                    <a:lnTo>
                      <a:pt x="616" y="130"/>
                    </a:lnTo>
                    <a:lnTo>
                      <a:pt x="590" y="132"/>
                    </a:lnTo>
                    <a:lnTo>
                      <a:pt x="584" y="142"/>
                    </a:lnTo>
                    <a:lnTo>
                      <a:pt x="576" y="162"/>
                    </a:lnTo>
                    <a:lnTo>
                      <a:pt x="548" y="166"/>
                    </a:lnTo>
                    <a:lnTo>
                      <a:pt x="534" y="156"/>
                    </a:lnTo>
                    <a:lnTo>
                      <a:pt x="520" y="120"/>
                    </a:lnTo>
                    <a:lnTo>
                      <a:pt x="518" y="88"/>
                    </a:lnTo>
                    <a:lnTo>
                      <a:pt x="500" y="82"/>
                    </a:lnTo>
                    <a:lnTo>
                      <a:pt x="476" y="50"/>
                    </a:lnTo>
                    <a:lnTo>
                      <a:pt x="438" y="48"/>
                    </a:lnTo>
                    <a:lnTo>
                      <a:pt x="432" y="32"/>
                    </a:lnTo>
                    <a:lnTo>
                      <a:pt x="408" y="22"/>
                    </a:lnTo>
                    <a:lnTo>
                      <a:pt x="408" y="6"/>
                    </a:lnTo>
                    <a:lnTo>
                      <a:pt x="388" y="0"/>
                    </a:lnTo>
                    <a:lnTo>
                      <a:pt x="368" y="10"/>
                    </a:lnTo>
                    <a:lnTo>
                      <a:pt x="362" y="5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65" name="Freeform 21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029075" y="4565650"/>
                <a:ext cx="771525" cy="655638"/>
              </a:xfrm>
              <a:custGeom>
                <a:avLst/>
                <a:gdLst>
                  <a:gd name="T0" fmla="*/ 2147483647 w 471"/>
                  <a:gd name="T1" fmla="*/ 2147483647 h 417"/>
                  <a:gd name="T2" fmla="*/ 2147483647 w 471"/>
                  <a:gd name="T3" fmla="*/ 2147483647 h 417"/>
                  <a:gd name="T4" fmla="*/ 2147483647 w 471"/>
                  <a:gd name="T5" fmla="*/ 2147483647 h 417"/>
                  <a:gd name="T6" fmla="*/ 0 w 471"/>
                  <a:gd name="T7" fmla="*/ 2147483647 h 417"/>
                  <a:gd name="T8" fmla="*/ 2147483647 w 471"/>
                  <a:gd name="T9" fmla="*/ 2147483647 h 417"/>
                  <a:gd name="T10" fmla="*/ 2147483647 w 471"/>
                  <a:gd name="T11" fmla="*/ 2147483647 h 417"/>
                  <a:gd name="T12" fmla="*/ 2147483647 w 471"/>
                  <a:gd name="T13" fmla="*/ 2147483647 h 417"/>
                  <a:gd name="T14" fmla="*/ 2147483647 w 471"/>
                  <a:gd name="T15" fmla="*/ 2147483647 h 417"/>
                  <a:gd name="T16" fmla="*/ 2147483647 w 471"/>
                  <a:gd name="T17" fmla="*/ 2147483647 h 417"/>
                  <a:gd name="T18" fmla="*/ 2147483647 w 471"/>
                  <a:gd name="T19" fmla="*/ 2147483647 h 417"/>
                  <a:gd name="T20" fmla="*/ 2147483647 w 471"/>
                  <a:gd name="T21" fmla="*/ 2147483647 h 417"/>
                  <a:gd name="T22" fmla="*/ 2147483647 w 471"/>
                  <a:gd name="T23" fmla="*/ 2147483647 h 417"/>
                  <a:gd name="T24" fmla="*/ 2147483647 w 471"/>
                  <a:gd name="T25" fmla="*/ 2147483647 h 417"/>
                  <a:gd name="T26" fmla="*/ 2147483647 w 471"/>
                  <a:gd name="T27" fmla="*/ 2147483647 h 417"/>
                  <a:gd name="T28" fmla="*/ 2147483647 w 471"/>
                  <a:gd name="T29" fmla="*/ 2147483647 h 417"/>
                  <a:gd name="T30" fmla="*/ 2147483647 w 471"/>
                  <a:gd name="T31" fmla="*/ 2147483647 h 417"/>
                  <a:gd name="T32" fmla="*/ 2147483647 w 471"/>
                  <a:gd name="T33" fmla="*/ 2147483647 h 417"/>
                  <a:gd name="T34" fmla="*/ 2147483647 w 471"/>
                  <a:gd name="T35" fmla="*/ 2147483647 h 417"/>
                  <a:gd name="T36" fmla="*/ 2147483647 w 471"/>
                  <a:gd name="T37" fmla="*/ 2147483647 h 417"/>
                  <a:gd name="T38" fmla="*/ 2147483647 w 471"/>
                  <a:gd name="T39" fmla="*/ 2147483647 h 417"/>
                  <a:gd name="T40" fmla="*/ 2147483647 w 471"/>
                  <a:gd name="T41" fmla="*/ 2147483647 h 417"/>
                  <a:gd name="T42" fmla="*/ 2147483647 w 471"/>
                  <a:gd name="T43" fmla="*/ 2147483647 h 417"/>
                  <a:gd name="T44" fmla="*/ 2147483647 w 471"/>
                  <a:gd name="T45" fmla="*/ 2147483647 h 417"/>
                  <a:gd name="T46" fmla="*/ 2147483647 w 471"/>
                  <a:gd name="T47" fmla="*/ 2147483647 h 417"/>
                  <a:gd name="T48" fmla="*/ 2147483647 w 471"/>
                  <a:gd name="T49" fmla="*/ 2147483647 h 417"/>
                  <a:gd name="T50" fmla="*/ 2147483647 w 471"/>
                  <a:gd name="T51" fmla="*/ 2147483647 h 417"/>
                  <a:gd name="T52" fmla="*/ 2147483647 w 471"/>
                  <a:gd name="T53" fmla="*/ 2147483647 h 417"/>
                  <a:gd name="T54" fmla="*/ 2147483647 w 471"/>
                  <a:gd name="T55" fmla="*/ 2147483647 h 417"/>
                  <a:gd name="T56" fmla="*/ 2147483647 w 471"/>
                  <a:gd name="T57" fmla="*/ 0 h 417"/>
                  <a:gd name="T58" fmla="*/ 2147483647 w 471"/>
                  <a:gd name="T59" fmla="*/ 2147483647 h 417"/>
                  <a:gd name="T60" fmla="*/ 2147483647 w 471"/>
                  <a:gd name="T61" fmla="*/ 2147483647 h 417"/>
                  <a:gd name="T62" fmla="*/ 2147483647 w 471"/>
                  <a:gd name="T63" fmla="*/ 2147483647 h 417"/>
                  <a:gd name="T64" fmla="*/ 2147483647 w 471"/>
                  <a:gd name="T65" fmla="*/ 2147483647 h 417"/>
                  <a:gd name="T66" fmla="*/ 2147483647 w 471"/>
                  <a:gd name="T67" fmla="*/ 2147483647 h 417"/>
                  <a:gd name="T68" fmla="*/ 2147483647 w 471"/>
                  <a:gd name="T69" fmla="*/ 2147483647 h 417"/>
                  <a:gd name="T70" fmla="*/ 2147483647 w 471"/>
                  <a:gd name="T71" fmla="*/ 2147483647 h 417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71"/>
                  <a:gd name="T109" fmla="*/ 0 h 417"/>
                  <a:gd name="T110" fmla="*/ 471 w 471"/>
                  <a:gd name="T111" fmla="*/ 417 h 417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71" h="417">
                    <a:moveTo>
                      <a:pt x="138" y="146"/>
                    </a:moveTo>
                    <a:lnTo>
                      <a:pt x="138" y="164"/>
                    </a:lnTo>
                    <a:lnTo>
                      <a:pt x="108" y="180"/>
                    </a:lnTo>
                    <a:lnTo>
                      <a:pt x="64" y="178"/>
                    </a:lnTo>
                    <a:lnTo>
                      <a:pt x="44" y="176"/>
                    </a:lnTo>
                    <a:lnTo>
                      <a:pt x="16" y="180"/>
                    </a:lnTo>
                    <a:lnTo>
                      <a:pt x="2" y="200"/>
                    </a:lnTo>
                    <a:lnTo>
                      <a:pt x="0" y="246"/>
                    </a:lnTo>
                    <a:lnTo>
                      <a:pt x="12" y="268"/>
                    </a:lnTo>
                    <a:lnTo>
                      <a:pt x="26" y="260"/>
                    </a:lnTo>
                    <a:lnTo>
                      <a:pt x="24" y="244"/>
                    </a:lnTo>
                    <a:lnTo>
                      <a:pt x="48" y="242"/>
                    </a:lnTo>
                    <a:lnTo>
                      <a:pt x="64" y="248"/>
                    </a:lnTo>
                    <a:lnTo>
                      <a:pt x="76" y="274"/>
                    </a:lnTo>
                    <a:lnTo>
                      <a:pt x="68" y="294"/>
                    </a:lnTo>
                    <a:lnTo>
                      <a:pt x="62" y="316"/>
                    </a:lnTo>
                    <a:lnTo>
                      <a:pt x="68" y="342"/>
                    </a:lnTo>
                    <a:lnTo>
                      <a:pt x="70" y="412"/>
                    </a:lnTo>
                    <a:lnTo>
                      <a:pt x="96" y="416"/>
                    </a:lnTo>
                    <a:lnTo>
                      <a:pt x="96" y="398"/>
                    </a:lnTo>
                    <a:lnTo>
                      <a:pt x="122" y="394"/>
                    </a:lnTo>
                    <a:lnTo>
                      <a:pt x="148" y="392"/>
                    </a:lnTo>
                    <a:lnTo>
                      <a:pt x="152" y="414"/>
                    </a:lnTo>
                    <a:lnTo>
                      <a:pt x="198" y="416"/>
                    </a:lnTo>
                    <a:lnTo>
                      <a:pt x="202" y="390"/>
                    </a:lnTo>
                    <a:lnTo>
                      <a:pt x="218" y="376"/>
                    </a:lnTo>
                    <a:lnTo>
                      <a:pt x="240" y="378"/>
                    </a:lnTo>
                    <a:lnTo>
                      <a:pt x="268" y="360"/>
                    </a:lnTo>
                    <a:lnTo>
                      <a:pt x="272" y="344"/>
                    </a:lnTo>
                    <a:lnTo>
                      <a:pt x="290" y="344"/>
                    </a:lnTo>
                    <a:lnTo>
                      <a:pt x="300" y="368"/>
                    </a:lnTo>
                    <a:lnTo>
                      <a:pt x="334" y="368"/>
                    </a:lnTo>
                    <a:lnTo>
                      <a:pt x="344" y="384"/>
                    </a:lnTo>
                    <a:lnTo>
                      <a:pt x="358" y="378"/>
                    </a:lnTo>
                    <a:lnTo>
                      <a:pt x="374" y="354"/>
                    </a:lnTo>
                    <a:lnTo>
                      <a:pt x="378" y="342"/>
                    </a:lnTo>
                    <a:lnTo>
                      <a:pt x="410" y="346"/>
                    </a:lnTo>
                    <a:lnTo>
                      <a:pt x="418" y="334"/>
                    </a:lnTo>
                    <a:lnTo>
                      <a:pt x="438" y="328"/>
                    </a:lnTo>
                    <a:lnTo>
                      <a:pt x="440" y="306"/>
                    </a:lnTo>
                    <a:lnTo>
                      <a:pt x="470" y="296"/>
                    </a:lnTo>
                    <a:lnTo>
                      <a:pt x="466" y="276"/>
                    </a:lnTo>
                    <a:lnTo>
                      <a:pt x="456" y="270"/>
                    </a:lnTo>
                    <a:lnTo>
                      <a:pt x="462" y="236"/>
                    </a:lnTo>
                    <a:lnTo>
                      <a:pt x="468" y="212"/>
                    </a:lnTo>
                    <a:lnTo>
                      <a:pt x="448" y="208"/>
                    </a:lnTo>
                    <a:lnTo>
                      <a:pt x="434" y="206"/>
                    </a:lnTo>
                    <a:lnTo>
                      <a:pt x="430" y="184"/>
                    </a:lnTo>
                    <a:lnTo>
                      <a:pt x="458" y="170"/>
                    </a:lnTo>
                    <a:lnTo>
                      <a:pt x="456" y="118"/>
                    </a:lnTo>
                    <a:lnTo>
                      <a:pt x="454" y="96"/>
                    </a:lnTo>
                    <a:lnTo>
                      <a:pt x="434" y="74"/>
                    </a:lnTo>
                    <a:lnTo>
                      <a:pt x="412" y="80"/>
                    </a:lnTo>
                    <a:lnTo>
                      <a:pt x="402" y="62"/>
                    </a:lnTo>
                    <a:lnTo>
                      <a:pt x="376" y="50"/>
                    </a:lnTo>
                    <a:lnTo>
                      <a:pt x="370" y="14"/>
                    </a:lnTo>
                    <a:lnTo>
                      <a:pt x="340" y="20"/>
                    </a:lnTo>
                    <a:lnTo>
                      <a:pt x="322" y="0"/>
                    </a:lnTo>
                    <a:lnTo>
                      <a:pt x="286" y="0"/>
                    </a:lnTo>
                    <a:lnTo>
                      <a:pt x="294" y="40"/>
                    </a:lnTo>
                    <a:lnTo>
                      <a:pt x="264" y="40"/>
                    </a:lnTo>
                    <a:lnTo>
                      <a:pt x="246" y="64"/>
                    </a:lnTo>
                    <a:lnTo>
                      <a:pt x="196" y="72"/>
                    </a:lnTo>
                    <a:lnTo>
                      <a:pt x="176" y="76"/>
                    </a:lnTo>
                    <a:lnTo>
                      <a:pt x="174" y="102"/>
                    </a:lnTo>
                    <a:lnTo>
                      <a:pt x="188" y="114"/>
                    </a:lnTo>
                    <a:lnTo>
                      <a:pt x="200" y="116"/>
                    </a:lnTo>
                    <a:lnTo>
                      <a:pt x="206" y="126"/>
                    </a:lnTo>
                    <a:lnTo>
                      <a:pt x="188" y="140"/>
                    </a:lnTo>
                    <a:lnTo>
                      <a:pt x="164" y="140"/>
                    </a:lnTo>
                    <a:lnTo>
                      <a:pt x="152" y="152"/>
                    </a:lnTo>
                    <a:lnTo>
                      <a:pt x="138" y="14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66" name="Freeform 22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3198813" y="4576763"/>
                <a:ext cx="1166812" cy="1135062"/>
              </a:xfrm>
              <a:custGeom>
                <a:avLst/>
                <a:gdLst>
                  <a:gd name="T0" fmla="*/ 2147483647 w 709"/>
                  <a:gd name="T1" fmla="*/ 2147483647 h 721"/>
                  <a:gd name="T2" fmla="*/ 2147483647 w 709"/>
                  <a:gd name="T3" fmla="*/ 2147483647 h 721"/>
                  <a:gd name="T4" fmla="*/ 2147483647 w 709"/>
                  <a:gd name="T5" fmla="*/ 2147483647 h 721"/>
                  <a:gd name="T6" fmla="*/ 2147483647 w 709"/>
                  <a:gd name="T7" fmla="*/ 2147483647 h 721"/>
                  <a:gd name="T8" fmla="*/ 2147483647 w 709"/>
                  <a:gd name="T9" fmla="*/ 2147483647 h 721"/>
                  <a:gd name="T10" fmla="*/ 2147483647 w 709"/>
                  <a:gd name="T11" fmla="*/ 2147483647 h 721"/>
                  <a:gd name="T12" fmla="*/ 2147483647 w 709"/>
                  <a:gd name="T13" fmla="*/ 2147483647 h 721"/>
                  <a:gd name="T14" fmla="*/ 2147483647 w 709"/>
                  <a:gd name="T15" fmla="*/ 2147483647 h 721"/>
                  <a:gd name="T16" fmla="*/ 2147483647 w 709"/>
                  <a:gd name="T17" fmla="*/ 2147483647 h 721"/>
                  <a:gd name="T18" fmla="*/ 2147483647 w 709"/>
                  <a:gd name="T19" fmla="*/ 2147483647 h 721"/>
                  <a:gd name="T20" fmla="*/ 2147483647 w 709"/>
                  <a:gd name="T21" fmla="*/ 2147483647 h 721"/>
                  <a:gd name="T22" fmla="*/ 2147483647 w 709"/>
                  <a:gd name="T23" fmla="*/ 2147483647 h 721"/>
                  <a:gd name="T24" fmla="*/ 2147483647 w 709"/>
                  <a:gd name="T25" fmla="*/ 2147483647 h 721"/>
                  <a:gd name="T26" fmla="*/ 2147483647 w 709"/>
                  <a:gd name="T27" fmla="*/ 2147483647 h 721"/>
                  <a:gd name="T28" fmla="*/ 2147483647 w 709"/>
                  <a:gd name="T29" fmla="*/ 2147483647 h 721"/>
                  <a:gd name="T30" fmla="*/ 2147483647 w 709"/>
                  <a:gd name="T31" fmla="*/ 2147483647 h 721"/>
                  <a:gd name="T32" fmla="*/ 2147483647 w 709"/>
                  <a:gd name="T33" fmla="*/ 2147483647 h 721"/>
                  <a:gd name="T34" fmla="*/ 2147483647 w 709"/>
                  <a:gd name="T35" fmla="*/ 2147483647 h 721"/>
                  <a:gd name="T36" fmla="*/ 2147483647 w 709"/>
                  <a:gd name="T37" fmla="*/ 2147483647 h 721"/>
                  <a:gd name="T38" fmla="*/ 2147483647 w 709"/>
                  <a:gd name="T39" fmla="*/ 2147483647 h 721"/>
                  <a:gd name="T40" fmla="*/ 2147483647 w 709"/>
                  <a:gd name="T41" fmla="*/ 2147483647 h 721"/>
                  <a:gd name="T42" fmla="*/ 2147483647 w 709"/>
                  <a:gd name="T43" fmla="*/ 2147483647 h 721"/>
                  <a:gd name="T44" fmla="*/ 2147483647 w 709"/>
                  <a:gd name="T45" fmla="*/ 2147483647 h 721"/>
                  <a:gd name="T46" fmla="*/ 2147483647 w 709"/>
                  <a:gd name="T47" fmla="*/ 2147483647 h 721"/>
                  <a:gd name="T48" fmla="*/ 2147483647 w 709"/>
                  <a:gd name="T49" fmla="*/ 2147483647 h 721"/>
                  <a:gd name="T50" fmla="*/ 2147483647 w 709"/>
                  <a:gd name="T51" fmla="*/ 2147483647 h 721"/>
                  <a:gd name="T52" fmla="*/ 2147483647 w 709"/>
                  <a:gd name="T53" fmla="*/ 2147483647 h 721"/>
                  <a:gd name="T54" fmla="*/ 2147483647 w 709"/>
                  <a:gd name="T55" fmla="*/ 2147483647 h 721"/>
                  <a:gd name="T56" fmla="*/ 2147483647 w 709"/>
                  <a:gd name="T57" fmla="*/ 2147483647 h 721"/>
                  <a:gd name="T58" fmla="*/ 2147483647 w 709"/>
                  <a:gd name="T59" fmla="*/ 2147483647 h 721"/>
                  <a:gd name="T60" fmla="*/ 2147483647 w 709"/>
                  <a:gd name="T61" fmla="*/ 2147483647 h 721"/>
                  <a:gd name="T62" fmla="*/ 2147483647 w 709"/>
                  <a:gd name="T63" fmla="*/ 2147483647 h 721"/>
                  <a:gd name="T64" fmla="*/ 2147483647 w 709"/>
                  <a:gd name="T65" fmla="*/ 2147483647 h 721"/>
                  <a:gd name="T66" fmla="*/ 2147483647 w 709"/>
                  <a:gd name="T67" fmla="*/ 2147483647 h 721"/>
                  <a:gd name="T68" fmla="*/ 2147483647 w 709"/>
                  <a:gd name="T69" fmla="*/ 2147483647 h 721"/>
                  <a:gd name="T70" fmla="*/ 2147483647 w 709"/>
                  <a:gd name="T71" fmla="*/ 2147483647 h 721"/>
                  <a:gd name="T72" fmla="*/ 2147483647 w 709"/>
                  <a:gd name="T73" fmla="*/ 2147483647 h 721"/>
                  <a:gd name="T74" fmla="*/ 2147483647 w 709"/>
                  <a:gd name="T75" fmla="*/ 2147483647 h 721"/>
                  <a:gd name="T76" fmla="*/ 2147483647 w 709"/>
                  <a:gd name="T77" fmla="*/ 2147483647 h 721"/>
                  <a:gd name="T78" fmla="*/ 2147483647 w 709"/>
                  <a:gd name="T79" fmla="*/ 2147483647 h 721"/>
                  <a:gd name="T80" fmla="*/ 2147483647 w 709"/>
                  <a:gd name="T81" fmla="*/ 2147483647 h 721"/>
                  <a:gd name="T82" fmla="*/ 2147483647 w 709"/>
                  <a:gd name="T83" fmla="*/ 2147483647 h 721"/>
                  <a:gd name="T84" fmla="*/ 2147483647 w 709"/>
                  <a:gd name="T85" fmla="*/ 0 h 721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09"/>
                  <a:gd name="T130" fmla="*/ 0 h 721"/>
                  <a:gd name="T131" fmla="*/ 709 w 709"/>
                  <a:gd name="T132" fmla="*/ 721 h 721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09" h="721">
                    <a:moveTo>
                      <a:pt x="170" y="0"/>
                    </a:moveTo>
                    <a:lnTo>
                      <a:pt x="138" y="4"/>
                    </a:lnTo>
                    <a:lnTo>
                      <a:pt x="124" y="14"/>
                    </a:lnTo>
                    <a:lnTo>
                      <a:pt x="120" y="66"/>
                    </a:lnTo>
                    <a:lnTo>
                      <a:pt x="88" y="74"/>
                    </a:lnTo>
                    <a:lnTo>
                      <a:pt x="78" y="130"/>
                    </a:lnTo>
                    <a:lnTo>
                      <a:pt x="98" y="142"/>
                    </a:lnTo>
                    <a:lnTo>
                      <a:pt x="124" y="160"/>
                    </a:lnTo>
                    <a:lnTo>
                      <a:pt x="120" y="230"/>
                    </a:lnTo>
                    <a:lnTo>
                      <a:pt x="118" y="270"/>
                    </a:lnTo>
                    <a:lnTo>
                      <a:pt x="98" y="290"/>
                    </a:lnTo>
                    <a:lnTo>
                      <a:pt x="76" y="298"/>
                    </a:lnTo>
                    <a:lnTo>
                      <a:pt x="54" y="308"/>
                    </a:lnTo>
                    <a:lnTo>
                      <a:pt x="44" y="332"/>
                    </a:lnTo>
                    <a:lnTo>
                      <a:pt x="40" y="358"/>
                    </a:lnTo>
                    <a:lnTo>
                      <a:pt x="0" y="384"/>
                    </a:lnTo>
                    <a:lnTo>
                      <a:pt x="0" y="406"/>
                    </a:lnTo>
                    <a:lnTo>
                      <a:pt x="18" y="432"/>
                    </a:lnTo>
                    <a:lnTo>
                      <a:pt x="10" y="446"/>
                    </a:lnTo>
                    <a:lnTo>
                      <a:pt x="10" y="462"/>
                    </a:lnTo>
                    <a:lnTo>
                      <a:pt x="20" y="470"/>
                    </a:lnTo>
                    <a:lnTo>
                      <a:pt x="38" y="468"/>
                    </a:lnTo>
                    <a:lnTo>
                      <a:pt x="42" y="458"/>
                    </a:lnTo>
                    <a:lnTo>
                      <a:pt x="64" y="456"/>
                    </a:lnTo>
                    <a:lnTo>
                      <a:pt x="72" y="442"/>
                    </a:lnTo>
                    <a:lnTo>
                      <a:pt x="86" y="452"/>
                    </a:lnTo>
                    <a:lnTo>
                      <a:pt x="100" y="478"/>
                    </a:lnTo>
                    <a:lnTo>
                      <a:pt x="122" y="524"/>
                    </a:lnTo>
                    <a:lnTo>
                      <a:pt x="134" y="554"/>
                    </a:lnTo>
                    <a:lnTo>
                      <a:pt x="162" y="558"/>
                    </a:lnTo>
                    <a:lnTo>
                      <a:pt x="166" y="578"/>
                    </a:lnTo>
                    <a:lnTo>
                      <a:pt x="156" y="588"/>
                    </a:lnTo>
                    <a:lnTo>
                      <a:pt x="150" y="614"/>
                    </a:lnTo>
                    <a:lnTo>
                      <a:pt x="160" y="636"/>
                    </a:lnTo>
                    <a:lnTo>
                      <a:pt x="196" y="646"/>
                    </a:lnTo>
                    <a:lnTo>
                      <a:pt x="216" y="650"/>
                    </a:lnTo>
                    <a:lnTo>
                      <a:pt x="220" y="670"/>
                    </a:lnTo>
                    <a:lnTo>
                      <a:pt x="230" y="686"/>
                    </a:lnTo>
                    <a:lnTo>
                      <a:pt x="252" y="684"/>
                    </a:lnTo>
                    <a:lnTo>
                      <a:pt x="254" y="668"/>
                    </a:lnTo>
                    <a:lnTo>
                      <a:pt x="288" y="668"/>
                    </a:lnTo>
                    <a:lnTo>
                      <a:pt x="310" y="694"/>
                    </a:lnTo>
                    <a:lnTo>
                      <a:pt x="320" y="710"/>
                    </a:lnTo>
                    <a:lnTo>
                      <a:pt x="336" y="720"/>
                    </a:lnTo>
                    <a:lnTo>
                      <a:pt x="348" y="710"/>
                    </a:lnTo>
                    <a:lnTo>
                      <a:pt x="364" y="690"/>
                    </a:lnTo>
                    <a:lnTo>
                      <a:pt x="358" y="664"/>
                    </a:lnTo>
                    <a:lnTo>
                      <a:pt x="338" y="642"/>
                    </a:lnTo>
                    <a:lnTo>
                      <a:pt x="344" y="618"/>
                    </a:lnTo>
                    <a:lnTo>
                      <a:pt x="358" y="604"/>
                    </a:lnTo>
                    <a:lnTo>
                      <a:pt x="414" y="600"/>
                    </a:lnTo>
                    <a:lnTo>
                      <a:pt x="426" y="584"/>
                    </a:lnTo>
                    <a:lnTo>
                      <a:pt x="472" y="584"/>
                    </a:lnTo>
                    <a:lnTo>
                      <a:pt x="500" y="596"/>
                    </a:lnTo>
                    <a:lnTo>
                      <a:pt x="544" y="592"/>
                    </a:lnTo>
                    <a:lnTo>
                      <a:pt x="552" y="576"/>
                    </a:lnTo>
                    <a:lnTo>
                      <a:pt x="590" y="576"/>
                    </a:lnTo>
                    <a:lnTo>
                      <a:pt x="620" y="546"/>
                    </a:lnTo>
                    <a:lnTo>
                      <a:pt x="630" y="534"/>
                    </a:lnTo>
                    <a:lnTo>
                      <a:pt x="658" y="534"/>
                    </a:lnTo>
                    <a:lnTo>
                      <a:pt x="672" y="516"/>
                    </a:lnTo>
                    <a:lnTo>
                      <a:pt x="688" y="514"/>
                    </a:lnTo>
                    <a:lnTo>
                      <a:pt x="706" y="506"/>
                    </a:lnTo>
                    <a:lnTo>
                      <a:pt x="708" y="478"/>
                    </a:lnTo>
                    <a:lnTo>
                      <a:pt x="698" y="468"/>
                    </a:lnTo>
                    <a:lnTo>
                      <a:pt x="644" y="466"/>
                    </a:lnTo>
                    <a:lnTo>
                      <a:pt x="628" y="458"/>
                    </a:lnTo>
                    <a:lnTo>
                      <a:pt x="628" y="442"/>
                    </a:lnTo>
                    <a:lnTo>
                      <a:pt x="606" y="436"/>
                    </a:lnTo>
                    <a:lnTo>
                      <a:pt x="580" y="440"/>
                    </a:lnTo>
                    <a:lnTo>
                      <a:pt x="574" y="418"/>
                    </a:lnTo>
                    <a:lnTo>
                      <a:pt x="576" y="380"/>
                    </a:lnTo>
                    <a:lnTo>
                      <a:pt x="574" y="330"/>
                    </a:lnTo>
                    <a:lnTo>
                      <a:pt x="568" y="310"/>
                    </a:lnTo>
                    <a:lnTo>
                      <a:pt x="584" y="264"/>
                    </a:lnTo>
                    <a:lnTo>
                      <a:pt x="570" y="236"/>
                    </a:lnTo>
                    <a:lnTo>
                      <a:pt x="548" y="228"/>
                    </a:lnTo>
                    <a:lnTo>
                      <a:pt x="528" y="230"/>
                    </a:lnTo>
                    <a:lnTo>
                      <a:pt x="522" y="234"/>
                    </a:lnTo>
                    <a:lnTo>
                      <a:pt x="526" y="254"/>
                    </a:lnTo>
                    <a:lnTo>
                      <a:pt x="514" y="252"/>
                    </a:lnTo>
                    <a:lnTo>
                      <a:pt x="502" y="224"/>
                    </a:lnTo>
                    <a:lnTo>
                      <a:pt x="508" y="214"/>
                    </a:lnTo>
                    <a:lnTo>
                      <a:pt x="510" y="184"/>
                    </a:lnTo>
                    <a:lnTo>
                      <a:pt x="526" y="174"/>
                    </a:lnTo>
                    <a:lnTo>
                      <a:pt x="554" y="170"/>
                    </a:lnTo>
                    <a:lnTo>
                      <a:pt x="590" y="174"/>
                    </a:lnTo>
                    <a:lnTo>
                      <a:pt x="616" y="178"/>
                    </a:lnTo>
                    <a:lnTo>
                      <a:pt x="646" y="158"/>
                    </a:lnTo>
                    <a:lnTo>
                      <a:pt x="646" y="142"/>
                    </a:lnTo>
                    <a:lnTo>
                      <a:pt x="634" y="134"/>
                    </a:lnTo>
                    <a:lnTo>
                      <a:pt x="624" y="108"/>
                    </a:lnTo>
                    <a:lnTo>
                      <a:pt x="584" y="102"/>
                    </a:lnTo>
                    <a:lnTo>
                      <a:pt x="572" y="114"/>
                    </a:lnTo>
                    <a:lnTo>
                      <a:pt x="544" y="56"/>
                    </a:lnTo>
                    <a:lnTo>
                      <a:pt x="532" y="56"/>
                    </a:lnTo>
                    <a:lnTo>
                      <a:pt x="524" y="68"/>
                    </a:lnTo>
                    <a:lnTo>
                      <a:pt x="518" y="84"/>
                    </a:lnTo>
                    <a:lnTo>
                      <a:pt x="484" y="88"/>
                    </a:lnTo>
                    <a:lnTo>
                      <a:pt x="484" y="116"/>
                    </a:lnTo>
                    <a:lnTo>
                      <a:pt x="460" y="142"/>
                    </a:lnTo>
                    <a:lnTo>
                      <a:pt x="456" y="164"/>
                    </a:lnTo>
                    <a:lnTo>
                      <a:pt x="438" y="180"/>
                    </a:lnTo>
                    <a:lnTo>
                      <a:pt x="440" y="208"/>
                    </a:lnTo>
                    <a:lnTo>
                      <a:pt x="448" y="228"/>
                    </a:lnTo>
                    <a:lnTo>
                      <a:pt x="446" y="236"/>
                    </a:lnTo>
                    <a:lnTo>
                      <a:pt x="428" y="262"/>
                    </a:lnTo>
                    <a:lnTo>
                      <a:pt x="412" y="268"/>
                    </a:lnTo>
                    <a:lnTo>
                      <a:pt x="396" y="270"/>
                    </a:lnTo>
                    <a:lnTo>
                      <a:pt x="376" y="276"/>
                    </a:lnTo>
                    <a:lnTo>
                      <a:pt x="362" y="262"/>
                    </a:lnTo>
                    <a:lnTo>
                      <a:pt x="362" y="238"/>
                    </a:lnTo>
                    <a:lnTo>
                      <a:pt x="330" y="210"/>
                    </a:lnTo>
                    <a:lnTo>
                      <a:pt x="328" y="180"/>
                    </a:lnTo>
                    <a:lnTo>
                      <a:pt x="324" y="174"/>
                    </a:lnTo>
                    <a:lnTo>
                      <a:pt x="312" y="174"/>
                    </a:lnTo>
                    <a:lnTo>
                      <a:pt x="292" y="136"/>
                    </a:lnTo>
                    <a:lnTo>
                      <a:pt x="296" y="112"/>
                    </a:lnTo>
                    <a:lnTo>
                      <a:pt x="264" y="102"/>
                    </a:lnTo>
                    <a:lnTo>
                      <a:pt x="248" y="88"/>
                    </a:lnTo>
                    <a:lnTo>
                      <a:pt x="250" y="80"/>
                    </a:lnTo>
                    <a:lnTo>
                      <a:pt x="252" y="56"/>
                    </a:lnTo>
                    <a:lnTo>
                      <a:pt x="226" y="38"/>
                    </a:lnTo>
                    <a:lnTo>
                      <a:pt x="196" y="32"/>
                    </a:lnTo>
                    <a:lnTo>
                      <a:pt x="184" y="54"/>
                    </a:lnTo>
                    <a:lnTo>
                      <a:pt x="176" y="52"/>
                    </a:lnTo>
                    <a:lnTo>
                      <a:pt x="172" y="54"/>
                    </a:lnTo>
                    <a:lnTo>
                      <a:pt x="164" y="28"/>
                    </a:lnTo>
                    <a:lnTo>
                      <a:pt x="170" y="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67" name="Freeform 23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137025" y="4968875"/>
                <a:ext cx="1014413" cy="701675"/>
              </a:xfrm>
              <a:custGeom>
                <a:avLst/>
                <a:gdLst>
                  <a:gd name="T0" fmla="*/ 2147483647 w 619"/>
                  <a:gd name="T1" fmla="*/ 2147483647 h 445"/>
                  <a:gd name="T2" fmla="*/ 2147483647 w 619"/>
                  <a:gd name="T3" fmla="*/ 2147483647 h 445"/>
                  <a:gd name="T4" fmla="*/ 2147483647 w 619"/>
                  <a:gd name="T5" fmla="*/ 2147483647 h 445"/>
                  <a:gd name="T6" fmla="*/ 2147483647 w 619"/>
                  <a:gd name="T7" fmla="*/ 2147483647 h 445"/>
                  <a:gd name="T8" fmla="*/ 2147483647 w 619"/>
                  <a:gd name="T9" fmla="*/ 2147483647 h 445"/>
                  <a:gd name="T10" fmla="*/ 2147483647 w 619"/>
                  <a:gd name="T11" fmla="*/ 2147483647 h 445"/>
                  <a:gd name="T12" fmla="*/ 2147483647 w 619"/>
                  <a:gd name="T13" fmla="*/ 2147483647 h 445"/>
                  <a:gd name="T14" fmla="*/ 2147483647 w 619"/>
                  <a:gd name="T15" fmla="*/ 2147483647 h 445"/>
                  <a:gd name="T16" fmla="*/ 2147483647 w 619"/>
                  <a:gd name="T17" fmla="*/ 2147483647 h 445"/>
                  <a:gd name="T18" fmla="*/ 2147483647 w 619"/>
                  <a:gd name="T19" fmla="*/ 2147483647 h 445"/>
                  <a:gd name="T20" fmla="*/ 2147483647 w 619"/>
                  <a:gd name="T21" fmla="*/ 2147483647 h 445"/>
                  <a:gd name="T22" fmla="*/ 2147483647 w 619"/>
                  <a:gd name="T23" fmla="*/ 2147483647 h 445"/>
                  <a:gd name="T24" fmla="*/ 2147483647 w 619"/>
                  <a:gd name="T25" fmla="*/ 2147483647 h 445"/>
                  <a:gd name="T26" fmla="*/ 2147483647 w 619"/>
                  <a:gd name="T27" fmla="*/ 2147483647 h 445"/>
                  <a:gd name="T28" fmla="*/ 2147483647 w 619"/>
                  <a:gd name="T29" fmla="*/ 2147483647 h 445"/>
                  <a:gd name="T30" fmla="*/ 2147483647 w 619"/>
                  <a:gd name="T31" fmla="*/ 2147483647 h 445"/>
                  <a:gd name="T32" fmla="*/ 2147483647 w 619"/>
                  <a:gd name="T33" fmla="*/ 2147483647 h 445"/>
                  <a:gd name="T34" fmla="*/ 2147483647 w 619"/>
                  <a:gd name="T35" fmla="*/ 2147483647 h 445"/>
                  <a:gd name="T36" fmla="*/ 2147483647 w 619"/>
                  <a:gd name="T37" fmla="*/ 2147483647 h 445"/>
                  <a:gd name="T38" fmla="*/ 2147483647 w 619"/>
                  <a:gd name="T39" fmla="*/ 2147483647 h 445"/>
                  <a:gd name="T40" fmla="*/ 2147483647 w 619"/>
                  <a:gd name="T41" fmla="*/ 0 h 445"/>
                  <a:gd name="T42" fmla="*/ 2147483647 w 619"/>
                  <a:gd name="T43" fmla="*/ 2147483647 h 445"/>
                  <a:gd name="T44" fmla="*/ 2147483647 w 619"/>
                  <a:gd name="T45" fmla="*/ 2147483647 h 445"/>
                  <a:gd name="T46" fmla="*/ 2147483647 w 619"/>
                  <a:gd name="T47" fmla="*/ 2147483647 h 445"/>
                  <a:gd name="T48" fmla="*/ 2147483647 w 619"/>
                  <a:gd name="T49" fmla="*/ 2147483647 h 445"/>
                  <a:gd name="T50" fmla="*/ 2147483647 w 619"/>
                  <a:gd name="T51" fmla="*/ 2147483647 h 445"/>
                  <a:gd name="T52" fmla="*/ 2147483647 w 619"/>
                  <a:gd name="T53" fmla="*/ 2147483647 h 445"/>
                  <a:gd name="T54" fmla="*/ 2147483647 w 619"/>
                  <a:gd name="T55" fmla="*/ 2147483647 h 445"/>
                  <a:gd name="T56" fmla="*/ 2147483647 w 619"/>
                  <a:gd name="T57" fmla="*/ 2147483647 h 445"/>
                  <a:gd name="T58" fmla="*/ 2147483647 w 619"/>
                  <a:gd name="T59" fmla="*/ 2147483647 h 445"/>
                  <a:gd name="T60" fmla="*/ 2147483647 w 619"/>
                  <a:gd name="T61" fmla="*/ 2147483647 h 445"/>
                  <a:gd name="T62" fmla="*/ 2147483647 w 619"/>
                  <a:gd name="T63" fmla="*/ 2147483647 h 445"/>
                  <a:gd name="T64" fmla="*/ 2147483647 w 619"/>
                  <a:gd name="T65" fmla="*/ 2147483647 h 445"/>
                  <a:gd name="T66" fmla="*/ 2147483647 w 619"/>
                  <a:gd name="T67" fmla="*/ 2147483647 h 445"/>
                  <a:gd name="T68" fmla="*/ 2147483647 w 619"/>
                  <a:gd name="T69" fmla="*/ 2147483647 h 445"/>
                  <a:gd name="T70" fmla="*/ 2147483647 w 619"/>
                  <a:gd name="T71" fmla="*/ 2147483647 h 445"/>
                  <a:gd name="T72" fmla="*/ 0 w 619"/>
                  <a:gd name="T73" fmla="*/ 2147483647 h 445"/>
                  <a:gd name="T74" fmla="*/ 2147483647 w 619"/>
                  <a:gd name="T75" fmla="*/ 2147483647 h 445"/>
                  <a:gd name="T76" fmla="*/ 2147483647 w 619"/>
                  <a:gd name="T77" fmla="*/ 2147483647 h 445"/>
                  <a:gd name="T78" fmla="*/ 2147483647 w 619"/>
                  <a:gd name="T79" fmla="*/ 2147483647 h 445"/>
                  <a:gd name="T80" fmla="*/ 2147483647 w 619"/>
                  <a:gd name="T81" fmla="*/ 2147483647 h 445"/>
                  <a:gd name="T82" fmla="*/ 2147483647 w 619"/>
                  <a:gd name="T83" fmla="*/ 2147483647 h 445"/>
                  <a:gd name="T84" fmla="*/ 2147483647 w 619"/>
                  <a:gd name="T85" fmla="*/ 2147483647 h 44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619"/>
                  <a:gd name="T130" fmla="*/ 0 h 445"/>
                  <a:gd name="T131" fmla="*/ 619 w 619"/>
                  <a:gd name="T132" fmla="*/ 445 h 445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619" h="445">
                    <a:moveTo>
                      <a:pt x="84" y="282"/>
                    </a:moveTo>
                    <a:lnTo>
                      <a:pt x="98" y="304"/>
                    </a:lnTo>
                    <a:lnTo>
                      <a:pt x="118" y="312"/>
                    </a:lnTo>
                    <a:lnTo>
                      <a:pt x="134" y="314"/>
                    </a:lnTo>
                    <a:lnTo>
                      <a:pt x="136" y="324"/>
                    </a:lnTo>
                    <a:lnTo>
                      <a:pt x="168" y="324"/>
                    </a:lnTo>
                    <a:lnTo>
                      <a:pt x="178" y="348"/>
                    </a:lnTo>
                    <a:lnTo>
                      <a:pt x="178" y="390"/>
                    </a:lnTo>
                    <a:lnTo>
                      <a:pt x="208" y="402"/>
                    </a:lnTo>
                    <a:lnTo>
                      <a:pt x="218" y="418"/>
                    </a:lnTo>
                    <a:lnTo>
                      <a:pt x="252" y="416"/>
                    </a:lnTo>
                    <a:lnTo>
                      <a:pt x="268" y="430"/>
                    </a:lnTo>
                    <a:lnTo>
                      <a:pt x="290" y="442"/>
                    </a:lnTo>
                    <a:lnTo>
                      <a:pt x="306" y="436"/>
                    </a:lnTo>
                    <a:lnTo>
                      <a:pt x="318" y="418"/>
                    </a:lnTo>
                    <a:lnTo>
                      <a:pt x="330" y="406"/>
                    </a:lnTo>
                    <a:lnTo>
                      <a:pt x="360" y="410"/>
                    </a:lnTo>
                    <a:lnTo>
                      <a:pt x="378" y="430"/>
                    </a:lnTo>
                    <a:lnTo>
                      <a:pt x="392" y="442"/>
                    </a:lnTo>
                    <a:lnTo>
                      <a:pt x="412" y="444"/>
                    </a:lnTo>
                    <a:lnTo>
                      <a:pt x="434" y="422"/>
                    </a:lnTo>
                    <a:lnTo>
                      <a:pt x="452" y="410"/>
                    </a:lnTo>
                    <a:lnTo>
                      <a:pt x="470" y="398"/>
                    </a:lnTo>
                    <a:lnTo>
                      <a:pt x="482" y="372"/>
                    </a:lnTo>
                    <a:lnTo>
                      <a:pt x="518" y="350"/>
                    </a:lnTo>
                    <a:lnTo>
                      <a:pt x="518" y="324"/>
                    </a:lnTo>
                    <a:lnTo>
                      <a:pt x="546" y="318"/>
                    </a:lnTo>
                    <a:lnTo>
                      <a:pt x="560" y="306"/>
                    </a:lnTo>
                    <a:lnTo>
                      <a:pt x="558" y="286"/>
                    </a:lnTo>
                    <a:lnTo>
                      <a:pt x="564" y="266"/>
                    </a:lnTo>
                    <a:lnTo>
                      <a:pt x="578" y="256"/>
                    </a:lnTo>
                    <a:lnTo>
                      <a:pt x="588" y="226"/>
                    </a:lnTo>
                    <a:lnTo>
                      <a:pt x="616" y="196"/>
                    </a:lnTo>
                    <a:lnTo>
                      <a:pt x="618" y="172"/>
                    </a:lnTo>
                    <a:lnTo>
                      <a:pt x="604" y="144"/>
                    </a:lnTo>
                    <a:lnTo>
                      <a:pt x="572" y="144"/>
                    </a:lnTo>
                    <a:lnTo>
                      <a:pt x="564" y="120"/>
                    </a:lnTo>
                    <a:lnTo>
                      <a:pt x="532" y="120"/>
                    </a:lnTo>
                    <a:lnTo>
                      <a:pt x="538" y="92"/>
                    </a:lnTo>
                    <a:lnTo>
                      <a:pt x="560" y="68"/>
                    </a:lnTo>
                    <a:lnTo>
                      <a:pt x="556" y="38"/>
                    </a:lnTo>
                    <a:lnTo>
                      <a:pt x="540" y="0"/>
                    </a:lnTo>
                    <a:lnTo>
                      <a:pt x="518" y="6"/>
                    </a:lnTo>
                    <a:lnTo>
                      <a:pt x="498" y="20"/>
                    </a:lnTo>
                    <a:lnTo>
                      <a:pt x="484" y="24"/>
                    </a:lnTo>
                    <a:lnTo>
                      <a:pt x="450" y="32"/>
                    </a:lnTo>
                    <a:lnTo>
                      <a:pt x="422" y="44"/>
                    </a:lnTo>
                    <a:lnTo>
                      <a:pt x="396" y="32"/>
                    </a:lnTo>
                    <a:lnTo>
                      <a:pt x="378" y="42"/>
                    </a:lnTo>
                    <a:lnTo>
                      <a:pt x="372" y="44"/>
                    </a:lnTo>
                    <a:lnTo>
                      <a:pt x="370" y="66"/>
                    </a:lnTo>
                    <a:lnTo>
                      <a:pt x="344" y="70"/>
                    </a:lnTo>
                    <a:lnTo>
                      <a:pt x="338" y="82"/>
                    </a:lnTo>
                    <a:lnTo>
                      <a:pt x="308" y="78"/>
                    </a:lnTo>
                    <a:lnTo>
                      <a:pt x="300" y="100"/>
                    </a:lnTo>
                    <a:lnTo>
                      <a:pt x="282" y="122"/>
                    </a:lnTo>
                    <a:lnTo>
                      <a:pt x="270" y="106"/>
                    </a:lnTo>
                    <a:lnTo>
                      <a:pt x="238" y="104"/>
                    </a:lnTo>
                    <a:lnTo>
                      <a:pt x="232" y="94"/>
                    </a:lnTo>
                    <a:lnTo>
                      <a:pt x="226" y="82"/>
                    </a:lnTo>
                    <a:lnTo>
                      <a:pt x="202" y="82"/>
                    </a:lnTo>
                    <a:lnTo>
                      <a:pt x="198" y="100"/>
                    </a:lnTo>
                    <a:lnTo>
                      <a:pt x="174" y="112"/>
                    </a:lnTo>
                    <a:lnTo>
                      <a:pt x="160" y="114"/>
                    </a:lnTo>
                    <a:lnTo>
                      <a:pt x="144" y="114"/>
                    </a:lnTo>
                    <a:lnTo>
                      <a:pt x="126" y="136"/>
                    </a:lnTo>
                    <a:lnTo>
                      <a:pt x="128" y="152"/>
                    </a:lnTo>
                    <a:lnTo>
                      <a:pt x="94" y="150"/>
                    </a:lnTo>
                    <a:lnTo>
                      <a:pt x="90" y="150"/>
                    </a:lnTo>
                    <a:lnTo>
                      <a:pt x="82" y="130"/>
                    </a:lnTo>
                    <a:lnTo>
                      <a:pt x="22" y="136"/>
                    </a:lnTo>
                    <a:lnTo>
                      <a:pt x="26" y="154"/>
                    </a:lnTo>
                    <a:lnTo>
                      <a:pt x="2" y="146"/>
                    </a:lnTo>
                    <a:lnTo>
                      <a:pt x="0" y="170"/>
                    </a:lnTo>
                    <a:lnTo>
                      <a:pt x="6" y="192"/>
                    </a:lnTo>
                    <a:lnTo>
                      <a:pt x="34" y="190"/>
                    </a:lnTo>
                    <a:lnTo>
                      <a:pt x="52" y="194"/>
                    </a:lnTo>
                    <a:lnTo>
                      <a:pt x="56" y="206"/>
                    </a:lnTo>
                    <a:lnTo>
                      <a:pt x="64" y="218"/>
                    </a:lnTo>
                    <a:lnTo>
                      <a:pt x="100" y="220"/>
                    </a:lnTo>
                    <a:lnTo>
                      <a:pt x="128" y="222"/>
                    </a:lnTo>
                    <a:lnTo>
                      <a:pt x="134" y="236"/>
                    </a:lnTo>
                    <a:lnTo>
                      <a:pt x="130" y="256"/>
                    </a:lnTo>
                    <a:lnTo>
                      <a:pt x="108" y="262"/>
                    </a:lnTo>
                    <a:lnTo>
                      <a:pt x="94" y="264"/>
                    </a:lnTo>
                    <a:lnTo>
                      <a:pt x="84" y="282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68" name="Freeform 24"/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702175" y="5854700"/>
                <a:ext cx="341313" cy="258763"/>
              </a:xfrm>
              <a:custGeom>
                <a:avLst/>
                <a:gdLst>
                  <a:gd name="T0" fmla="*/ 2147483647 w 209"/>
                  <a:gd name="T1" fmla="*/ 2147483647 h 165"/>
                  <a:gd name="T2" fmla="*/ 2147483647 w 209"/>
                  <a:gd name="T3" fmla="*/ 2147483647 h 165"/>
                  <a:gd name="T4" fmla="*/ 2147483647 w 209"/>
                  <a:gd name="T5" fmla="*/ 2147483647 h 165"/>
                  <a:gd name="T6" fmla="*/ 2147483647 w 209"/>
                  <a:gd name="T7" fmla="*/ 2147483647 h 165"/>
                  <a:gd name="T8" fmla="*/ 2147483647 w 209"/>
                  <a:gd name="T9" fmla="*/ 2147483647 h 165"/>
                  <a:gd name="T10" fmla="*/ 2147483647 w 209"/>
                  <a:gd name="T11" fmla="*/ 2147483647 h 165"/>
                  <a:gd name="T12" fmla="*/ 2147483647 w 209"/>
                  <a:gd name="T13" fmla="*/ 0 h 165"/>
                  <a:gd name="T14" fmla="*/ 2147483647 w 209"/>
                  <a:gd name="T15" fmla="*/ 0 h 165"/>
                  <a:gd name="T16" fmla="*/ 2147483647 w 209"/>
                  <a:gd name="T17" fmla="*/ 2147483647 h 165"/>
                  <a:gd name="T18" fmla="*/ 2147483647 w 209"/>
                  <a:gd name="T19" fmla="*/ 2147483647 h 165"/>
                  <a:gd name="T20" fmla="*/ 2147483647 w 209"/>
                  <a:gd name="T21" fmla="*/ 2147483647 h 165"/>
                  <a:gd name="T22" fmla="*/ 2147483647 w 209"/>
                  <a:gd name="T23" fmla="*/ 2147483647 h 165"/>
                  <a:gd name="T24" fmla="*/ 2147483647 w 209"/>
                  <a:gd name="T25" fmla="*/ 2147483647 h 165"/>
                  <a:gd name="T26" fmla="*/ 2147483647 w 209"/>
                  <a:gd name="T27" fmla="*/ 2147483647 h 165"/>
                  <a:gd name="T28" fmla="*/ 2147483647 w 209"/>
                  <a:gd name="T29" fmla="*/ 2147483647 h 165"/>
                  <a:gd name="T30" fmla="*/ 2147483647 w 209"/>
                  <a:gd name="T31" fmla="*/ 2147483647 h 165"/>
                  <a:gd name="T32" fmla="*/ 2147483647 w 209"/>
                  <a:gd name="T33" fmla="*/ 2147483647 h 165"/>
                  <a:gd name="T34" fmla="*/ 2147483647 w 209"/>
                  <a:gd name="T35" fmla="*/ 2147483647 h 165"/>
                  <a:gd name="T36" fmla="*/ 2147483647 w 209"/>
                  <a:gd name="T37" fmla="*/ 2147483647 h 165"/>
                  <a:gd name="T38" fmla="*/ 2147483647 w 209"/>
                  <a:gd name="T39" fmla="*/ 2147483647 h 165"/>
                  <a:gd name="T40" fmla="*/ 2147483647 w 209"/>
                  <a:gd name="T41" fmla="*/ 2147483647 h 165"/>
                  <a:gd name="T42" fmla="*/ 2147483647 w 209"/>
                  <a:gd name="T43" fmla="*/ 2147483647 h 165"/>
                  <a:gd name="T44" fmla="*/ 0 w 209"/>
                  <a:gd name="T45" fmla="*/ 2147483647 h 165"/>
                  <a:gd name="T46" fmla="*/ 2147483647 w 209"/>
                  <a:gd name="T47" fmla="*/ 2147483647 h 165"/>
                  <a:gd name="T48" fmla="*/ 2147483647 w 209"/>
                  <a:gd name="T49" fmla="*/ 2147483647 h 165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209"/>
                  <a:gd name="T76" fmla="*/ 0 h 165"/>
                  <a:gd name="T77" fmla="*/ 209 w 209"/>
                  <a:gd name="T78" fmla="*/ 165 h 165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209" h="165">
                    <a:moveTo>
                      <a:pt x="14" y="66"/>
                    </a:moveTo>
                    <a:lnTo>
                      <a:pt x="40" y="36"/>
                    </a:lnTo>
                    <a:lnTo>
                      <a:pt x="54" y="16"/>
                    </a:lnTo>
                    <a:lnTo>
                      <a:pt x="78" y="16"/>
                    </a:lnTo>
                    <a:lnTo>
                      <a:pt x="98" y="26"/>
                    </a:lnTo>
                    <a:lnTo>
                      <a:pt x="114" y="12"/>
                    </a:lnTo>
                    <a:lnTo>
                      <a:pt x="122" y="0"/>
                    </a:lnTo>
                    <a:lnTo>
                      <a:pt x="162" y="0"/>
                    </a:lnTo>
                    <a:lnTo>
                      <a:pt x="196" y="2"/>
                    </a:lnTo>
                    <a:lnTo>
                      <a:pt x="206" y="14"/>
                    </a:lnTo>
                    <a:lnTo>
                      <a:pt x="208" y="42"/>
                    </a:lnTo>
                    <a:lnTo>
                      <a:pt x="198" y="60"/>
                    </a:lnTo>
                    <a:lnTo>
                      <a:pt x="176" y="66"/>
                    </a:lnTo>
                    <a:lnTo>
                      <a:pt x="170" y="92"/>
                    </a:lnTo>
                    <a:lnTo>
                      <a:pt x="170" y="114"/>
                    </a:lnTo>
                    <a:lnTo>
                      <a:pt x="154" y="122"/>
                    </a:lnTo>
                    <a:lnTo>
                      <a:pt x="134" y="124"/>
                    </a:lnTo>
                    <a:lnTo>
                      <a:pt x="118" y="148"/>
                    </a:lnTo>
                    <a:lnTo>
                      <a:pt x="104" y="160"/>
                    </a:lnTo>
                    <a:lnTo>
                      <a:pt x="74" y="164"/>
                    </a:lnTo>
                    <a:lnTo>
                      <a:pt x="40" y="160"/>
                    </a:lnTo>
                    <a:lnTo>
                      <a:pt x="28" y="146"/>
                    </a:lnTo>
                    <a:lnTo>
                      <a:pt x="0" y="126"/>
                    </a:lnTo>
                    <a:lnTo>
                      <a:pt x="4" y="92"/>
                    </a:lnTo>
                    <a:lnTo>
                      <a:pt x="14" y="6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69" name="Freeform 25"/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829175" y="5051425"/>
                <a:ext cx="1016000" cy="739775"/>
              </a:xfrm>
              <a:custGeom>
                <a:avLst/>
                <a:gdLst>
                  <a:gd name="T0" fmla="*/ 0 w 621"/>
                  <a:gd name="T1" fmla="*/ 2147483647 h 469"/>
                  <a:gd name="T2" fmla="*/ 2147483647 w 621"/>
                  <a:gd name="T3" fmla="*/ 2147483647 h 469"/>
                  <a:gd name="T4" fmla="*/ 2147483647 w 621"/>
                  <a:gd name="T5" fmla="*/ 2147483647 h 469"/>
                  <a:gd name="T6" fmla="*/ 2147483647 w 621"/>
                  <a:gd name="T7" fmla="*/ 2147483647 h 469"/>
                  <a:gd name="T8" fmla="*/ 2147483647 w 621"/>
                  <a:gd name="T9" fmla="*/ 2147483647 h 469"/>
                  <a:gd name="T10" fmla="*/ 2147483647 w 621"/>
                  <a:gd name="T11" fmla="*/ 2147483647 h 469"/>
                  <a:gd name="T12" fmla="*/ 2147483647 w 621"/>
                  <a:gd name="T13" fmla="*/ 2147483647 h 469"/>
                  <a:gd name="T14" fmla="*/ 2147483647 w 621"/>
                  <a:gd name="T15" fmla="*/ 2147483647 h 469"/>
                  <a:gd name="T16" fmla="*/ 2147483647 w 621"/>
                  <a:gd name="T17" fmla="*/ 2147483647 h 469"/>
                  <a:gd name="T18" fmla="*/ 2147483647 w 621"/>
                  <a:gd name="T19" fmla="*/ 2147483647 h 469"/>
                  <a:gd name="T20" fmla="*/ 2147483647 w 621"/>
                  <a:gd name="T21" fmla="*/ 2147483647 h 469"/>
                  <a:gd name="T22" fmla="*/ 2147483647 w 621"/>
                  <a:gd name="T23" fmla="*/ 2147483647 h 469"/>
                  <a:gd name="T24" fmla="*/ 2147483647 w 621"/>
                  <a:gd name="T25" fmla="*/ 2147483647 h 469"/>
                  <a:gd name="T26" fmla="*/ 2147483647 w 621"/>
                  <a:gd name="T27" fmla="*/ 2147483647 h 469"/>
                  <a:gd name="T28" fmla="*/ 2147483647 w 621"/>
                  <a:gd name="T29" fmla="*/ 2147483647 h 469"/>
                  <a:gd name="T30" fmla="*/ 2147483647 w 621"/>
                  <a:gd name="T31" fmla="*/ 2147483647 h 469"/>
                  <a:gd name="T32" fmla="*/ 2147483647 w 621"/>
                  <a:gd name="T33" fmla="*/ 2147483647 h 469"/>
                  <a:gd name="T34" fmla="*/ 2147483647 w 621"/>
                  <a:gd name="T35" fmla="*/ 2147483647 h 469"/>
                  <a:gd name="T36" fmla="*/ 2147483647 w 621"/>
                  <a:gd name="T37" fmla="*/ 2147483647 h 469"/>
                  <a:gd name="T38" fmla="*/ 2147483647 w 621"/>
                  <a:gd name="T39" fmla="*/ 2147483647 h 469"/>
                  <a:gd name="T40" fmla="*/ 2147483647 w 621"/>
                  <a:gd name="T41" fmla="*/ 2147483647 h 469"/>
                  <a:gd name="T42" fmla="*/ 2147483647 w 621"/>
                  <a:gd name="T43" fmla="*/ 2147483647 h 469"/>
                  <a:gd name="T44" fmla="*/ 2147483647 w 621"/>
                  <a:gd name="T45" fmla="*/ 0 h 469"/>
                  <a:gd name="T46" fmla="*/ 2147483647 w 621"/>
                  <a:gd name="T47" fmla="*/ 2147483647 h 469"/>
                  <a:gd name="T48" fmla="*/ 2147483647 w 621"/>
                  <a:gd name="T49" fmla="*/ 2147483647 h 469"/>
                  <a:gd name="T50" fmla="*/ 2147483647 w 621"/>
                  <a:gd name="T51" fmla="*/ 2147483647 h 469"/>
                  <a:gd name="T52" fmla="*/ 2147483647 w 621"/>
                  <a:gd name="T53" fmla="*/ 2147483647 h 469"/>
                  <a:gd name="T54" fmla="*/ 2147483647 w 621"/>
                  <a:gd name="T55" fmla="*/ 2147483647 h 469"/>
                  <a:gd name="T56" fmla="*/ 2147483647 w 621"/>
                  <a:gd name="T57" fmla="*/ 2147483647 h 469"/>
                  <a:gd name="T58" fmla="*/ 2147483647 w 621"/>
                  <a:gd name="T59" fmla="*/ 2147483647 h 469"/>
                  <a:gd name="T60" fmla="*/ 2147483647 w 621"/>
                  <a:gd name="T61" fmla="*/ 2147483647 h 469"/>
                  <a:gd name="T62" fmla="*/ 2147483647 w 621"/>
                  <a:gd name="T63" fmla="*/ 2147483647 h 469"/>
                  <a:gd name="T64" fmla="*/ 2147483647 w 621"/>
                  <a:gd name="T65" fmla="*/ 2147483647 h 469"/>
                  <a:gd name="T66" fmla="*/ 2147483647 w 621"/>
                  <a:gd name="T67" fmla="*/ 2147483647 h 469"/>
                  <a:gd name="T68" fmla="*/ 2147483647 w 621"/>
                  <a:gd name="T69" fmla="*/ 2147483647 h 469"/>
                  <a:gd name="T70" fmla="*/ 2147483647 w 621"/>
                  <a:gd name="T71" fmla="*/ 2147483647 h 469"/>
                  <a:gd name="T72" fmla="*/ 2147483647 w 621"/>
                  <a:gd name="T73" fmla="*/ 2147483647 h 469"/>
                  <a:gd name="T74" fmla="*/ 2147483647 w 621"/>
                  <a:gd name="T75" fmla="*/ 2147483647 h 469"/>
                  <a:gd name="T76" fmla="*/ 2147483647 w 621"/>
                  <a:gd name="T77" fmla="*/ 2147483647 h 469"/>
                  <a:gd name="T78" fmla="*/ 2147483647 w 621"/>
                  <a:gd name="T79" fmla="*/ 2147483647 h 469"/>
                  <a:gd name="T80" fmla="*/ 2147483647 w 621"/>
                  <a:gd name="T81" fmla="*/ 2147483647 h 469"/>
                  <a:gd name="T82" fmla="*/ 2147483647 w 621"/>
                  <a:gd name="T83" fmla="*/ 2147483647 h 469"/>
                  <a:gd name="T84" fmla="*/ 2147483647 w 621"/>
                  <a:gd name="T85" fmla="*/ 2147483647 h 469"/>
                  <a:gd name="T86" fmla="*/ 2147483647 w 621"/>
                  <a:gd name="T87" fmla="*/ 2147483647 h 469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621"/>
                  <a:gd name="T133" fmla="*/ 0 h 469"/>
                  <a:gd name="T134" fmla="*/ 621 w 621"/>
                  <a:gd name="T135" fmla="*/ 469 h 469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621" h="469">
                    <a:moveTo>
                      <a:pt x="2" y="368"/>
                    </a:moveTo>
                    <a:lnTo>
                      <a:pt x="0" y="374"/>
                    </a:lnTo>
                    <a:lnTo>
                      <a:pt x="24" y="390"/>
                    </a:lnTo>
                    <a:lnTo>
                      <a:pt x="16" y="430"/>
                    </a:lnTo>
                    <a:lnTo>
                      <a:pt x="26" y="460"/>
                    </a:lnTo>
                    <a:lnTo>
                      <a:pt x="54" y="468"/>
                    </a:lnTo>
                    <a:lnTo>
                      <a:pt x="78" y="464"/>
                    </a:lnTo>
                    <a:lnTo>
                      <a:pt x="74" y="446"/>
                    </a:lnTo>
                    <a:lnTo>
                      <a:pt x="58" y="432"/>
                    </a:lnTo>
                    <a:lnTo>
                      <a:pt x="58" y="412"/>
                    </a:lnTo>
                    <a:lnTo>
                      <a:pt x="102" y="386"/>
                    </a:lnTo>
                    <a:lnTo>
                      <a:pt x="118" y="366"/>
                    </a:lnTo>
                    <a:lnTo>
                      <a:pt x="174" y="364"/>
                    </a:lnTo>
                    <a:lnTo>
                      <a:pt x="204" y="356"/>
                    </a:lnTo>
                    <a:lnTo>
                      <a:pt x="208" y="342"/>
                    </a:lnTo>
                    <a:lnTo>
                      <a:pt x="236" y="346"/>
                    </a:lnTo>
                    <a:lnTo>
                      <a:pt x="250" y="328"/>
                    </a:lnTo>
                    <a:lnTo>
                      <a:pt x="300" y="330"/>
                    </a:lnTo>
                    <a:lnTo>
                      <a:pt x="310" y="294"/>
                    </a:lnTo>
                    <a:lnTo>
                      <a:pt x="308" y="244"/>
                    </a:lnTo>
                    <a:lnTo>
                      <a:pt x="322" y="226"/>
                    </a:lnTo>
                    <a:lnTo>
                      <a:pt x="346" y="254"/>
                    </a:lnTo>
                    <a:lnTo>
                      <a:pt x="364" y="274"/>
                    </a:lnTo>
                    <a:lnTo>
                      <a:pt x="384" y="264"/>
                    </a:lnTo>
                    <a:lnTo>
                      <a:pt x="402" y="248"/>
                    </a:lnTo>
                    <a:lnTo>
                      <a:pt x="428" y="246"/>
                    </a:lnTo>
                    <a:lnTo>
                      <a:pt x="500" y="244"/>
                    </a:lnTo>
                    <a:lnTo>
                      <a:pt x="518" y="230"/>
                    </a:lnTo>
                    <a:lnTo>
                      <a:pt x="570" y="218"/>
                    </a:lnTo>
                    <a:lnTo>
                      <a:pt x="592" y="188"/>
                    </a:lnTo>
                    <a:lnTo>
                      <a:pt x="620" y="142"/>
                    </a:lnTo>
                    <a:lnTo>
                      <a:pt x="620" y="114"/>
                    </a:lnTo>
                    <a:lnTo>
                      <a:pt x="590" y="76"/>
                    </a:lnTo>
                    <a:lnTo>
                      <a:pt x="586" y="60"/>
                    </a:lnTo>
                    <a:lnTo>
                      <a:pt x="550" y="54"/>
                    </a:lnTo>
                    <a:lnTo>
                      <a:pt x="520" y="40"/>
                    </a:lnTo>
                    <a:lnTo>
                      <a:pt x="510" y="58"/>
                    </a:lnTo>
                    <a:lnTo>
                      <a:pt x="486" y="76"/>
                    </a:lnTo>
                    <a:lnTo>
                      <a:pt x="464" y="62"/>
                    </a:lnTo>
                    <a:lnTo>
                      <a:pt x="440" y="64"/>
                    </a:lnTo>
                    <a:lnTo>
                      <a:pt x="428" y="86"/>
                    </a:lnTo>
                    <a:lnTo>
                      <a:pt x="402" y="90"/>
                    </a:lnTo>
                    <a:lnTo>
                      <a:pt x="390" y="68"/>
                    </a:lnTo>
                    <a:lnTo>
                      <a:pt x="406" y="30"/>
                    </a:lnTo>
                    <a:lnTo>
                      <a:pt x="420" y="12"/>
                    </a:lnTo>
                    <a:lnTo>
                      <a:pt x="410" y="0"/>
                    </a:lnTo>
                    <a:lnTo>
                      <a:pt x="400" y="2"/>
                    </a:lnTo>
                    <a:lnTo>
                      <a:pt x="394" y="4"/>
                    </a:lnTo>
                    <a:lnTo>
                      <a:pt x="390" y="8"/>
                    </a:lnTo>
                    <a:lnTo>
                      <a:pt x="386" y="12"/>
                    </a:lnTo>
                    <a:lnTo>
                      <a:pt x="382" y="14"/>
                    </a:lnTo>
                    <a:lnTo>
                      <a:pt x="380" y="18"/>
                    </a:lnTo>
                    <a:lnTo>
                      <a:pt x="376" y="18"/>
                    </a:lnTo>
                    <a:lnTo>
                      <a:pt x="372" y="22"/>
                    </a:lnTo>
                    <a:lnTo>
                      <a:pt x="368" y="22"/>
                    </a:lnTo>
                    <a:lnTo>
                      <a:pt x="364" y="24"/>
                    </a:lnTo>
                    <a:lnTo>
                      <a:pt x="360" y="24"/>
                    </a:lnTo>
                    <a:lnTo>
                      <a:pt x="356" y="26"/>
                    </a:lnTo>
                    <a:lnTo>
                      <a:pt x="352" y="26"/>
                    </a:lnTo>
                    <a:lnTo>
                      <a:pt x="348" y="26"/>
                    </a:lnTo>
                    <a:lnTo>
                      <a:pt x="336" y="20"/>
                    </a:lnTo>
                    <a:lnTo>
                      <a:pt x="302" y="14"/>
                    </a:lnTo>
                    <a:lnTo>
                      <a:pt x="278" y="16"/>
                    </a:lnTo>
                    <a:lnTo>
                      <a:pt x="272" y="32"/>
                    </a:lnTo>
                    <a:lnTo>
                      <a:pt x="276" y="56"/>
                    </a:lnTo>
                    <a:lnTo>
                      <a:pt x="272" y="70"/>
                    </a:lnTo>
                    <a:lnTo>
                      <a:pt x="258" y="70"/>
                    </a:lnTo>
                    <a:lnTo>
                      <a:pt x="248" y="54"/>
                    </a:lnTo>
                    <a:lnTo>
                      <a:pt x="236" y="42"/>
                    </a:lnTo>
                    <a:lnTo>
                      <a:pt x="216" y="48"/>
                    </a:lnTo>
                    <a:lnTo>
                      <a:pt x="218" y="74"/>
                    </a:lnTo>
                    <a:lnTo>
                      <a:pt x="200" y="80"/>
                    </a:lnTo>
                    <a:lnTo>
                      <a:pt x="180" y="96"/>
                    </a:lnTo>
                    <a:lnTo>
                      <a:pt x="188" y="120"/>
                    </a:lnTo>
                    <a:lnTo>
                      <a:pt x="188" y="138"/>
                    </a:lnTo>
                    <a:lnTo>
                      <a:pt x="176" y="158"/>
                    </a:lnTo>
                    <a:lnTo>
                      <a:pt x="166" y="164"/>
                    </a:lnTo>
                    <a:lnTo>
                      <a:pt x="154" y="198"/>
                    </a:lnTo>
                    <a:lnTo>
                      <a:pt x="142" y="206"/>
                    </a:lnTo>
                    <a:lnTo>
                      <a:pt x="132" y="228"/>
                    </a:lnTo>
                    <a:lnTo>
                      <a:pt x="136" y="248"/>
                    </a:lnTo>
                    <a:lnTo>
                      <a:pt x="126" y="262"/>
                    </a:lnTo>
                    <a:lnTo>
                      <a:pt x="96" y="268"/>
                    </a:lnTo>
                    <a:lnTo>
                      <a:pt x="90" y="270"/>
                    </a:lnTo>
                    <a:lnTo>
                      <a:pt x="92" y="294"/>
                    </a:lnTo>
                    <a:lnTo>
                      <a:pt x="62" y="312"/>
                    </a:lnTo>
                    <a:lnTo>
                      <a:pt x="52" y="320"/>
                    </a:lnTo>
                    <a:lnTo>
                      <a:pt x="46" y="342"/>
                    </a:lnTo>
                    <a:lnTo>
                      <a:pt x="2" y="368"/>
                    </a:lnTo>
                  </a:path>
                </a:pathLst>
              </a:custGeom>
              <a:solidFill>
                <a:schemeClr val="accent1"/>
              </a:solidFill>
              <a:ln w="9525" algn="ctr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70" name="Freeform 26"/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5664200" y="4581525"/>
                <a:ext cx="554038" cy="688975"/>
              </a:xfrm>
              <a:custGeom>
                <a:avLst/>
                <a:gdLst>
                  <a:gd name="T0" fmla="*/ 2147483647 w 339"/>
                  <a:gd name="T1" fmla="*/ 2147483647 h 439"/>
                  <a:gd name="T2" fmla="*/ 2147483647 w 339"/>
                  <a:gd name="T3" fmla="*/ 2147483647 h 439"/>
                  <a:gd name="T4" fmla="*/ 2147483647 w 339"/>
                  <a:gd name="T5" fmla="*/ 2147483647 h 439"/>
                  <a:gd name="T6" fmla="*/ 2147483647 w 339"/>
                  <a:gd name="T7" fmla="*/ 2147483647 h 439"/>
                  <a:gd name="T8" fmla="*/ 2147483647 w 339"/>
                  <a:gd name="T9" fmla="*/ 2147483647 h 439"/>
                  <a:gd name="T10" fmla="*/ 2147483647 w 339"/>
                  <a:gd name="T11" fmla="*/ 2147483647 h 439"/>
                  <a:gd name="T12" fmla="*/ 2147483647 w 339"/>
                  <a:gd name="T13" fmla="*/ 2147483647 h 439"/>
                  <a:gd name="T14" fmla="*/ 2147483647 w 339"/>
                  <a:gd name="T15" fmla="*/ 2147483647 h 439"/>
                  <a:gd name="T16" fmla="*/ 2147483647 w 339"/>
                  <a:gd name="T17" fmla="*/ 2147483647 h 439"/>
                  <a:gd name="T18" fmla="*/ 2147483647 w 339"/>
                  <a:gd name="T19" fmla="*/ 2147483647 h 439"/>
                  <a:gd name="T20" fmla="*/ 2147483647 w 339"/>
                  <a:gd name="T21" fmla="*/ 2147483647 h 439"/>
                  <a:gd name="T22" fmla="*/ 2147483647 w 339"/>
                  <a:gd name="T23" fmla="*/ 2147483647 h 439"/>
                  <a:gd name="T24" fmla="*/ 2147483647 w 339"/>
                  <a:gd name="T25" fmla="*/ 2147483647 h 439"/>
                  <a:gd name="T26" fmla="*/ 2147483647 w 339"/>
                  <a:gd name="T27" fmla="*/ 2147483647 h 439"/>
                  <a:gd name="T28" fmla="*/ 2147483647 w 339"/>
                  <a:gd name="T29" fmla="*/ 2147483647 h 439"/>
                  <a:gd name="T30" fmla="*/ 2147483647 w 339"/>
                  <a:gd name="T31" fmla="*/ 2147483647 h 439"/>
                  <a:gd name="T32" fmla="*/ 2147483647 w 339"/>
                  <a:gd name="T33" fmla="*/ 2147483647 h 439"/>
                  <a:gd name="T34" fmla="*/ 2147483647 w 339"/>
                  <a:gd name="T35" fmla="*/ 2147483647 h 439"/>
                  <a:gd name="T36" fmla="*/ 2147483647 w 339"/>
                  <a:gd name="T37" fmla="*/ 2147483647 h 439"/>
                  <a:gd name="T38" fmla="*/ 2147483647 w 339"/>
                  <a:gd name="T39" fmla="*/ 2147483647 h 439"/>
                  <a:gd name="T40" fmla="*/ 2147483647 w 339"/>
                  <a:gd name="T41" fmla="*/ 2147483647 h 439"/>
                  <a:gd name="T42" fmla="*/ 2147483647 w 339"/>
                  <a:gd name="T43" fmla="*/ 2147483647 h 439"/>
                  <a:gd name="T44" fmla="*/ 2147483647 w 339"/>
                  <a:gd name="T45" fmla="*/ 2147483647 h 439"/>
                  <a:gd name="T46" fmla="*/ 2147483647 w 339"/>
                  <a:gd name="T47" fmla="*/ 2147483647 h 439"/>
                  <a:gd name="T48" fmla="*/ 2147483647 w 339"/>
                  <a:gd name="T49" fmla="*/ 2147483647 h 439"/>
                  <a:gd name="T50" fmla="*/ 2147483647 w 339"/>
                  <a:gd name="T51" fmla="*/ 2147483647 h 439"/>
                  <a:gd name="T52" fmla="*/ 2147483647 w 339"/>
                  <a:gd name="T53" fmla="*/ 2147483647 h 439"/>
                  <a:gd name="T54" fmla="*/ 2147483647 w 339"/>
                  <a:gd name="T55" fmla="*/ 2147483647 h 439"/>
                  <a:gd name="T56" fmla="*/ 2147483647 w 339"/>
                  <a:gd name="T57" fmla="*/ 0 h 439"/>
                  <a:gd name="T58" fmla="*/ 2147483647 w 339"/>
                  <a:gd name="T59" fmla="*/ 2147483647 h 439"/>
                  <a:gd name="T60" fmla="*/ 2147483647 w 339"/>
                  <a:gd name="T61" fmla="*/ 2147483647 h 439"/>
                  <a:gd name="T62" fmla="*/ 2147483647 w 339"/>
                  <a:gd name="T63" fmla="*/ 2147483647 h 439"/>
                  <a:gd name="T64" fmla="*/ 2147483647 w 339"/>
                  <a:gd name="T65" fmla="*/ 2147483647 h 439"/>
                  <a:gd name="T66" fmla="*/ 2147483647 w 339"/>
                  <a:gd name="T67" fmla="*/ 2147483647 h 439"/>
                  <a:gd name="T68" fmla="*/ 2147483647 w 339"/>
                  <a:gd name="T69" fmla="*/ 2147483647 h 439"/>
                  <a:gd name="T70" fmla="*/ 2147483647 w 339"/>
                  <a:gd name="T71" fmla="*/ 2147483647 h 439"/>
                  <a:gd name="T72" fmla="*/ 2147483647 w 339"/>
                  <a:gd name="T73" fmla="*/ 2147483647 h 439"/>
                  <a:gd name="T74" fmla="*/ 2147483647 w 339"/>
                  <a:gd name="T75" fmla="*/ 2147483647 h 439"/>
                  <a:gd name="T76" fmla="*/ 2147483647 w 339"/>
                  <a:gd name="T77" fmla="*/ 2147483647 h 439"/>
                  <a:gd name="T78" fmla="*/ 2147483647 w 339"/>
                  <a:gd name="T79" fmla="*/ 2147483647 h 439"/>
                  <a:gd name="T80" fmla="*/ 2147483647 w 339"/>
                  <a:gd name="T81" fmla="*/ 2147483647 h 439"/>
                  <a:gd name="T82" fmla="*/ 2147483647 w 339"/>
                  <a:gd name="T83" fmla="*/ 2147483647 h 439"/>
                  <a:gd name="T84" fmla="*/ 2147483647 w 339"/>
                  <a:gd name="T85" fmla="*/ 2147483647 h 439"/>
                  <a:gd name="T86" fmla="*/ 2147483647 w 339"/>
                  <a:gd name="T87" fmla="*/ 2147483647 h 439"/>
                  <a:gd name="T88" fmla="*/ 2147483647 w 339"/>
                  <a:gd name="T89" fmla="*/ 2147483647 h 439"/>
                  <a:gd name="T90" fmla="*/ 0 w 339"/>
                  <a:gd name="T91" fmla="*/ 2147483647 h 439"/>
                  <a:gd name="T92" fmla="*/ 2147483647 w 339"/>
                  <a:gd name="T93" fmla="*/ 2147483647 h 439"/>
                  <a:gd name="T94" fmla="*/ 2147483647 w 339"/>
                  <a:gd name="T95" fmla="*/ 2147483647 h 439"/>
                  <a:gd name="T96" fmla="*/ 2147483647 w 339"/>
                  <a:gd name="T97" fmla="*/ 2147483647 h 439"/>
                  <a:gd name="T98" fmla="*/ 2147483647 w 339"/>
                  <a:gd name="T99" fmla="*/ 2147483647 h 439"/>
                  <a:gd name="T100" fmla="*/ 2147483647 w 339"/>
                  <a:gd name="T101" fmla="*/ 2147483647 h 439"/>
                  <a:gd name="T102" fmla="*/ 2147483647 w 339"/>
                  <a:gd name="T103" fmla="*/ 2147483647 h 439"/>
                  <a:gd name="T104" fmla="*/ 2147483647 w 339"/>
                  <a:gd name="T105" fmla="*/ 2147483647 h 439"/>
                  <a:gd name="T106" fmla="*/ 2147483647 w 339"/>
                  <a:gd name="T107" fmla="*/ 2147483647 h 439"/>
                  <a:gd name="T108" fmla="*/ 2147483647 w 339"/>
                  <a:gd name="T109" fmla="*/ 2147483647 h 439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39"/>
                  <a:gd name="T166" fmla="*/ 0 h 439"/>
                  <a:gd name="T167" fmla="*/ 339 w 339"/>
                  <a:gd name="T168" fmla="*/ 439 h 439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39" h="439">
                    <a:moveTo>
                      <a:pt x="104" y="438"/>
                    </a:moveTo>
                    <a:lnTo>
                      <a:pt x="130" y="436"/>
                    </a:lnTo>
                    <a:lnTo>
                      <a:pt x="144" y="426"/>
                    </a:lnTo>
                    <a:lnTo>
                      <a:pt x="166" y="412"/>
                    </a:lnTo>
                    <a:lnTo>
                      <a:pt x="184" y="400"/>
                    </a:lnTo>
                    <a:lnTo>
                      <a:pt x="184" y="378"/>
                    </a:lnTo>
                    <a:lnTo>
                      <a:pt x="204" y="354"/>
                    </a:lnTo>
                    <a:lnTo>
                      <a:pt x="212" y="338"/>
                    </a:lnTo>
                    <a:lnTo>
                      <a:pt x="242" y="340"/>
                    </a:lnTo>
                    <a:lnTo>
                      <a:pt x="252" y="320"/>
                    </a:lnTo>
                    <a:lnTo>
                      <a:pt x="260" y="286"/>
                    </a:lnTo>
                    <a:lnTo>
                      <a:pt x="280" y="274"/>
                    </a:lnTo>
                    <a:lnTo>
                      <a:pt x="296" y="260"/>
                    </a:lnTo>
                    <a:lnTo>
                      <a:pt x="302" y="210"/>
                    </a:lnTo>
                    <a:lnTo>
                      <a:pt x="294" y="154"/>
                    </a:lnTo>
                    <a:lnTo>
                      <a:pt x="300" y="140"/>
                    </a:lnTo>
                    <a:lnTo>
                      <a:pt x="326" y="148"/>
                    </a:lnTo>
                    <a:lnTo>
                      <a:pt x="338" y="132"/>
                    </a:lnTo>
                    <a:lnTo>
                      <a:pt x="336" y="92"/>
                    </a:lnTo>
                    <a:lnTo>
                      <a:pt x="314" y="92"/>
                    </a:lnTo>
                    <a:lnTo>
                      <a:pt x="290" y="90"/>
                    </a:lnTo>
                    <a:lnTo>
                      <a:pt x="278" y="72"/>
                    </a:lnTo>
                    <a:lnTo>
                      <a:pt x="252" y="74"/>
                    </a:lnTo>
                    <a:lnTo>
                      <a:pt x="250" y="86"/>
                    </a:lnTo>
                    <a:lnTo>
                      <a:pt x="228" y="82"/>
                    </a:lnTo>
                    <a:lnTo>
                      <a:pt x="228" y="62"/>
                    </a:lnTo>
                    <a:lnTo>
                      <a:pt x="214" y="46"/>
                    </a:lnTo>
                    <a:lnTo>
                      <a:pt x="208" y="10"/>
                    </a:lnTo>
                    <a:lnTo>
                      <a:pt x="186" y="0"/>
                    </a:lnTo>
                    <a:lnTo>
                      <a:pt x="180" y="22"/>
                    </a:lnTo>
                    <a:lnTo>
                      <a:pt x="164" y="50"/>
                    </a:lnTo>
                    <a:lnTo>
                      <a:pt x="148" y="68"/>
                    </a:lnTo>
                    <a:lnTo>
                      <a:pt x="128" y="86"/>
                    </a:lnTo>
                    <a:lnTo>
                      <a:pt x="88" y="92"/>
                    </a:lnTo>
                    <a:lnTo>
                      <a:pt x="76" y="100"/>
                    </a:lnTo>
                    <a:lnTo>
                      <a:pt x="82" y="116"/>
                    </a:lnTo>
                    <a:lnTo>
                      <a:pt x="78" y="148"/>
                    </a:lnTo>
                    <a:lnTo>
                      <a:pt x="56" y="162"/>
                    </a:lnTo>
                    <a:lnTo>
                      <a:pt x="52" y="200"/>
                    </a:lnTo>
                    <a:lnTo>
                      <a:pt x="32" y="220"/>
                    </a:lnTo>
                    <a:lnTo>
                      <a:pt x="22" y="240"/>
                    </a:lnTo>
                    <a:lnTo>
                      <a:pt x="30" y="252"/>
                    </a:lnTo>
                    <a:lnTo>
                      <a:pt x="34" y="264"/>
                    </a:lnTo>
                    <a:lnTo>
                      <a:pt x="18" y="286"/>
                    </a:lnTo>
                    <a:lnTo>
                      <a:pt x="6" y="304"/>
                    </a:lnTo>
                    <a:lnTo>
                      <a:pt x="0" y="332"/>
                    </a:lnTo>
                    <a:lnTo>
                      <a:pt x="4" y="354"/>
                    </a:lnTo>
                    <a:lnTo>
                      <a:pt x="14" y="346"/>
                    </a:lnTo>
                    <a:lnTo>
                      <a:pt x="32" y="354"/>
                    </a:lnTo>
                    <a:lnTo>
                      <a:pt x="62" y="364"/>
                    </a:lnTo>
                    <a:lnTo>
                      <a:pt x="70" y="366"/>
                    </a:lnTo>
                    <a:lnTo>
                      <a:pt x="86" y="390"/>
                    </a:lnTo>
                    <a:lnTo>
                      <a:pt x="100" y="412"/>
                    </a:lnTo>
                    <a:lnTo>
                      <a:pt x="108" y="426"/>
                    </a:lnTo>
                    <a:lnTo>
                      <a:pt x="104" y="438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71" name="Freeform 27"/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6251575" y="4986338"/>
                <a:ext cx="231775" cy="517525"/>
              </a:xfrm>
              <a:custGeom>
                <a:avLst/>
                <a:gdLst>
                  <a:gd name="T0" fmla="*/ 2147483647 w 143"/>
                  <a:gd name="T1" fmla="*/ 2147483647 h 329"/>
                  <a:gd name="T2" fmla="*/ 2147483647 w 143"/>
                  <a:gd name="T3" fmla="*/ 2147483647 h 329"/>
                  <a:gd name="T4" fmla="*/ 2147483647 w 143"/>
                  <a:gd name="T5" fmla="*/ 2147483647 h 329"/>
                  <a:gd name="T6" fmla="*/ 2147483647 w 143"/>
                  <a:gd name="T7" fmla="*/ 2147483647 h 329"/>
                  <a:gd name="T8" fmla="*/ 2147483647 w 143"/>
                  <a:gd name="T9" fmla="*/ 2147483647 h 329"/>
                  <a:gd name="T10" fmla="*/ 2147483647 w 143"/>
                  <a:gd name="T11" fmla="*/ 2147483647 h 329"/>
                  <a:gd name="T12" fmla="*/ 2147483647 w 143"/>
                  <a:gd name="T13" fmla="*/ 2147483647 h 329"/>
                  <a:gd name="T14" fmla="*/ 2147483647 w 143"/>
                  <a:gd name="T15" fmla="*/ 2147483647 h 329"/>
                  <a:gd name="T16" fmla="*/ 2147483647 w 143"/>
                  <a:gd name="T17" fmla="*/ 2147483647 h 329"/>
                  <a:gd name="T18" fmla="*/ 2147483647 w 143"/>
                  <a:gd name="T19" fmla="*/ 2147483647 h 329"/>
                  <a:gd name="T20" fmla="*/ 2147483647 w 143"/>
                  <a:gd name="T21" fmla="*/ 2147483647 h 329"/>
                  <a:gd name="T22" fmla="*/ 2147483647 w 143"/>
                  <a:gd name="T23" fmla="*/ 0 h 329"/>
                  <a:gd name="T24" fmla="*/ 2147483647 w 143"/>
                  <a:gd name="T25" fmla="*/ 2147483647 h 329"/>
                  <a:gd name="T26" fmla="*/ 2147483647 w 143"/>
                  <a:gd name="T27" fmla="*/ 2147483647 h 329"/>
                  <a:gd name="T28" fmla="*/ 2147483647 w 143"/>
                  <a:gd name="T29" fmla="*/ 2147483647 h 329"/>
                  <a:gd name="T30" fmla="*/ 2147483647 w 143"/>
                  <a:gd name="T31" fmla="*/ 2147483647 h 329"/>
                  <a:gd name="T32" fmla="*/ 2147483647 w 143"/>
                  <a:gd name="T33" fmla="*/ 2147483647 h 329"/>
                  <a:gd name="T34" fmla="*/ 2147483647 w 143"/>
                  <a:gd name="T35" fmla="*/ 2147483647 h 329"/>
                  <a:gd name="T36" fmla="*/ 2147483647 w 143"/>
                  <a:gd name="T37" fmla="*/ 2147483647 h 329"/>
                  <a:gd name="T38" fmla="*/ 0 w 143"/>
                  <a:gd name="T39" fmla="*/ 2147483647 h 329"/>
                  <a:gd name="T40" fmla="*/ 2147483647 w 143"/>
                  <a:gd name="T41" fmla="*/ 2147483647 h 329"/>
                  <a:gd name="T42" fmla="*/ 2147483647 w 143"/>
                  <a:gd name="T43" fmla="*/ 2147483647 h 329"/>
                  <a:gd name="T44" fmla="*/ 2147483647 w 143"/>
                  <a:gd name="T45" fmla="*/ 2147483647 h 329"/>
                  <a:gd name="T46" fmla="*/ 2147483647 w 143"/>
                  <a:gd name="T47" fmla="*/ 2147483647 h 329"/>
                  <a:gd name="T48" fmla="*/ 2147483647 w 143"/>
                  <a:gd name="T49" fmla="*/ 2147483647 h 329"/>
                  <a:gd name="T50" fmla="*/ 2147483647 w 143"/>
                  <a:gd name="T51" fmla="*/ 2147483647 h 329"/>
                  <a:gd name="T52" fmla="*/ 2147483647 w 143"/>
                  <a:gd name="T53" fmla="*/ 2147483647 h 329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43"/>
                  <a:gd name="T82" fmla="*/ 0 h 329"/>
                  <a:gd name="T83" fmla="*/ 143 w 143"/>
                  <a:gd name="T84" fmla="*/ 329 h 329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43" h="329">
                    <a:moveTo>
                      <a:pt x="82" y="288"/>
                    </a:moveTo>
                    <a:lnTo>
                      <a:pt x="84" y="270"/>
                    </a:lnTo>
                    <a:lnTo>
                      <a:pt x="76" y="242"/>
                    </a:lnTo>
                    <a:lnTo>
                      <a:pt x="108" y="208"/>
                    </a:lnTo>
                    <a:lnTo>
                      <a:pt x="118" y="178"/>
                    </a:lnTo>
                    <a:lnTo>
                      <a:pt x="112" y="150"/>
                    </a:lnTo>
                    <a:lnTo>
                      <a:pt x="110" y="126"/>
                    </a:lnTo>
                    <a:lnTo>
                      <a:pt x="116" y="98"/>
                    </a:lnTo>
                    <a:lnTo>
                      <a:pt x="132" y="78"/>
                    </a:lnTo>
                    <a:lnTo>
                      <a:pt x="142" y="54"/>
                    </a:lnTo>
                    <a:lnTo>
                      <a:pt x="134" y="14"/>
                    </a:lnTo>
                    <a:lnTo>
                      <a:pt x="110" y="0"/>
                    </a:lnTo>
                    <a:lnTo>
                      <a:pt x="94" y="8"/>
                    </a:lnTo>
                    <a:lnTo>
                      <a:pt x="76" y="18"/>
                    </a:lnTo>
                    <a:lnTo>
                      <a:pt x="54" y="52"/>
                    </a:lnTo>
                    <a:lnTo>
                      <a:pt x="44" y="82"/>
                    </a:lnTo>
                    <a:lnTo>
                      <a:pt x="26" y="118"/>
                    </a:lnTo>
                    <a:lnTo>
                      <a:pt x="16" y="142"/>
                    </a:lnTo>
                    <a:lnTo>
                      <a:pt x="2" y="162"/>
                    </a:lnTo>
                    <a:lnTo>
                      <a:pt x="0" y="196"/>
                    </a:lnTo>
                    <a:lnTo>
                      <a:pt x="8" y="242"/>
                    </a:lnTo>
                    <a:lnTo>
                      <a:pt x="30" y="250"/>
                    </a:lnTo>
                    <a:lnTo>
                      <a:pt x="44" y="274"/>
                    </a:lnTo>
                    <a:lnTo>
                      <a:pt x="52" y="302"/>
                    </a:lnTo>
                    <a:lnTo>
                      <a:pt x="58" y="322"/>
                    </a:lnTo>
                    <a:lnTo>
                      <a:pt x="86" y="328"/>
                    </a:lnTo>
                    <a:lnTo>
                      <a:pt x="82" y="288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72" name="Freeform 28"/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5353050" y="4381500"/>
                <a:ext cx="622300" cy="820738"/>
              </a:xfrm>
              <a:custGeom>
                <a:avLst/>
                <a:gdLst>
                  <a:gd name="T0" fmla="*/ 2147483647 w 379"/>
                  <a:gd name="T1" fmla="*/ 2147483647 h 521"/>
                  <a:gd name="T2" fmla="*/ 2147483647 w 379"/>
                  <a:gd name="T3" fmla="*/ 2147483647 h 521"/>
                  <a:gd name="T4" fmla="*/ 2147483647 w 379"/>
                  <a:gd name="T5" fmla="*/ 2147483647 h 521"/>
                  <a:gd name="T6" fmla="*/ 2147483647 w 379"/>
                  <a:gd name="T7" fmla="*/ 2147483647 h 521"/>
                  <a:gd name="T8" fmla="*/ 2147483647 w 379"/>
                  <a:gd name="T9" fmla="*/ 2147483647 h 521"/>
                  <a:gd name="T10" fmla="*/ 2147483647 w 379"/>
                  <a:gd name="T11" fmla="*/ 2147483647 h 521"/>
                  <a:gd name="T12" fmla="*/ 2147483647 w 379"/>
                  <a:gd name="T13" fmla="*/ 2147483647 h 521"/>
                  <a:gd name="T14" fmla="*/ 2147483647 w 379"/>
                  <a:gd name="T15" fmla="*/ 2147483647 h 521"/>
                  <a:gd name="T16" fmla="*/ 2147483647 w 379"/>
                  <a:gd name="T17" fmla="*/ 2147483647 h 521"/>
                  <a:gd name="T18" fmla="*/ 2147483647 w 379"/>
                  <a:gd name="T19" fmla="*/ 2147483647 h 521"/>
                  <a:gd name="T20" fmla="*/ 2147483647 w 379"/>
                  <a:gd name="T21" fmla="*/ 2147483647 h 521"/>
                  <a:gd name="T22" fmla="*/ 2147483647 w 379"/>
                  <a:gd name="T23" fmla="*/ 2147483647 h 521"/>
                  <a:gd name="T24" fmla="*/ 2147483647 w 379"/>
                  <a:gd name="T25" fmla="*/ 2147483647 h 521"/>
                  <a:gd name="T26" fmla="*/ 2147483647 w 379"/>
                  <a:gd name="T27" fmla="*/ 2147483647 h 521"/>
                  <a:gd name="T28" fmla="*/ 2147483647 w 379"/>
                  <a:gd name="T29" fmla="*/ 2147483647 h 521"/>
                  <a:gd name="T30" fmla="*/ 2147483647 w 379"/>
                  <a:gd name="T31" fmla="*/ 2147483647 h 521"/>
                  <a:gd name="T32" fmla="*/ 2147483647 w 379"/>
                  <a:gd name="T33" fmla="*/ 2147483647 h 521"/>
                  <a:gd name="T34" fmla="*/ 2147483647 w 379"/>
                  <a:gd name="T35" fmla="*/ 2147483647 h 521"/>
                  <a:gd name="T36" fmla="*/ 2147483647 w 379"/>
                  <a:gd name="T37" fmla="*/ 2147483647 h 521"/>
                  <a:gd name="T38" fmla="*/ 2147483647 w 379"/>
                  <a:gd name="T39" fmla="*/ 2147483647 h 521"/>
                  <a:gd name="T40" fmla="*/ 2147483647 w 379"/>
                  <a:gd name="T41" fmla="*/ 2147483647 h 521"/>
                  <a:gd name="T42" fmla="*/ 2147483647 w 379"/>
                  <a:gd name="T43" fmla="*/ 2147483647 h 521"/>
                  <a:gd name="T44" fmla="*/ 2147483647 w 379"/>
                  <a:gd name="T45" fmla="*/ 2147483647 h 521"/>
                  <a:gd name="T46" fmla="*/ 2147483647 w 379"/>
                  <a:gd name="T47" fmla="*/ 2147483647 h 521"/>
                  <a:gd name="T48" fmla="*/ 2147483647 w 379"/>
                  <a:gd name="T49" fmla="*/ 2147483647 h 521"/>
                  <a:gd name="T50" fmla="*/ 2147483647 w 379"/>
                  <a:gd name="T51" fmla="*/ 2147483647 h 521"/>
                  <a:gd name="T52" fmla="*/ 2147483647 w 379"/>
                  <a:gd name="T53" fmla="*/ 2147483647 h 521"/>
                  <a:gd name="T54" fmla="*/ 2147483647 w 379"/>
                  <a:gd name="T55" fmla="*/ 2147483647 h 521"/>
                  <a:gd name="T56" fmla="*/ 2147483647 w 379"/>
                  <a:gd name="T57" fmla="*/ 2147483647 h 521"/>
                  <a:gd name="T58" fmla="*/ 2147483647 w 379"/>
                  <a:gd name="T59" fmla="*/ 2147483647 h 521"/>
                  <a:gd name="T60" fmla="*/ 2147483647 w 379"/>
                  <a:gd name="T61" fmla="*/ 2147483647 h 521"/>
                  <a:gd name="T62" fmla="*/ 2147483647 w 379"/>
                  <a:gd name="T63" fmla="*/ 2147483647 h 521"/>
                  <a:gd name="T64" fmla="*/ 2147483647 w 379"/>
                  <a:gd name="T65" fmla="*/ 2147483647 h 521"/>
                  <a:gd name="T66" fmla="*/ 2147483647 w 379"/>
                  <a:gd name="T67" fmla="*/ 2147483647 h 521"/>
                  <a:gd name="T68" fmla="*/ 2147483647 w 379"/>
                  <a:gd name="T69" fmla="*/ 2147483647 h 521"/>
                  <a:gd name="T70" fmla="*/ 2147483647 w 379"/>
                  <a:gd name="T71" fmla="*/ 2147483647 h 521"/>
                  <a:gd name="T72" fmla="*/ 2147483647 w 379"/>
                  <a:gd name="T73" fmla="*/ 2147483647 h 521"/>
                  <a:gd name="T74" fmla="*/ 2147483647 w 379"/>
                  <a:gd name="T75" fmla="*/ 2147483647 h 521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79"/>
                  <a:gd name="T115" fmla="*/ 0 h 521"/>
                  <a:gd name="T116" fmla="*/ 379 w 379"/>
                  <a:gd name="T117" fmla="*/ 521 h 521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79" h="521">
                    <a:moveTo>
                      <a:pt x="34" y="456"/>
                    </a:moveTo>
                    <a:lnTo>
                      <a:pt x="30" y="418"/>
                    </a:lnTo>
                    <a:lnTo>
                      <a:pt x="40" y="400"/>
                    </a:lnTo>
                    <a:lnTo>
                      <a:pt x="48" y="380"/>
                    </a:lnTo>
                    <a:lnTo>
                      <a:pt x="38" y="358"/>
                    </a:lnTo>
                    <a:lnTo>
                      <a:pt x="26" y="336"/>
                    </a:lnTo>
                    <a:lnTo>
                      <a:pt x="28" y="308"/>
                    </a:lnTo>
                    <a:lnTo>
                      <a:pt x="12" y="288"/>
                    </a:lnTo>
                    <a:lnTo>
                      <a:pt x="6" y="236"/>
                    </a:lnTo>
                    <a:lnTo>
                      <a:pt x="22" y="208"/>
                    </a:lnTo>
                    <a:lnTo>
                      <a:pt x="32" y="198"/>
                    </a:lnTo>
                    <a:lnTo>
                      <a:pt x="30" y="158"/>
                    </a:lnTo>
                    <a:lnTo>
                      <a:pt x="22" y="146"/>
                    </a:lnTo>
                    <a:lnTo>
                      <a:pt x="8" y="112"/>
                    </a:lnTo>
                    <a:lnTo>
                      <a:pt x="0" y="90"/>
                    </a:lnTo>
                    <a:lnTo>
                      <a:pt x="14" y="90"/>
                    </a:lnTo>
                    <a:lnTo>
                      <a:pt x="26" y="74"/>
                    </a:lnTo>
                    <a:lnTo>
                      <a:pt x="44" y="66"/>
                    </a:lnTo>
                    <a:lnTo>
                      <a:pt x="64" y="66"/>
                    </a:lnTo>
                    <a:lnTo>
                      <a:pt x="76" y="70"/>
                    </a:lnTo>
                    <a:lnTo>
                      <a:pt x="84" y="58"/>
                    </a:lnTo>
                    <a:lnTo>
                      <a:pt x="88" y="42"/>
                    </a:lnTo>
                    <a:lnTo>
                      <a:pt x="106" y="46"/>
                    </a:lnTo>
                    <a:lnTo>
                      <a:pt x="120" y="34"/>
                    </a:lnTo>
                    <a:lnTo>
                      <a:pt x="152" y="28"/>
                    </a:lnTo>
                    <a:lnTo>
                      <a:pt x="172" y="26"/>
                    </a:lnTo>
                    <a:lnTo>
                      <a:pt x="178" y="14"/>
                    </a:lnTo>
                    <a:lnTo>
                      <a:pt x="186" y="16"/>
                    </a:lnTo>
                    <a:lnTo>
                      <a:pt x="220" y="12"/>
                    </a:lnTo>
                    <a:lnTo>
                      <a:pt x="220" y="14"/>
                    </a:lnTo>
                    <a:lnTo>
                      <a:pt x="224" y="14"/>
                    </a:lnTo>
                    <a:lnTo>
                      <a:pt x="234" y="32"/>
                    </a:lnTo>
                    <a:lnTo>
                      <a:pt x="248" y="26"/>
                    </a:lnTo>
                    <a:lnTo>
                      <a:pt x="248" y="10"/>
                    </a:lnTo>
                    <a:lnTo>
                      <a:pt x="266" y="0"/>
                    </a:lnTo>
                    <a:lnTo>
                      <a:pt x="280" y="16"/>
                    </a:lnTo>
                    <a:lnTo>
                      <a:pt x="308" y="34"/>
                    </a:lnTo>
                    <a:lnTo>
                      <a:pt x="334" y="44"/>
                    </a:lnTo>
                    <a:lnTo>
                      <a:pt x="348" y="52"/>
                    </a:lnTo>
                    <a:lnTo>
                      <a:pt x="350" y="90"/>
                    </a:lnTo>
                    <a:lnTo>
                      <a:pt x="354" y="104"/>
                    </a:lnTo>
                    <a:lnTo>
                      <a:pt x="378" y="122"/>
                    </a:lnTo>
                    <a:lnTo>
                      <a:pt x="374" y="144"/>
                    </a:lnTo>
                    <a:lnTo>
                      <a:pt x="352" y="184"/>
                    </a:lnTo>
                    <a:lnTo>
                      <a:pt x="326" y="212"/>
                    </a:lnTo>
                    <a:lnTo>
                      <a:pt x="300" y="218"/>
                    </a:lnTo>
                    <a:lnTo>
                      <a:pt x="282" y="220"/>
                    </a:lnTo>
                    <a:lnTo>
                      <a:pt x="272" y="228"/>
                    </a:lnTo>
                    <a:lnTo>
                      <a:pt x="276" y="242"/>
                    </a:lnTo>
                    <a:lnTo>
                      <a:pt x="270" y="276"/>
                    </a:lnTo>
                    <a:lnTo>
                      <a:pt x="248" y="288"/>
                    </a:lnTo>
                    <a:lnTo>
                      <a:pt x="244" y="324"/>
                    </a:lnTo>
                    <a:lnTo>
                      <a:pt x="244" y="330"/>
                    </a:lnTo>
                    <a:lnTo>
                      <a:pt x="224" y="352"/>
                    </a:lnTo>
                    <a:lnTo>
                      <a:pt x="218" y="366"/>
                    </a:lnTo>
                    <a:lnTo>
                      <a:pt x="228" y="390"/>
                    </a:lnTo>
                    <a:lnTo>
                      <a:pt x="218" y="404"/>
                    </a:lnTo>
                    <a:lnTo>
                      <a:pt x="200" y="426"/>
                    </a:lnTo>
                    <a:lnTo>
                      <a:pt x="194" y="458"/>
                    </a:lnTo>
                    <a:lnTo>
                      <a:pt x="194" y="480"/>
                    </a:lnTo>
                    <a:lnTo>
                      <a:pt x="170" y="502"/>
                    </a:lnTo>
                    <a:lnTo>
                      <a:pt x="160" y="504"/>
                    </a:lnTo>
                    <a:lnTo>
                      <a:pt x="142" y="488"/>
                    </a:lnTo>
                    <a:lnTo>
                      <a:pt x="134" y="488"/>
                    </a:lnTo>
                    <a:lnTo>
                      <a:pt x="124" y="490"/>
                    </a:lnTo>
                    <a:lnTo>
                      <a:pt x="110" y="510"/>
                    </a:lnTo>
                    <a:lnTo>
                      <a:pt x="90" y="520"/>
                    </a:lnTo>
                    <a:lnTo>
                      <a:pt x="78" y="516"/>
                    </a:lnTo>
                    <a:lnTo>
                      <a:pt x="70" y="496"/>
                    </a:lnTo>
                    <a:lnTo>
                      <a:pt x="74" y="474"/>
                    </a:lnTo>
                    <a:lnTo>
                      <a:pt x="86" y="450"/>
                    </a:lnTo>
                    <a:lnTo>
                      <a:pt x="94" y="434"/>
                    </a:lnTo>
                    <a:lnTo>
                      <a:pt x="86" y="430"/>
                    </a:lnTo>
                    <a:lnTo>
                      <a:pt x="74" y="438"/>
                    </a:lnTo>
                    <a:lnTo>
                      <a:pt x="56" y="444"/>
                    </a:lnTo>
                    <a:lnTo>
                      <a:pt x="34" y="45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73" name="Freeform 29"/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724400" y="4422775"/>
                <a:ext cx="715963" cy="781050"/>
              </a:xfrm>
              <a:custGeom>
                <a:avLst/>
                <a:gdLst>
                  <a:gd name="T0" fmla="*/ 2147483647 w 437"/>
                  <a:gd name="T1" fmla="*/ 2147483647 h 497"/>
                  <a:gd name="T2" fmla="*/ 2147483647 w 437"/>
                  <a:gd name="T3" fmla="*/ 2147483647 h 497"/>
                  <a:gd name="T4" fmla="*/ 2147483647 w 437"/>
                  <a:gd name="T5" fmla="*/ 2147483647 h 497"/>
                  <a:gd name="T6" fmla="*/ 0 w 437"/>
                  <a:gd name="T7" fmla="*/ 2147483647 h 497"/>
                  <a:gd name="T8" fmla="*/ 2147483647 w 437"/>
                  <a:gd name="T9" fmla="*/ 2147483647 h 497"/>
                  <a:gd name="T10" fmla="*/ 2147483647 w 437"/>
                  <a:gd name="T11" fmla="*/ 2147483647 h 497"/>
                  <a:gd name="T12" fmla="*/ 2147483647 w 437"/>
                  <a:gd name="T13" fmla="*/ 2147483647 h 497"/>
                  <a:gd name="T14" fmla="*/ 2147483647 w 437"/>
                  <a:gd name="T15" fmla="*/ 2147483647 h 497"/>
                  <a:gd name="T16" fmla="*/ 2147483647 w 437"/>
                  <a:gd name="T17" fmla="*/ 2147483647 h 497"/>
                  <a:gd name="T18" fmla="*/ 2147483647 w 437"/>
                  <a:gd name="T19" fmla="*/ 2147483647 h 497"/>
                  <a:gd name="T20" fmla="*/ 2147483647 w 437"/>
                  <a:gd name="T21" fmla="*/ 2147483647 h 497"/>
                  <a:gd name="T22" fmla="*/ 2147483647 w 437"/>
                  <a:gd name="T23" fmla="*/ 0 h 497"/>
                  <a:gd name="T24" fmla="*/ 2147483647 w 437"/>
                  <a:gd name="T25" fmla="*/ 2147483647 h 497"/>
                  <a:gd name="T26" fmla="*/ 2147483647 w 437"/>
                  <a:gd name="T27" fmla="*/ 2147483647 h 497"/>
                  <a:gd name="T28" fmla="*/ 2147483647 w 437"/>
                  <a:gd name="T29" fmla="*/ 2147483647 h 497"/>
                  <a:gd name="T30" fmla="*/ 2147483647 w 437"/>
                  <a:gd name="T31" fmla="*/ 2147483647 h 497"/>
                  <a:gd name="T32" fmla="*/ 2147483647 w 437"/>
                  <a:gd name="T33" fmla="*/ 2147483647 h 497"/>
                  <a:gd name="T34" fmla="*/ 2147483647 w 437"/>
                  <a:gd name="T35" fmla="*/ 2147483647 h 497"/>
                  <a:gd name="T36" fmla="*/ 2147483647 w 437"/>
                  <a:gd name="T37" fmla="*/ 2147483647 h 497"/>
                  <a:gd name="T38" fmla="*/ 2147483647 w 437"/>
                  <a:gd name="T39" fmla="*/ 2147483647 h 497"/>
                  <a:gd name="T40" fmla="*/ 2147483647 w 437"/>
                  <a:gd name="T41" fmla="*/ 2147483647 h 497"/>
                  <a:gd name="T42" fmla="*/ 2147483647 w 437"/>
                  <a:gd name="T43" fmla="*/ 2147483647 h 497"/>
                  <a:gd name="T44" fmla="*/ 2147483647 w 437"/>
                  <a:gd name="T45" fmla="*/ 2147483647 h 497"/>
                  <a:gd name="T46" fmla="*/ 2147483647 w 437"/>
                  <a:gd name="T47" fmla="*/ 2147483647 h 497"/>
                  <a:gd name="T48" fmla="*/ 2147483647 w 437"/>
                  <a:gd name="T49" fmla="*/ 2147483647 h 497"/>
                  <a:gd name="T50" fmla="*/ 2147483647 w 437"/>
                  <a:gd name="T51" fmla="*/ 2147483647 h 497"/>
                  <a:gd name="T52" fmla="*/ 2147483647 w 437"/>
                  <a:gd name="T53" fmla="*/ 2147483647 h 497"/>
                  <a:gd name="T54" fmla="*/ 2147483647 w 437"/>
                  <a:gd name="T55" fmla="*/ 2147483647 h 497"/>
                  <a:gd name="T56" fmla="*/ 2147483647 w 437"/>
                  <a:gd name="T57" fmla="*/ 2147483647 h 497"/>
                  <a:gd name="T58" fmla="*/ 2147483647 w 437"/>
                  <a:gd name="T59" fmla="*/ 2147483647 h 497"/>
                  <a:gd name="T60" fmla="*/ 2147483647 w 437"/>
                  <a:gd name="T61" fmla="*/ 2147483647 h 497"/>
                  <a:gd name="T62" fmla="*/ 2147483647 w 437"/>
                  <a:gd name="T63" fmla="*/ 2147483647 h 497"/>
                  <a:gd name="T64" fmla="*/ 2147483647 w 437"/>
                  <a:gd name="T65" fmla="*/ 2147483647 h 497"/>
                  <a:gd name="T66" fmla="*/ 2147483647 w 437"/>
                  <a:gd name="T67" fmla="*/ 2147483647 h 497"/>
                  <a:gd name="T68" fmla="*/ 2147483647 w 437"/>
                  <a:gd name="T69" fmla="*/ 2147483647 h 497"/>
                  <a:gd name="T70" fmla="*/ 2147483647 w 437"/>
                  <a:gd name="T71" fmla="*/ 2147483647 h 497"/>
                  <a:gd name="T72" fmla="*/ 2147483647 w 437"/>
                  <a:gd name="T73" fmla="*/ 2147483647 h 497"/>
                  <a:gd name="T74" fmla="*/ 2147483647 w 437"/>
                  <a:gd name="T75" fmla="*/ 2147483647 h 497"/>
                  <a:gd name="T76" fmla="*/ 2147483647 w 437"/>
                  <a:gd name="T77" fmla="*/ 2147483647 h 497"/>
                  <a:gd name="T78" fmla="*/ 2147483647 w 437"/>
                  <a:gd name="T79" fmla="*/ 2147483647 h 497"/>
                  <a:gd name="T80" fmla="*/ 2147483647 w 437"/>
                  <a:gd name="T81" fmla="*/ 2147483647 h 497"/>
                  <a:gd name="T82" fmla="*/ 2147483647 w 437"/>
                  <a:gd name="T83" fmla="*/ 2147483647 h 497"/>
                  <a:gd name="T84" fmla="*/ 2147483647 w 437"/>
                  <a:gd name="T85" fmla="*/ 2147483647 h 49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437"/>
                  <a:gd name="T130" fmla="*/ 0 h 497"/>
                  <a:gd name="T131" fmla="*/ 437 w 437"/>
                  <a:gd name="T132" fmla="*/ 497 h 49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437" h="497">
                    <a:moveTo>
                      <a:pt x="40" y="382"/>
                    </a:moveTo>
                    <a:lnTo>
                      <a:pt x="42" y="374"/>
                    </a:lnTo>
                    <a:lnTo>
                      <a:pt x="28" y="360"/>
                    </a:lnTo>
                    <a:lnTo>
                      <a:pt x="32" y="328"/>
                    </a:lnTo>
                    <a:lnTo>
                      <a:pt x="40" y="310"/>
                    </a:lnTo>
                    <a:lnTo>
                      <a:pt x="32" y="302"/>
                    </a:lnTo>
                    <a:lnTo>
                      <a:pt x="6" y="298"/>
                    </a:lnTo>
                    <a:lnTo>
                      <a:pt x="0" y="270"/>
                    </a:lnTo>
                    <a:lnTo>
                      <a:pt x="32" y="258"/>
                    </a:lnTo>
                    <a:lnTo>
                      <a:pt x="28" y="230"/>
                    </a:lnTo>
                    <a:lnTo>
                      <a:pt x="28" y="196"/>
                    </a:lnTo>
                    <a:lnTo>
                      <a:pt x="24" y="182"/>
                    </a:lnTo>
                    <a:lnTo>
                      <a:pt x="6" y="164"/>
                    </a:lnTo>
                    <a:lnTo>
                      <a:pt x="18" y="160"/>
                    </a:lnTo>
                    <a:lnTo>
                      <a:pt x="26" y="148"/>
                    </a:lnTo>
                    <a:lnTo>
                      <a:pt x="26" y="92"/>
                    </a:lnTo>
                    <a:lnTo>
                      <a:pt x="34" y="84"/>
                    </a:lnTo>
                    <a:lnTo>
                      <a:pt x="36" y="64"/>
                    </a:lnTo>
                    <a:lnTo>
                      <a:pt x="58" y="56"/>
                    </a:lnTo>
                    <a:lnTo>
                      <a:pt x="64" y="48"/>
                    </a:lnTo>
                    <a:lnTo>
                      <a:pt x="114" y="46"/>
                    </a:lnTo>
                    <a:lnTo>
                      <a:pt x="116" y="30"/>
                    </a:lnTo>
                    <a:lnTo>
                      <a:pt x="94" y="14"/>
                    </a:lnTo>
                    <a:lnTo>
                      <a:pt x="100" y="0"/>
                    </a:lnTo>
                    <a:lnTo>
                      <a:pt x="148" y="0"/>
                    </a:lnTo>
                    <a:lnTo>
                      <a:pt x="154" y="16"/>
                    </a:lnTo>
                    <a:lnTo>
                      <a:pt x="204" y="16"/>
                    </a:lnTo>
                    <a:lnTo>
                      <a:pt x="222" y="14"/>
                    </a:lnTo>
                    <a:lnTo>
                      <a:pt x="230" y="16"/>
                    </a:lnTo>
                    <a:lnTo>
                      <a:pt x="244" y="42"/>
                    </a:lnTo>
                    <a:lnTo>
                      <a:pt x="268" y="48"/>
                    </a:lnTo>
                    <a:lnTo>
                      <a:pt x="278" y="48"/>
                    </a:lnTo>
                    <a:lnTo>
                      <a:pt x="292" y="20"/>
                    </a:lnTo>
                    <a:lnTo>
                      <a:pt x="308" y="22"/>
                    </a:lnTo>
                    <a:lnTo>
                      <a:pt x="316" y="44"/>
                    </a:lnTo>
                    <a:lnTo>
                      <a:pt x="324" y="42"/>
                    </a:lnTo>
                    <a:lnTo>
                      <a:pt x="330" y="42"/>
                    </a:lnTo>
                    <a:lnTo>
                      <a:pt x="336" y="22"/>
                    </a:lnTo>
                    <a:lnTo>
                      <a:pt x="366" y="14"/>
                    </a:lnTo>
                    <a:lnTo>
                      <a:pt x="368" y="32"/>
                    </a:lnTo>
                    <a:lnTo>
                      <a:pt x="364" y="46"/>
                    </a:lnTo>
                    <a:lnTo>
                      <a:pt x="374" y="62"/>
                    </a:lnTo>
                    <a:lnTo>
                      <a:pt x="390" y="62"/>
                    </a:lnTo>
                    <a:lnTo>
                      <a:pt x="400" y="92"/>
                    </a:lnTo>
                    <a:lnTo>
                      <a:pt x="414" y="124"/>
                    </a:lnTo>
                    <a:lnTo>
                      <a:pt x="418" y="154"/>
                    </a:lnTo>
                    <a:lnTo>
                      <a:pt x="416" y="174"/>
                    </a:lnTo>
                    <a:lnTo>
                      <a:pt x="398" y="198"/>
                    </a:lnTo>
                    <a:lnTo>
                      <a:pt x="394" y="212"/>
                    </a:lnTo>
                    <a:lnTo>
                      <a:pt x="398" y="246"/>
                    </a:lnTo>
                    <a:lnTo>
                      <a:pt x="400" y="264"/>
                    </a:lnTo>
                    <a:lnTo>
                      <a:pt x="414" y="276"/>
                    </a:lnTo>
                    <a:lnTo>
                      <a:pt x="414" y="296"/>
                    </a:lnTo>
                    <a:lnTo>
                      <a:pt x="412" y="308"/>
                    </a:lnTo>
                    <a:lnTo>
                      <a:pt x="436" y="348"/>
                    </a:lnTo>
                    <a:lnTo>
                      <a:pt x="436" y="364"/>
                    </a:lnTo>
                    <a:lnTo>
                      <a:pt x="418" y="394"/>
                    </a:lnTo>
                    <a:lnTo>
                      <a:pt x="422" y="428"/>
                    </a:lnTo>
                    <a:lnTo>
                      <a:pt x="414" y="430"/>
                    </a:lnTo>
                    <a:lnTo>
                      <a:pt x="390" y="414"/>
                    </a:lnTo>
                    <a:lnTo>
                      <a:pt x="366" y="412"/>
                    </a:lnTo>
                    <a:lnTo>
                      <a:pt x="346" y="414"/>
                    </a:lnTo>
                    <a:lnTo>
                      <a:pt x="336" y="420"/>
                    </a:lnTo>
                    <a:lnTo>
                      <a:pt x="338" y="446"/>
                    </a:lnTo>
                    <a:lnTo>
                      <a:pt x="338" y="464"/>
                    </a:lnTo>
                    <a:lnTo>
                      <a:pt x="324" y="470"/>
                    </a:lnTo>
                    <a:lnTo>
                      <a:pt x="316" y="466"/>
                    </a:lnTo>
                    <a:lnTo>
                      <a:pt x="296" y="442"/>
                    </a:lnTo>
                    <a:lnTo>
                      <a:pt x="284" y="452"/>
                    </a:lnTo>
                    <a:lnTo>
                      <a:pt x="284" y="470"/>
                    </a:lnTo>
                    <a:lnTo>
                      <a:pt x="274" y="480"/>
                    </a:lnTo>
                    <a:lnTo>
                      <a:pt x="248" y="496"/>
                    </a:lnTo>
                    <a:lnTo>
                      <a:pt x="208" y="494"/>
                    </a:lnTo>
                    <a:lnTo>
                      <a:pt x="204" y="470"/>
                    </a:lnTo>
                    <a:lnTo>
                      <a:pt x="168" y="470"/>
                    </a:lnTo>
                    <a:lnTo>
                      <a:pt x="174" y="434"/>
                    </a:lnTo>
                    <a:lnTo>
                      <a:pt x="200" y="412"/>
                    </a:lnTo>
                    <a:lnTo>
                      <a:pt x="196" y="396"/>
                    </a:lnTo>
                    <a:lnTo>
                      <a:pt x="180" y="356"/>
                    </a:lnTo>
                    <a:lnTo>
                      <a:pt x="172" y="350"/>
                    </a:lnTo>
                    <a:lnTo>
                      <a:pt x="150" y="358"/>
                    </a:lnTo>
                    <a:lnTo>
                      <a:pt x="142" y="370"/>
                    </a:lnTo>
                    <a:lnTo>
                      <a:pt x="116" y="374"/>
                    </a:lnTo>
                    <a:lnTo>
                      <a:pt x="92" y="384"/>
                    </a:lnTo>
                    <a:lnTo>
                      <a:pt x="60" y="396"/>
                    </a:lnTo>
                    <a:lnTo>
                      <a:pt x="40" y="382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74" name="Freeform 30"/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915988" y="3406775"/>
                <a:ext cx="2552700" cy="1341438"/>
              </a:xfrm>
              <a:custGeom>
                <a:avLst/>
                <a:gdLst>
                  <a:gd name="T0" fmla="*/ 2147483647 w 1557"/>
                  <a:gd name="T1" fmla="*/ 2147483647 h 853"/>
                  <a:gd name="T2" fmla="*/ 2147483647 w 1557"/>
                  <a:gd name="T3" fmla="*/ 2147483647 h 853"/>
                  <a:gd name="T4" fmla="*/ 2147483647 w 1557"/>
                  <a:gd name="T5" fmla="*/ 2147483647 h 853"/>
                  <a:gd name="T6" fmla="*/ 2147483647 w 1557"/>
                  <a:gd name="T7" fmla="*/ 2147483647 h 853"/>
                  <a:gd name="T8" fmla="*/ 2147483647 w 1557"/>
                  <a:gd name="T9" fmla="*/ 2147483647 h 853"/>
                  <a:gd name="T10" fmla="*/ 2147483647 w 1557"/>
                  <a:gd name="T11" fmla="*/ 2147483647 h 853"/>
                  <a:gd name="T12" fmla="*/ 2147483647 w 1557"/>
                  <a:gd name="T13" fmla="*/ 0 h 853"/>
                  <a:gd name="T14" fmla="*/ 2147483647 w 1557"/>
                  <a:gd name="T15" fmla="*/ 2147483647 h 853"/>
                  <a:gd name="T16" fmla="*/ 2147483647 w 1557"/>
                  <a:gd name="T17" fmla="*/ 2147483647 h 853"/>
                  <a:gd name="T18" fmla="*/ 2147483647 w 1557"/>
                  <a:gd name="T19" fmla="*/ 2147483647 h 853"/>
                  <a:gd name="T20" fmla="*/ 2147483647 w 1557"/>
                  <a:gd name="T21" fmla="*/ 2147483647 h 853"/>
                  <a:gd name="T22" fmla="*/ 0 w 1557"/>
                  <a:gd name="T23" fmla="*/ 2147483647 h 853"/>
                  <a:gd name="T24" fmla="*/ 2147483647 w 1557"/>
                  <a:gd name="T25" fmla="*/ 2147483647 h 853"/>
                  <a:gd name="T26" fmla="*/ 2147483647 w 1557"/>
                  <a:gd name="T27" fmla="*/ 2147483647 h 853"/>
                  <a:gd name="T28" fmla="*/ 2147483647 w 1557"/>
                  <a:gd name="T29" fmla="*/ 2147483647 h 853"/>
                  <a:gd name="T30" fmla="*/ 2147483647 w 1557"/>
                  <a:gd name="T31" fmla="*/ 2147483647 h 853"/>
                  <a:gd name="T32" fmla="*/ 2147483647 w 1557"/>
                  <a:gd name="T33" fmla="*/ 2147483647 h 853"/>
                  <a:gd name="T34" fmla="*/ 2147483647 w 1557"/>
                  <a:gd name="T35" fmla="*/ 2147483647 h 853"/>
                  <a:gd name="T36" fmla="*/ 2147483647 w 1557"/>
                  <a:gd name="T37" fmla="*/ 2147483647 h 853"/>
                  <a:gd name="T38" fmla="*/ 2147483647 w 1557"/>
                  <a:gd name="T39" fmla="*/ 2147483647 h 853"/>
                  <a:gd name="T40" fmla="*/ 2147483647 w 1557"/>
                  <a:gd name="T41" fmla="*/ 2147483647 h 853"/>
                  <a:gd name="T42" fmla="*/ 2147483647 w 1557"/>
                  <a:gd name="T43" fmla="*/ 2147483647 h 853"/>
                  <a:gd name="T44" fmla="*/ 2147483647 w 1557"/>
                  <a:gd name="T45" fmla="*/ 2147483647 h 853"/>
                  <a:gd name="T46" fmla="*/ 2147483647 w 1557"/>
                  <a:gd name="T47" fmla="*/ 2147483647 h 853"/>
                  <a:gd name="T48" fmla="*/ 2147483647 w 1557"/>
                  <a:gd name="T49" fmla="*/ 2147483647 h 853"/>
                  <a:gd name="T50" fmla="*/ 2147483647 w 1557"/>
                  <a:gd name="T51" fmla="*/ 2147483647 h 853"/>
                  <a:gd name="T52" fmla="*/ 2147483647 w 1557"/>
                  <a:gd name="T53" fmla="*/ 2147483647 h 853"/>
                  <a:gd name="T54" fmla="*/ 2147483647 w 1557"/>
                  <a:gd name="T55" fmla="*/ 2147483647 h 853"/>
                  <a:gd name="T56" fmla="*/ 2147483647 w 1557"/>
                  <a:gd name="T57" fmla="*/ 2147483647 h 853"/>
                  <a:gd name="T58" fmla="*/ 2147483647 w 1557"/>
                  <a:gd name="T59" fmla="*/ 2147483647 h 853"/>
                  <a:gd name="T60" fmla="*/ 2147483647 w 1557"/>
                  <a:gd name="T61" fmla="*/ 2147483647 h 853"/>
                  <a:gd name="T62" fmla="*/ 2147483647 w 1557"/>
                  <a:gd name="T63" fmla="*/ 2147483647 h 853"/>
                  <a:gd name="T64" fmla="*/ 2147483647 w 1557"/>
                  <a:gd name="T65" fmla="*/ 2147483647 h 853"/>
                  <a:gd name="T66" fmla="*/ 2147483647 w 1557"/>
                  <a:gd name="T67" fmla="*/ 2147483647 h 853"/>
                  <a:gd name="T68" fmla="*/ 2147483647 w 1557"/>
                  <a:gd name="T69" fmla="*/ 2147483647 h 853"/>
                  <a:gd name="T70" fmla="*/ 2147483647 w 1557"/>
                  <a:gd name="T71" fmla="*/ 2147483647 h 853"/>
                  <a:gd name="T72" fmla="*/ 2147483647 w 1557"/>
                  <a:gd name="T73" fmla="*/ 2147483647 h 853"/>
                  <a:gd name="T74" fmla="*/ 2147483647 w 1557"/>
                  <a:gd name="T75" fmla="*/ 2147483647 h 853"/>
                  <a:gd name="T76" fmla="*/ 2147483647 w 1557"/>
                  <a:gd name="T77" fmla="*/ 2147483647 h 853"/>
                  <a:gd name="T78" fmla="*/ 2147483647 w 1557"/>
                  <a:gd name="T79" fmla="*/ 2147483647 h 853"/>
                  <a:gd name="T80" fmla="*/ 2147483647 w 1557"/>
                  <a:gd name="T81" fmla="*/ 2147483647 h 853"/>
                  <a:gd name="T82" fmla="*/ 2147483647 w 1557"/>
                  <a:gd name="T83" fmla="*/ 2147483647 h 853"/>
                  <a:gd name="T84" fmla="*/ 2147483647 w 1557"/>
                  <a:gd name="T85" fmla="*/ 2147483647 h 853"/>
                  <a:gd name="T86" fmla="*/ 2147483647 w 1557"/>
                  <a:gd name="T87" fmla="*/ 2147483647 h 853"/>
                  <a:gd name="T88" fmla="*/ 2147483647 w 1557"/>
                  <a:gd name="T89" fmla="*/ 2147483647 h 853"/>
                  <a:gd name="T90" fmla="*/ 2147483647 w 1557"/>
                  <a:gd name="T91" fmla="*/ 2147483647 h 853"/>
                  <a:gd name="T92" fmla="*/ 2147483647 w 1557"/>
                  <a:gd name="T93" fmla="*/ 2147483647 h 853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557"/>
                  <a:gd name="T142" fmla="*/ 0 h 853"/>
                  <a:gd name="T143" fmla="*/ 1557 w 1557"/>
                  <a:gd name="T144" fmla="*/ 853 h 853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557" h="853">
                    <a:moveTo>
                      <a:pt x="881" y="72"/>
                    </a:moveTo>
                    <a:lnTo>
                      <a:pt x="888" y="88"/>
                    </a:lnTo>
                    <a:lnTo>
                      <a:pt x="845" y="36"/>
                    </a:lnTo>
                    <a:lnTo>
                      <a:pt x="814" y="20"/>
                    </a:lnTo>
                    <a:lnTo>
                      <a:pt x="754" y="0"/>
                    </a:lnTo>
                    <a:lnTo>
                      <a:pt x="686" y="12"/>
                    </a:lnTo>
                    <a:lnTo>
                      <a:pt x="666" y="8"/>
                    </a:lnTo>
                    <a:lnTo>
                      <a:pt x="638" y="12"/>
                    </a:lnTo>
                    <a:lnTo>
                      <a:pt x="602" y="40"/>
                    </a:lnTo>
                    <a:lnTo>
                      <a:pt x="574" y="44"/>
                    </a:lnTo>
                    <a:lnTo>
                      <a:pt x="534" y="40"/>
                    </a:lnTo>
                    <a:lnTo>
                      <a:pt x="491" y="48"/>
                    </a:lnTo>
                    <a:lnTo>
                      <a:pt x="479" y="68"/>
                    </a:lnTo>
                    <a:lnTo>
                      <a:pt x="443" y="52"/>
                    </a:lnTo>
                    <a:lnTo>
                      <a:pt x="411" y="28"/>
                    </a:lnTo>
                    <a:lnTo>
                      <a:pt x="371" y="0"/>
                    </a:lnTo>
                    <a:lnTo>
                      <a:pt x="343" y="8"/>
                    </a:lnTo>
                    <a:lnTo>
                      <a:pt x="323" y="24"/>
                    </a:lnTo>
                    <a:lnTo>
                      <a:pt x="291" y="24"/>
                    </a:lnTo>
                    <a:lnTo>
                      <a:pt x="263" y="8"/>
                    </a:lnTo>
                    <a:lnTo>
                      <a:pt x="239" y="0"/>
                    </a:lnTo>
                    <a:lnTo>
                      <a:pt x="219" y="4"/>
                    </a:lnTo>
                    <a:lnTo>
                      <a:pt x="187" y="16"/>
                    </a:lnTo>
                    <a:lnTo>
                      <a:pt x="160" y="28"/>
                    </a:lnTo>
                    <a:lnTo>
                      <a:pt x="160" y="64"/>
                    </a:lnTo>
                    <a:lnTo>
                      <a:pt x="132" y="68"/>
                    </a:lnTo>
                    <a:lnTo>
                      <a:pt x="84" y="64"/>
                    </a:lnTo>
                    <a:lnTo>
                      <a:pt x="84" y="92"/>
                    </a:lnTo>
                    <a:lnTo>
                      <a:pt x="52" y="88"/>
                    </a:lnTo>
                    <a:lnTo>
                      <a:pt x="40" y="119"/>
                    </a:lnTo>
                    <a:lnTo>
                      <a:pt x="56" y="135"/>
                    </a:lnTo>
                    <a:lnTo>
                      <a:pt x="68" y="175"/>
                    </a:lnTo>
                    <a:lnTo>
                      <a:pt x="76" y="203"/>
                    </a:lnTo>
                    <a:lnTo>
                      <a:pt x="60" y="223"/>
                    </a:lnTo>
                    <a:lnTo>
                      <a:pt x="4" y="211"/>
                    </a:lnTo>
                    <a:lnTo>
                      <a:pt x="0" y="235"/>
                    </a:lnTo>
                    <a:lnTo>
                      <a:pt x="20" y="271"/>
                    </a:lnTo>
                    <a:lnTo>
                      <a:pt x="12" y="322"/>
                    </a:lnTo>
                    <a:lnTo>
                      <a:pt x="28" y="346"/>
                    </a:lnTo>
                    <a:lnTo>
                      <a:pt x="68" y="370"/>
                    </a:lnTo>
                    <a:lnTo>
                      <a:pt x="92" y="418"/>
                    </a:lnTo>
                    <a:lnTo>
                      <a:pt x="124" y="434"/>
                    </a:lnTo>
                    <a:lnTo>
                      <a:pt x="164" y="470"/>
                    </a:lnTo>
                    <a:lnTo>
                      <a:pt x="183" y="470"/>
                    </a:lnTo>
                    <a:lnTo>
                      <a:pt x="199" y="458"/>
                    </a:lnTo>
                    <a:lnTo>
                      <a:pt x="235" y="478"/>
                    </a:lnTo>
                    <a:lnTo>
                      <a:pt x="263" y="498"/>
                    </a:lnTo>
                    <a:lnTo>
                      <a:pt x="275" y="533"/>
                    </a:lnTo>
                    <a:lnTo>
                      <a:pt x="291" y="549"/>
                    </a:lnTo>
                    <a:lnTo>
                      <a:pt x="303" y="573"/>
                    </a:lnTo>
                    <a:lnTo>
                      <a:pt x="339" y="577"/>
                    </a:lnTo>
                    <a:lnTo>
                      <a:pt x="359" y="585"/>
                    </a:lnTo>
                    <a:lnTo>
                      <a:pt x="375" y="629"/>
                    </a:lnTo>
                    <a:lnTo>
                      <a:pt x="403" y="645"/>
                    </a:lnTo>
                    <a:lnTo>
                      <a:pt x="443" y="653"/>
                    </a:lnTo>
                    <a:lnTo>
                      <a:pt x="451" y="689"/>
                    </a:lnTo>
                    <a:lnTo>
                      <a:pt x="475" y="701"/>
                    </a:lnTo>
                    <a:lnTo>
                      <a:pt x="495" y="713"/>
                    </a:lnTo>
                    <a:lnTo>
                      <a:pt x="491" y="728"/>
                    </a:lnTo>
                    <a:lnTo>
                      <a:pt x="550" y="728"/>
                    </a:lnTo>
                    <a:lnTo>
                      <a:pt x="570" y="732"/>
                    </a:lnTo>
                    <a:lnTo>
                      <a:pt x="586" y="744"/>
                    </a:lnTo>
                    <a:lnTo>
                      <a:pt x="610" y="760"/>
                    </a:lnTo>
                    <a:lnTo>
                      <a:pt x="630" y="756"/>
                    </a:lnTo>
                    <a:lnTo>
                      <a:pt x="654" y="740"/>
                    </a:lnTo>
                    <a:lnTo>
                      <a:pt x="674" y="760"/>
                    </a:lnTo>
                    <a:lnTo>
                      <a:pt x="710" y="752"/>
                    </a:lnTo>
                    <a:lnTo>
                      <a:pt x="726" y="792"/>
                    </a:lnTo>
                    <a:lnTo>
                      <a:pt x="738" y="824"/>
                    </a:lnTo>
                    <a:lnTo>
                      <a:pt x="766" y="804"/>
                    </a:lnTo>
                    <a:lnTo>
                      <a:pt x="778" y="776"/>
                    </a:lnTo>
                    <a:lnTo>
                      <a:pt x="806" y="772"/>
                    </a:lnTo>
                    <a:lnTo>
                      <a:pt x="810" y="756"/>
                    </a:lnTo>
                    <a:lnTo>
                      <a:pt x="830" y="760"/>
                    </a:lnTo>
                    <a:lnTo>
                      <a:pt x="853" y="780"/>
                    </a:lnTo>
                    <a:lnTo>
                      <a:pt x="893" y="796"/>
                    </a:lnTo>
                    <a:lnTo>
                      <a:pt x="945" y="800"/>
                    </a:lnTo>
                    <a:lnTo>
                      <a:pt x="1021" y="812"/>
                    </a:lnTo>
                    <a:lnTo>
                      <a:pt x="1045" y="800"/>
                    </a:lnTo>
                    <a:lnTo>
                      <a:pt x="1105" y="776"/>
                    </a:lnTo>
                    <a:lnTo>
                      <a:pt x="1133" y="760"/>
                    </a:lnTo>
                    <a:lnTo>
                      <a:pt x="1137" y="744"/>
                    </a:lnTo>
                    <a:lnTo>
                      <a:pt x="1180" y="736"/>
                    </a:lnTo>
                    <a:lnTo>
                      <a:pt x="1224" y="740"/>
                    </a:lnTo>
                    <a:lnTo>
                      <a:pt x="1256" y="724"/>
                    </a:lnTo>
                    <a:lnTo>
                      <a:pt x="1288" y="713"/>
                    </a:lnTo>
                    <a:lnTo>
                      <a:pt x="1324" y="728"/>
                    </a:lnTo>
                    <a:lnTo>
                      <a:pt x="1320" y="748"/>
                    </a:lnTo>
                    <a:lnTo>
                      <a:pt x="1328" y="828"/>
                    </a:lnTo>
                    <a:lnTo>
                      <a:pt x="1360" y="848"/>
                    </a:lnTo>
                    <a:lnTo>
                      <a:pt x="1400" y="852"/>
                    </a:lnTo>
                    <a:lnTo>
                      <a:pt x="1416" y="828"/>
                    </a:lnTo>
                    <a:lnTo>
                      <a:pt x="1432" y="808"/>
                    </a:lnTo>
                    <a:lnTo>
                      <a:pt x="1452" y="808"/>
                    </a:lnTo>
                    <a:lnTo>
                      <a:pt x="1488" y="816"/>
                    </a:lnTo>
                    <a:lnTo>
                      <a:pt x="1508" y="800"/>
                    </a:lnTo>
                    <a:lnTo>
                      <a:pt x="1516" y="756"/>
                    </a:lnTo>
                    <a:lnTo>
                      <a:pt x="1528" y="744"/>
                    </a:lnTo>
                    <a:lnTo>
                      <a:pt x="1556" y="736"/>
                    </a:lnTo>
                    <a:lnTo>
                      <a:pt x="1544" y="668"/>
                    </a:lnTo>
                    <a:lnTo>
                      <a:pt x="1536" y="594"/>
                    </a:lnTo>
                    <a:lnTo>
                      <a:pt x="1534" y="536"/>
                    </a:lnTo>
                    <a:lnTo>
                      <a:pt x="1510" y="500"/>
                    </a:lnTo>
                    <a:lnTo>
                      <a:pt x="1488" y="454"/>
                    </a:lnTo>
                    <a:lnTo>
                      <a:pt x="1468" y="432"/>
                    </a:lnTo>
                    <a:lnTo>
                      <a:pt x="1422" y="448"/>
                    </a:lnTo>
                    <a:lnTo>
                      <a:pt x="1410" y="468"/>
                    </a:lnTo>
                    <a:lnTo>
                      <a:pt x="1368" y="484"/>
                    </a:lnTo>
                    <a:lnTo>
                      <a:pt x="1366" y="506"/>
                    </a:lnTo>
                    <a:lnTo>
                      <a:pt x="1364" y="514"/>
                    </a:lnTo>
                    <a:lnTo>
                      <a:pt x="1326" y="498"/>
                    </a:lnTo>
                    <a:lnTo>
                      <a:pt x="1306" y="490"/>
                    </a:lnTo>
                    <a:lnTo>
                      <a:pt x="1288" y="452"/>
                    </a:lnTo>
                    <a:lnTo>
                      <a:pt x="1258" y="424"/>
                    </a:lnTo>
                    <a:lnTo>
                      <a:pt x="1244" y="412"/>
                    </a:lnTo>
                    <a:lnTo>
                      <a:pt x="1214" y="406"/>
                    </a:lnTo>
                    <a:lnTo>
                      <a:pt x="1194" y="406"/>
                    </a:lnTo>
                    <a:lnTo>
                      <a:pt x="1186" y="428"/>
                    </a:lnTo>
                    <a:lnTo>
                      <a:pt x="1168" y="424"/>
                    </a:lnTo>
                    <a:lnTo>
                      <a:pt x="1158" y="420"/>
                    </a:lnTo>
                    <a:lnTo>
                      <a:pt x="1140" y="412"/>
                    </a:lnTo>
                    <a:lnTo>
                      <a:pt x="1130" y="406"/>
                    </a:lnTo>
                    <a:lnTo>
                      <a:pt x="1106" y="392"/>
                    </a:lnTo>
                    <a:lnTo>
                      <a:pt x="1086" y="384"/>
                    </a:lnTo>
                    <a:lnTo>
                      <a:pt x="1060" y="356"/>
                    </a:lnTo>
                    <a:lnTo>
                      <a:pt x="1038" y="356"/>
                    </a:lnTo>
                    <a:lnTo>
                      <a:pt x="1016" y="354"/>
                    </a:lnTo>
                    <a:lnTo>
                      <a:pt x="1000" y="342"/>
                    </a:lnTo>
                    <a:lnTo>
                      <a:pt x="988" y="326"/>
                    </a:lnTo>
                    <a:lnTo>
                      <a:pt x="968" y="324"/>
                    </a:lnTo>
                    <a:lnTo>
                      <a:pt x="948" y="338"/>
                    </a:lnTo>
                    <a:lnTo>
                      <a:pt x="932" y="322"/>
                    </a:lnTo>
                    <a:lnTo>
                      <a:pt x="904" y="306"/>
                    </a:lnTo>
                    <a:lnTo>
                      <a:pt x="888" y="282"/>
                    </a:lnTo>
                    <a:lnTo>
                      <a:pt x="876" y="264"/>
                    </a:lnTo>
                    <a:lnTo>
                      <a:pt x="876" y="248"/>
                    </a:lnTo>
                    <a:lnTo>
                      <a:pt x="878" y="208"/>
                    </a:lnTo>
                    <a:lnTo>
                      <a:pt x="880" y="172"/>
                    </a:lnTo>
                    <a:lnTo>
                      <a:pt x="878" y="144"/>
                    </a:lnTo>
                    <a:lnTo>
                      <a:pt x="880" y="124"/>
                    </a:lnTo>
                    <a:lnTo>
                      <a:pt x="898" y="100"/>
                    </a:lnTo>
                    <a:lnTo>
                      <a:pt x="888" y="8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75" name="Freeform 31"/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642938" y="1593850"/>
                <a:ext cx="2627312" cy="1939925"/>
              </a:xfrm>
              <a:custGeom>
                <a:avLst/>
                <a:gdLst>
                  <a:gd name="T0" fmla="*/ 2147483647 w 1603"/>
                  <a:gd name="T1" fmla="*/ 2147483647 h 1231"/>
                  <a:gd name="T2" fmla="*/ 2147483647 w 1603"/>
                  <a:gd name="T3" fmla="*/ 2147483647 h 1231"/>
                  <a:gd name="T4" fmla="*/ 2147483647 w 1603"/>
                  <a:gd name="T5" fmla="*/ 2147483647 h 1231"/>
                  <a:gd name="T6" fmla="*/ 2147483647 w 1603"/>
                  <a:gd name="T7" fmla="*/ 2147483647 h 1231"/>
                  <a:gd name="T8" fmla="*/ 2147483647 w 1603"/>
                  <a:gd name="T9" fmla="*/ 2147483647 h 1231"/>
                  <a:gd name="T10" fmla="*/ 2147483647 w 1603"/>
                  <a:gd name="T11" fmla="*/ 2147483647 h 1231"/>
                  <a:gd name="T12" fmla="*/ 2147483647 w 1603"/>
                  <a:gd name="T13" fmla="*/ 2147483647 h 1231"/>
                  <a:gd name="T14" fmla="*/ 2147483647 w 1603"/>
                  <a:gd name="T15" fmla="*/ 2147483647 h 1231"/>
                  <a:gd name="T16" fmla="*/ 2147483647 w 1603"/>
                  <a:gd name="T17" fmla="*/ 2147483647 h 1231"/>
                  <a:gd name="T18" fmla="*/ 2147483647 w 1603"/>
                  <a:gd name="T19" fmla="*/ 2147483647 h 1231"/>
                  <a:gd name="T20" fmla="*/ 2147483647 w 1603"/>
                  <a:gd name="T21" fmla="*/ 2147483647 h 1231"/>
                  <a:gd name="T22" fmla="*/ 2147483647 w 1603"/>
                  <a:gd name="T23" fmla="*/ 2147483647 h 1231"/>
                  <a:gd name="T24" fmla="*/ 2147483647 w 1603"/>
                  <a:gd name="T25" fmla="*/ 2147483647 h 1231"/>
                  <a:gd name="T26" fmla="*/ 2147483647 w 1603"/>
                  <a:gd name="T27" fmla="*/ 2147483647 h 1231"/>
                  <a:gd name="T28" fmla="*/ 2147483647 w 1603"/>
                  <a:gd name="T29" fmla="*/ 2147483647 h 1231"/>
                  <a:gd name="T30" fmla="*/ 2147483647 w 1603"/>
                  <a:gd name="T31" fmla="*/ 2147483647 h 1231"/>
                  <a:gd name="T32" fmla="*/ 2147483647 w 1603"/>
                  <a:gd name="T33" fmla="*/ 2147483647 h 1231"/>
                  <a:gd name="T34" fmla="*/ 2147483647 w 1603"/>
                  <a:gd name="T35" fmla="*/ 2147483647 h 1231"/>
                  <a:gd name="T36" fmla="*/ 2147483647 w 1603"/>
                  <a:gd name="T37" fmla="*/ 2147483647 h 1231"/>
                  <a:gd name="T38" fmla="*/ 2147483647 w 1603"/>
                  <a:gd name="T39" fmla="*/ 2147483647 h 1231"/>
                  <a:gd name="T40" fmla="*/ 2147483647 w 1603"/>
                  <a:gd name="T41" fmla="*/ 2147483647 h 1231"/>
                  <a:gd name="T42" fmla="*/ 2147483647 w 1603"/>
                  <a:gd name="T43" fmla="*/ 2147483647 h 1231"/>
                  <a:gd name="T44" fmla="*/ 2147483647 w 1603"/>
                  <a:gd name="T45" fmla="*/ 2147483647 h 1231"/>
                  <a:gd name="T46" fmla="*/ 2147483647 w 1603"/>
                  <a:gd name="T47" fmla="*/ 2147483647 h 1231"/>
                  <a:gd name="T48" fmla="*/ 2147483647 w 1603"/>
                  <a:gd name="T49" fmla="*/ 2147483647 h 1231"/>
                  <a:gd name="T50" fmla="*/ 2147483647 w 1603"/>
                  <a:gd name="T51" fmla="*/ 2147483647 h 1231"/>
                  <a:gd name="T52" fmla="*/ 2147483647 w 1603"/>
                  <a:gd name="T53" fmla="*/ 2147483647 h 1231"/>
                  <a:gd name="T54" fmla="*/ 2147483647 w 1603"/>
                  <a:gd name="T55" fmla="*/ 2147483647 h 1231"/>
                  <a:gd name="T56" fmla="*/ 2147483647 w 1603"/>
                  <a:gd name="T57" fmla="*/ 2147483647 h 1231"/>
                  <a:gd name="T58" fmla="*/ 2147483647 w 1603"/>
                  <a:gd name="T59" fmla="*/ 2147483647 h 1231"/>
                  <a:gd name="T60" fmla="*/ 2147483647 w 1603"/>
                  <a:gd name="T61" fmla="*/ 2147483647 h 1231"/>
                  <a:gd name="T62" fmla="*/ 2147483647 w 1603"/>
                  <a:gd name="T63" fmla="*/ 2147483647 h 1231"/>
                  <a:gd name="T64" fmla="*/ 2147483647 w 1603"/>
                  <a:gd name="T65" fmla="*/ 2147483647 h 1231"/>
                  <a:gd name="T66" fmla="*/ 2147483647 w 1603"/>
                  <a:gd name="T67" fmla="*/ 2147483647 h 1231"/>
                  <a:gd name="T68" fmla="*/ 2147483647 w 1603"/>
                  <a:gd name="T69" fmla="*/ 2147483647 h 1231"/>
                  <a:gd name="T70" fmla="*/ 2147483647 w 1603"/>
                  <a:gd name="T71" fmla="*/ 2147483647 h 1231"/>
                  <a:gd name="T72" fmla="*/ 2147483647 w 1603"/>
                  <a:gd name="T73" fmla="*/ 2147483647 h 1231"/>
                  <a:gd name="T74" fmla="*/ 2147483647 w 1603"/>
                  <a:gd name="T75" fmla="*/ 2147483647 h 1231"/>
                  <a:gd name="T76" fmla="*/ 2147483647 w 1603"/>
                  <a:gd name="T77" fmla="*/ 2147483647 h 1231"/>
                  <a:gd name="T78" fmla="*/ 2147483647 w 1603"/>
                  <a:gd name="T79" fmla="*/ 2147483647 h 1231"/>
                  <a:gd name="T80" fmla="*/ 2147483647 w 1603"/>
                  <a:gd name="T81" fmla="*/ 2147483647 h 1231"/>
                  <a:gd name="T82" fmla="*/ 2147483647 w 1603"/>
                  <a:gd name="T83" fmla="*/ 2147483647 h 1231"/>
                  <a:gd name="T84" fmla="*/ 2147483647 w 1603"/>
                  <a:gd name="T85" fmla="*/ 2147483647 h 1231"/>
                  <a:gd name="T86" fmla="*/ 2147483647 w 1603"/>
                  <a:gd name="T87" fmla="*/ 2147483647 h 1231"/>
                  <a:gd name="T88" fmla="*/ 2147483647 w 1603"/>
                  <a:gd name="T89" fmla="*/ 2147483647 h 1231"/>
                  <a:gd name="T90" fmla="*/ 2147483647 w 1603"/>
                  <a:gd name="T91" fmla="*/ 2147483647 h 1231"/>
                  <a:gd name="T92" fmla="*/ 2147483647 w 1603"/>
                  <a:gd name="T93" fmla="*/ 2147483647 h 1231"/>
                  <a:gd name="T94" fmla="*/ 2147483647 w 1603"/>
                  <a:gd name="T95" fmla="*/ 2147483647 h 1231"/>
                  <a:gd name="T96" fmla="*/ 2147483647 w 1603"/>
                  <a:gd name="T97" fmla="*/ 2147483647 h 1231"/>
                  <a:gd name="T98" fmla="*/ 2147483647 w 1603"/>
                  <a:gd name="T99" fmla="*/ 2147483647 h 1231"/>
                  <a:gd name="T100" fmla="*/ 2147483647 w 1603"/>
                  <a:gd name="T101" fmla="*/ 2147483647 h 1231"/>
                  <a:gd name="T102" fmla="*/ 2147483647 w 1603"/>
                  <a:gd name="T103" fmla="*/ 2147483647 h 1231"/>
                  <a:gd name="T104" fmla="*/ 2147483647 w 1603"/>
                  <a:gd name="T105" fmla="*/ 2147483647 h 1231"/>
                  <a:gd name="T106" fmla="*/ 2147483647 w 1603"/>
                  <a:gd name="T107" fmla="*/ 2147483647 h 1231"/>
                  <a:gd name="T108" fmla="*/ 2147483647 w 1603"/>
                  <a:gd name="T109" fmla="*/ 2147483647 h 1231"/>
                  <a:gd name="T110" fmla="*/ 2147483647 w 1603"/>
                  <a:gd name="T111" fmla="*/ 2147483647 h 1231"/>
                  <a:gd name="T112" fmla="*/ 2147483647 w 1603"/>
                  <a:gd name="T113" fmla="*/ 2147483647 h 1231"/>
                  <a:gd name="T114" fmla="*/ 2147483647 w 1603"/>
                  <a:gd name="T115" fmla="*/ 2147483647 h 1231"/>
                  <a:gd name="T116" fmla="*/ 2147483647 w 1603"/>
                  <a:gd name="T117" fmla="*/ 2147483647 h 1231"/>
                  <a:gd name="T118" fmla="*/ 2147483647 w 1603"/>
                  <a:gd name="T119" fmla="*/ 2147483647 h 1231"/>
                  <a:gd name="T120" fmla="*/ 2147483647 w 1603"/>
                  <a:gd name="T121" fmla="*/ 2147483647 h 1231"/>
                  <a:gd name="T122" fmla="*/ 2147483647 w 1603"/>
                  <a:gd name="T123" fmla="*/ 2147483647 h 1231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603"/>
                  <a:gd name="T187" fmla="*/ 0 h 1231"/>
                  <a:gd name="T188" fmla="*/ 1603 w 1603"/>
                  <a:gd name="T189" fmla="*/ 1231 h 1231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603" h="1231">
                    <a:moveTo>
                      <a:pt x="238" y="1208"/>
                    </a:moveTo>
                    <a:lnTo>
                      <a:pt x="220" y="1188"/>
                    </a:lnTo>
                    <a:lnTo>
                      <a:pt x="220" y="1160"/>
                    </a:lnTo>
                    <a:lnTo>
                      <a:pt x="220" y="1138"/>
                    </a:lnTo>
                    <a:lnTo>
                      <a:pt x="202" y="1130"/>
                    </a:lnTo>
                    <a:lnTo>
                      <a:pt x="198" y="1110"/>
                    </a:lnTo>
                    <a:lnTo>
                      <a:pt x="180" y="1090"/>
                    </a:lnTo>
                    <a:lnTo>
                      <a:pt x="150" y="1074"/>
                    </a:lnTo>
                    <a:lnTo>
                      <a:pt x="122" y="1072"/>
                    </a:lnTo>
                    <a:lnTo>
                      <a:pt x="116" y="1042"/>
                    </a:lnTo>
                    <a:lnTo>
                      <a:pt x="114" y="1012"/>
                    </a:lnTo>
                    <a:lnTo>
                      <a:pt x="102" y="982"/>
                    </a:lnTo>
                    <a:lnTo>
                      <a:pt x="88" y="974"/>
                    </a:lnTo>
                    <a:lnTo>
                      <a:pt x="76" y="968"/>
                    </a:lnTo>
                    <a:lnTo>
                      <a:pt x="58" y="944"/>
                    </a:lnTo>
                    <a:lnTo>
                      <a:pt x="64" y="958"/>
                    </a:lnTo>
                    <a:lnTo>
                      <a:pt x="48" y="924"/>
                    </a:lnTo>
                    <a:lnTo>
                      <a:pt x="16" y="910"/>
                    </a:lnTo>
                    <a:lnTo>
                      <a:pt x="4" y="894"/>
                    </a:lnTo>
                    <a:lnTo>
                      <a:pt x="4" y="874"/>
                    </a:lnTo>
                    <a:lnTo>
                      <a:pt x="2" y="860"/>
                    </a:lnTo>
                    <a:lnTo>
                      <a:pt x="40" y="860"/>
                    </a:lnTo>
                    <a:lnTo>
                      <a:pt x="38" y="834"/>
                    </a:lnTo>
                    <a:lnTo>
                      <a:pt x="52" y="810"/>
                    </a:lnTo>
                    <a:lnTo>
                      <a:pt x="60" y="792"/>
                    </a:lnTo>
                    <a:lnTo>
                      <a:pt x="58" y="766"/>
                    </a:lnTo>
                    <a:lnTo>
                      <a:pt x="10" y="760"/>
                    </a:lnTo>
                    <a:lnTo>
                      <a:pt x="0" y="750"/>
                    </a:lnTo>
                    <a:lnTo>
                      <a:pt x="0" y="728"/>
                    </a:lnTo>
                    <a:lnTo>
                      <a:pt x="4" y="700"/>
                    </a:lnTo>
                    <a:lnTo>
                      <a:pt x="24" y="668"/>
                    </a:lnTo>
                    <a:lnTo>
                      <a:pt x="36" y="638"/>
                    </a:lnTo>
                    <a:lnTo>
                      <a:pt x="54" y="622"/>
                    </a:lnTo>
                    <a:lnTo>
                      <a:pt x="74" y="616"/>
                    </a:lnTo>
                    <a:lnTo>
                      <a:pt x="100" y="608"/>
                    </a:lnTo>
                    <a:lnTo>
                      <a:pt x="120" y="604"/>
                    </a:lnTo>
                    <a:lnTo>
                      <a:pt x="138" y="602"/>
                    </a:lnTo>
                    <a:lnTo>
                      <a:pt x="150" y="588"/>
                    </a:lnTo>
                    <a:lnTo>
                      <a:pt x="168" y="596"/>
                    </a:lnTo>
                    <a:lnTo>
                      <a:pt x="176" y="614"/>
                    </a:lnTo>
                    <a:lnTo>
                      <a:pt x="196" y="618"/>
                    </a:lnTo>
                    <a:lnTo>
                      <a:pt x="228" y="618"/>
                    </a:lnTo>
                    <a:lnTo>
                      <a:pt x="244" y="598"/>
                    </a:lnTo>
                    <a:lnTo>
                      <a:pt x="258" y="582"/>
                    </a:lnTo>
                    <a:lnTo>
                      <a:pt x="276" y="582"/>
                    </a:lnTo>
                    <a:lnTo>
                      <a:pt x="312" y="590"/>
                    </a:lnTo>
                    <a:lnTo>
                      <a:pt x="346" y="590"/>
                    </a:lnTo>
                    <a:lnTo>
                      <a:pt x="384" y="588"/>
                    </a:lnTo>
                    <a:lnTo>
                      <a:pt x="392" y="560"/>
                    </a:lnTo>
                    <a:lnTo>
                      <a:pt x="418" y="560"/>
                    </a:lnTo>
                    <a:lnTo>
                      <a:pt x="444" y="558"/>
                    </a:lnTo>
                    <a:lnTo>
                      <a:pt x="492" y="554"/>
                    </a:lnTo>
                    <a:lnTo>
                      <a:pt x="508" y="540"/>
                    </a:lnTo>
                    <a:lnTo>
                      <a:pt x="526" y="538"/>
                    </a:lnTo>
                    <a:lnTo>
                      <a:pt x="530" y="508"/>
                    </a:lnTo>
                    <a:lnTo>
                      <a:pt x="538" y="494"/>
                    </a:lnTo>
                    <a:lnTo>
                      <a:pt x="558" y="468"/>
                    </a:lnTo>
                    <a:lnTo>
                      <a:pt x="580" y="468"/>
                    </a:lnTo>
                    <a:lnTo>
                      <a:pt x="578" y="420"/>
                    </a:lnTo>
                    <a:lnTo>
                      <a:pt x="564" y="396"/>
                    </a:lnTo>
                    <a:lnTo>
                      <a:pt x="572" y="370"/>
                    </a:lnTo>
                    <a:lnTo>
                      <a:pt x="566" y="300"/>
                    </a:lnTo>
                    <a:lnTo>
                      <a:pt x="608" y="300"/>
                    </a:lnTo>
                    <a:lnTo>
                      <a:pt x="660" y="298"/>
                    </a:lnTo>
                    <a:lnTo>
                      <a:pt x="716" y="296"/>
                    </a:lnTo>
                    <a:lnTo>
                      <a:pt x="734" y="286"/>
                    </a:lnTo>
                    <a:lnTo>
                      <a:pt x="740" y="252"/>
                    </a:lnTo>
                    <a:lnTo>
                      <a:pt x="744" y="228"/>
                    </a:lnTo>
                    <a:lnTo>
                      <a:pt x="778" y="186"/>
                    </a:lnTo>
                    <a:lnTo>
                      <a:pt x="792" y="156"/>
                    </a:lnTo>
                    <a:lnTo>
                      <a:pt x="822" y="146"/>
                    </a:lnTo>
                    <a:lnTo>
                      <a:pt x="852" y="160"/>
                    </a:lnTo>
                    <a:lnTo>
                      <a:pt x="884" y="166"/>
                    </a:lnTo>
                    <a:lnTo>
                      <a:pt x="898" y="190"/>
                    </a:lnTo>
                    <a:lnTo>
                      <a:pt x="914" y="188"/>
                    </a:lnTo>
                    <a:lnTo>
                      <a:pt x="938" y="184"/>
                    </a:lnTo>
                    <a:lnTo>
                      <a:pt x="968" y="178"/>
                    </a:lnTo>
                    <a:lnTo>
                      <a:pt x="982" y="154"/>
                    </a:lnTo>
                    <a:lnTo>
                      <a:pt x="970" y="130"/>
                    </a:lnTo>
                    <a:lnTo>
                      <a:pt x="988" y="80"/>
                    </a:lnTo>
                    <a:lnTo>
                      <a:pt x="1010" y="74"/>
                    </a:lnTo>
                    <a:lnTo>
                      <a:pt x="1040" y="70"/>
                    </a:lnTo>
                    <a:lnTo>
                      <a:pt x="1084" y="60"/>
                    </a:lnTo>
                    <a:lnTo>
                      <a:pt x="1102" y="8"/>
                    </a:lnTo>
                    <a:lnTo>
                      <a:pt x="1134" y="0"/>
                    </a:lnTo>
                    <a:lnTo>
                      <a:pt x="1162" y="28"/>
                    </a:lnTo>
                    <a:lnTo>
                      <a:pt x="1158" y="90"/>
                    </a:lnTo>
                    <a:lnTo>
                      <a:pt x="1214" y="136"/>
                    </a:lnTo>
                    <a:lnTo>
                      <a:pt x="1252" y="150"/>
                    </a:lnTo>
                    <a:lnTo>
                      <a:pt x="1280" y="178"/>
                    </a:lnTo>
                    <a:lnTo>
                      <a:pt x="1272" y="200"/>
                    </a:lnTo>
                    <a:lnTo>
                      <a:pt x="1276" y="224"/>
                    </a:lnTo>
                    <a:lnTo>
                      <a:pt x="1290" y="236"/>
                    </a:lnTo>
                    <a:lnTo>
                      <a:pt x="1306" y="260"/>
                    </a:lnTo>
                    <a:lnTo>
                      <a:pt x="1306" y="282"/>
                    </a:lnTo>
                    <a:lnTo>
                      <a:pt x="1292" y="300"/>
                    </a:lnTo>
                    <a:lnTo>
                      <a:pt x="1294" y="332"/>
                    </a:lnTo>
                    <a:lnTo>
                      <a:pt x="1268" y="348"/>
                    </a:lnTo>
                    <a:lnTo>
                      <a:pt x="1258" y="374"/>
                    </a:lnTo>
                    <a:lnTo>
                      <a:pt x="1270" y="398"/>
                    </a:lnTo>
                    <a:lnTo>
                      <a:pt x="1290" y="410"/>
                    </a:lnTo>
                    <a:lnTo>
                      <a:pt x="1314" y="420"/>
                    </a:lnTo>
                    <a:lnTo>
                      <a:pt x="1340" y="424"/>
                    </a:lnTo>
                    <a:lnTo>
                      <a:pt x="1368" y="420"/>
                    </a:lnTo>
                    <a:lnTo>
                      <a:pt x="1386" y="434"/>
                    </a:lnTo>
                    <a:lnTo>
                      <a:pt x="1410" y="444"/>
                    </a:lnTo>
                    <a:lnTo>
                      <a:pt x="1434" y="460"/>
                    </a:lnTo>
                    <a:lnTo>
                      <a:pt x="1470" y="470"/>
                    </a:lnTo>
                    <a:lnTo>
                      <a:pt x="1514" y="502"/>
                    </a:lnTo>
                    <a:lnTo>
                      <a:pt x="1550" y="510"/>
                    </a:lnTo>
                    <a:lnTo>
                      <a:pt x="1564" y="538"/>
                    </a:lnTo>
                    <a:lnTo>
                      <a:pt x="1570" y="572"/>
                    </a:lnTo>
                    <a:lnTo>
                      <a:pt x="1576" y="614"/>
                    </a:lnTo>
                    <a:lnTo>
                      <a:pt x="1602" y="666"/>
                    </a:lnTo>
                    <a:lnTo>
                      <a:pt x="1582" y="690"/>
                    </a:lnTo>
                    <a:lnTo>
                      <a:pt x="1578" y="720"/>
                    </a:lnTo>
                    <a:lnTo>
                      <a:pt x="1548" y="748"/>
                    </a:lnTo>
                    <a:lnTo>
                      <a:pt x="1536" y="732"/>
                    </a:lnTo>
                    <a:lnTo>
                      <a:pt x="1520" y="734"/>
                    </a:lnTo>
                    <a:lnTo>
                      <a:pt x="1514" y="744"/>
                    </a:lnTo>
                    <a:lnTo>
                      <a:pt x="1478" y="754"/>
                    </a:lnTo>
                    <a:lnTo>
                      <a:pt x="1446" y="776"/>
                    </a:lnTo>
                    <a:lnTo>
                      <a:pt x="1432" y="804"/>
                    </a:lnTo>
                    <a:lnTo>
                      <a:pt x="1406" y="810"/>
                    </a:lnTo>
                    <a:lnTo>
                      <a:pt x="1398" y="822"/>
                    </a:lnTo>
                    <a:lnTo>
                      <a:pt x="1398" y="852"/>
                    </a:lnTo>
                    <a:lnTo>
                      <a:pt x="1356" y="858"/>
                    </a:lnTo>
                    <a:lnTo>
                      <a:pt x="1336" y="864"/>
                    </a:lnTo>
                    <a:lnTo>
                      <a:pt x="1334" y="888"/>
                    </a:lnTo>
                    <a:lnTo>
                      <a:pt x="1338" y="922"/>
                    </a:lnTo>
                    <a:lnTo>
                      <a:pt x="1344" y="956"/>
                    </a:lnTo>
                    <a:lnTo>
                      <a:pt x="1320" y="968"/>
                    </a:lnTo>
                    <a:lnTo>
                      <a:pt x="1282" y="978"/>
                    </a:lnTo>
                    <a:lnTo>
                      <a:pt x="1252" y="978"/>
                    </a:lnTo>
                    <a:lnTo>
                      <a:pt x="1226" y="980"/>
                    </a:lnTo>
                    <a:lnTo>
                      <a:pt x="1222" y="996"/>
                    </a:lnTo>
                    <a:lnTo>
                      <a:pt x="1176" y="996"/>
                    </a:lnTo>
                    <a:lnTo>
                      <a:pt x="1128" y="1000"/>
                    </a:lnTo>
                    <a:lnTo>
                      <a:pt x="1138" y="1028"/>
                    </a:lnTo>
                    <a:lnTo>
                      <a:pt x="1146" y="1054"/>
                    </a:lnTo>
                    <a:lnTo>
                      <a:pt x="1150" y="1074"/>
                    </a:lnTo>
                    <a:lnTo>
                      <a:pt x="1166" y="1086"/>
                    </a:lnTo>
                    <a:lnTo>
                      <a:pt x="1200" y="1108"/>
                    </a:lnTo>
                    <a:lnTo>
                      <a:pt x="1194" y="1124"/>
                    </a:lnTo>
                    <a:lnTo>
                      <a:pt x="1192" y="1138"/>
                    </a:lnTo>
                    <a:lnTo>
                      <a:pt x="1170" y="1144"/>
                    </a:lnTo>
                    <a:lnTo>
                      <a:pt x="1150" y="1154"/>
                    </a:lnTo>
                    <a:lnTo>
                      <a:pt x="1160" y="1172"/>
                    </a:lnTo>
                    <a:lnTo>
                      <a:pt x="1178" y="1200"/>
                    </a:lnTo>
                    <a:lnTo>
                      <a:pt x="1174" y="1218"/>
                    </a:lnTo>
                    <a:lnTo>
                      <a:pt x="1158" y="1230"/>
                    </a:lnTo>
                    <a:lnTo>
                      <a:pt x="1136" y="1226"/>
                    </a:lnTo>
                    <a:lnTo>
                      <a:pt x="1108" y="1222"/>
                    </a:lnTo>
                    <a:lnTo>
                      <a:pt x="1090" y="1206"/>
                    </a:lnTo>
                    <a:lnTo>
                      <a:pt x="1056" y="1214"/>
                    </a:lnTo>
                    <a:lnTo>
                      <a:pt x="1046" y="1222"/>
                    </a:lnTo>
                    <a:lnTo>
                      <a:pt x="1032" y="1214"/>
                    </a:lnTo>
                    <a:lnTo>
                      <a:pt x="996" y="1184"/>
                    </a:lnTo>
                    <a:lnTo>
                      <a:pt x="938" y="1160"/>
                    </a:lnTo>
                    <a:lnTo>
                      <a:pt x="918" y="1156"/>
                    </a:lnTo>
                    <a:lnTo>
                      <a:pt x="892" y="1160"/>
                    </a:lnTo>
                    <a:lnTo>
                      <a:pt x="858" y="1166"/>
                    </a:lnTo>
                    <a:lnTo>
                      <a:pt x="808" y="1164"/>
                    </a:lnTo>
                    <a:lnTo>
                      <a:pt x="794" y="1178"/>
                    </a:lnTo>
                    <a:lnTo>
                      <a:pt x="770" y="1194"/>
                    </a:lnTo>
                    <a:lnTo>
                      <a:pt x="742" y="1198"/>
                    </a:lnTo>
                    <a:lnTo>
                      <a:pt x="690" y="1194"/>
                    </a:lnTo>
                    <a:lnTo>
                      <a:pt x="660" y="1204"/>
                    </a:lnTo>
                    <a:lnTo>
                      <a:pt x="646" y="1224"/>
                    </a:lnTo>
                    <a:lnTo>
                      <a:pt x="620" y="1212"/>
                    </a:lnTo>
                    <a:lnTo>
                      <a:pt x="598" y="1202"/>
                    </a:lnTo>
                    <a:lnTo>
                      <a:pt x="566" y="1180"/>
                    </a:lnTo>
                    <a:lnTo>
                      <a:pt x="538" y="1156"/>
                    </a:lnTo>
                    <a:lnTo>
                      <a:pt x="516" y="1162"/>
                    </a:lnTo>
                    <a:lnTo>
                      <a:pt x="498" y="1176"/>
                    </a:lnTo>
                    <a:lnTo>
                      <a:pt x="468" y="1180"/>
                    </a:lnTo>
                    <a:lnTo>
                      <a:pt x="444" y="1174"/>
                    </a:lnTo>
                    <a:lnTo>
                      <a:pt x="426" y="1164"/>
                    </a:lnTo>
                    <a:lnTo>
                      <a:pt x="404" y="1156"/>
                    </a:lnTo>
                    <a:lnTo>
                      <a:pt x="360" y="1170"/>
                    </a:lnTo>
                    <a:lnTo>
                      <a:pt x="328" y="1182"/>
                    </a:lnTo>
                    <a:lnTo>
                      <a:pt x="326" y="1218"/>
                    </a:lnTo>
                    <a:lnTo>
                      <a:pt x="300" y="1224"/>
                    </a:lnTo>
                    <a:lnTo>
                      <a:pt x="270" y="1222"/>
                    </a:lnTo>
                    <a:lnTo>
                      <a:pt x="250" y="1218"/>
                    </a:lnTo>
                    <a:lnTo>
                      <a:pt x="238" y="1208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76" name="Freeform 32"/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3340100" y="1143000"/>
                <a:ext cx="2882900" cy="2300288"/>
              </a:xfrm>
              <a:custGeom>
                <a:avLst/>
                <a:gdLst>
                  <a:gd name="T0" fmla="*/ 2147483647 w 1756"/>
                  <a:gd name="T1" fmla="*/ 2147483647 h 1462"/>
                  <a:gd name="T2" fmla="*/ 2147483647 w 1756"/>
                  <a:gd name="T3" fmla="*/ 2147483647 h 1462"/>
                  <a:gd name="T4" fmla="*/ 2147483647 w 1756"/>
                  <a:gd name="T5" fmla="*/ 2147483647 h 1462"/>
                  <a:gd name="T6" fmla="*/ 2147483647 w 1756"/>
                  <a:gd name="T7" fmla="*/ 2147483647 h 1462"/>
                  <a:gd name="T8" fmla="*/ 2147483647 w 1756"/>
                  <a:gd name="T9" fmla="*/ 2147483647 h 1462"/>
                  <a:gd name="T10" fmla="*/ 2147483647 w 1756"/>
                  <a:gd name="T11" fmla="*/ 2147483647 h 1462"/>
                  <a:gd name="T12" fmla="*/ 2147483647 w 1756"/>
                  <a:gd name="T13" fmla="*/ 2147483647 h 1462"/>
                  <a:gd name="T14" fmla="*/ 2147483647 w 1756"/>
                  <a:gd name="T15" fmla="*/ 2147483647 h 1462"/>
                  <a:gd name="T16" fmla="*/ 2147483647 w 1756"/>
                  <a:gd name="T17" fmla="*/ 2147483647 h 1462"/>
                  <a:gd name="T18" fmla="*/ 2147483647 w 1756"/>
                  <a:gd name="T19" fmla="*/ 2147483647 h 1462"/>
                  <a:gd name="T20" fmla="*/ 2147483647 w 1756"/>
                  <a:gd name="T21" fmla="*/ 2147483647 h 1462"/>
                  <a:gd name="T22" fmla="*/ 2147483647 w 1756"/>
                  <a:gd name="T23" fmla="*/ 2147483647 h 1462"/>
                  <a:gd name="T24" fmla="*/ 2147483647 w 1756"/>
                  <a:gd name="T25" fmla="*/ 2147483647 h 1462"/>
                  <a:gd name="T26" fmla="*/ 2147483647 w 1756"/>
                  <a:gd name="T27" fmla="*/ 2147483647 h 1462"/>
                  <a:gd name="T28" fmla="*/ 2147483647 w 1756"/>
                  <a:gd name="T29" fmla="*/ 2147483647 h 1462"/>
                  <a:gd name="T30" fmla="*/ 2147483647 w 1756"/>
                  <a:gd name="T31" fmla="*/ 2147483647 h 1462"/>
                  <a:gd name="T32" fmla="*/ 2147483647 w 1756"/>
                  <a:gd name="T33" fmla="*/ 2147483647 h 1462"/>
                  <a:gd name="T34" fmla="*/ 2147483647 w 1756"/>
                  <a:gd name="T35" fmla="*/ 2147483647 h 1462"/>
                  <a:gd name="T36" fmla="*/ 2147483647 w 1756"/>
                  <a:gd name="T37" fmla="*/ 0 h 1462"/>
                  <a:gd name="T38" fmla="*/ 2147483647 w 1756"/>
                  <a:gd name="T39" fmla="*/ 2147483647 h 1462"/>
                  <a:gd name="T40" fmla="*/ 2147483647 w 1756"/>
                  <a:gd name="T41" fmla="*/ 2147483647 h 1462"/>
                  <a:gd name="T42" fmla="*/ 2147483647 w 1756"/>
                  <a:gd name="T43" fmla="*/ 2147483647 h 1462"/>
                  <a:gd name="T44" fmla="*/ 2147483647 w 1756"/>
                  <a:gd name="T45" fmla="*/ 2147483647 h 1462"/>
                  <a:gd name="T46" fmla="*/ 2147483647 w 1756"/>
                  <a:gd name="T47" fmla="*/ 2147483647 h 1462"/>
                  <a:gd name="T48" fmla="*/ 2147483647 w 1756"/>
                  <a:gd name="T49" fmla="*/ 2147483647 h 1462"/>
                  <a:gd name="T50" fmla="*/ 2147483647 w 1756"/>
                  <a:gd name="T51" fmla="*/ 2147483647 h 1462"/>
                  <a:gd name="T52" fmla="*/ 2147483647 w 1756"/>
                  <a:gd name="T53" fmla="*/ 2147483647 h 1462"/>
                  <a:gd name="T54" fmla="*/ 2147483647 w 1756"/>
                  <a:gd name="T55" fmla="*/ 2147483647 h 1462"/>
                  <a:gd name="T56" fmla="*/ 2147483647 w 1756"/>
                  <a:gd name="T57" fmla="*/ 2147483647 h 1462"/>
                  <a:gd name="T58" fmla="*/ 2147483647 w 1756"/>
                  <a:gd name="T59" fmla="*/ 2147483647 h 1462"/>
                  <a:gd name="T60" fmla="*/ 2147483647 w 1756"/>
                  <a:gd name="T61" fmla="*/ 2147483647 h 1462"/>
                  <a:gd name="T62" fmla="*/ 2147483647 w 1756"/>
                  <a:gd name="T63" fmla="*/ 2147483647 h 1462"/>
                  <a:gd name="T64" fmla="*/ 2147483647 w 1756"/>
                  <a:gd name="T65" fmla="*/ 2147483647 h 1462"/>
                  <a:gd name="T66" fmla="*/ 2147483647 w 1756"/>
                  <a:gd name="T67" fmla="*/ 2147483647 h 1462"/>
                  <a:gd name="T68" fmla="*/ 2147483647 w 1756"/>
                  <a:gd name="T69" fmla="*/ 2147483647 h 1462"/>
                  <a:gd name="T70" fmla="*/ 2147483647 w 1756"/>
                  <a:gd name="T71" fmla="*/ 2147483647 h 1462"/>
                  <a:gd name="T72" fmla="*/ 2147483647 w 1756"/>
                  <a:gd name="T73" fmla="*/ 2147483647 h 1462"/>
                  <a:gd name="T74" fmla="*/ 2147483647 w 1756"/>
                  <a:gd name="T75" fmla="*/ 2147483647 h 1462"/>
                  <a:gd name="T76" fmla="*/ 2147483647 w 1756"/>
                  <a:gd name="T77" fmla="*/ 2147483647 h 1462"/>
                  <a:gd name="T78" fmla="*/ 2147483647 w 1756"/>
                  <a:gd name="T79" fmla="*/ 2147483647 h 1462"/>
                  <a:gd name="T80" fmla="*/ 2147483647 w 1756"/>
                  <a:gd name="T81" fmla="*/ 2147483647 h 1462"/>
                  <a:gd name="T82" fmla="*/ 2147483647 w 1756"/>
                  <a:gd name="T83" fmla="*/ 2147483647 h 1462"/>
                  <a:gd name="T84" fmla="*/ 2147483647 w 1756"/>
                  <a:gd name="T85" fmla="*/ 2147483647 h 1462"/>
                  <a:gd name="T86" fmla="*/ 2147483647 w 1756"/>
                  <a:gd name="T87" fmla="*/ 2147483647 h 1462"/>
                  <a:gd name="T88" fmla="*/ 2147483647 w 1756"/>
                  <a:gd name="T89" fmla="*/ 2147483647 h 1462"/>
                  <a:gd name="T90" fmla="*/ 2147483647 w 1756"/>
                  <a:gd name="T91" fmla="*/ 2147483647 h 1462"/>
                  <a:gd name="T92" fmla="*/ 2147483647 w 1756"/>
                  <a:gd name="T93" fmla="*/ 2147483647 h 1462"/>
                  <a:gd name="T94" fmla="*/ 2147483647 w 1756"/>
                  <a:gd name="T95" fmla="*/ 2147483647 h 1462"/>
                  <a:gd name="T96" fmla="*/ 2147483647 w 1756"/>
                  <a:gd name="T97" fmla="*/ 2147483647 h 1462"/>
                  <a:gd name="T98" fmla="*/ 2147483647 w 1756"/>
                  <a:gd name="T99" fmla="*/ 2147483647 h 1462"/>
                  <a:gd name="T100" fmla="*/ 2147483647 w 1756"/>
                  <a:gd name="T101" fmla="*/ 2147483647 h 1462"/>
                  <a:gd name="T102" fmla="*/ 2147483647 w 1756"/>
                  <a:gd name="T103" fmla="*/ 2147483647 h 1462"/>
                  <a:gd name="T104" fmla="*/ 2147483647 w 1756"/>
                  <a:gd name="T105" fmla="*/ 2147483647 h 1462"/>
                  <a:gd name="T106" fmla="*/ 2147483647 w 1756"/>
                  <a:gd name="T107" fmla="*/ 2147483647 h 1462"/>
                  <a:gd name="T108" fmla="*/ 2147483647 w 1756"/>
                  <a:gd name="T109" fmla="*/ 2147483647 h 1462"/>
                  <a:gd name="T110" fmla="*/ 2147483647 w 1756"/>
                  <a:gd name="T111" fmla="*/ 2147483647 h 1462"/>
                  <a:gd name="T112" fmla="*/ 2147483647 w 1756"/>
                  <a:gd name="T113" fmla="*/ 2147483647 h 1462"/>
                  <a:gd name="T114" fmla="*/ 2147483647 w 1756"/>
                  <a:gd name="T115" fmla="*/ 2147483647 h 146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756"/>
                  <a:gd name="T175" fmla="*/ 0 h 1462"/>
                  <a:gd name="T176" fmla="*/ 1756 w 1756"/>
                  <a:gd name="T177" fmla="*/ 1462 h 1462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756" h="1462">
                    <a:moveTo>
                      <a:pt x="0" y="954"/>
                    </a:moveTo>
                    <a:lnTo>
                      <a:pt x="12" y="946"/>
                    </a:lnTo>
                    <a:lnTo>
                      <a:pt x="54" y="962"/>
                    </a:lnTo>
                    <a:lnTo>
                      <a:pt x="76" y="962"/>
                    </a:lnTo>
                    <a:lnTo>
                      <a:pt x="104" y="968"/>
                    </a:lnTo>
                    <a:lnTo>
                      <a:pt x="130" y="970"/>
                    </a:lnTo>
                    <a:lnTo>
                      <a:pt x="162" y="982"/>
                    </a:lnTo>
                    <a:lnTo>
                      <a:pt x="190" y="994"/>
                    </a:lnTo>
                    <a:lnTo>
                      <a:pt x="214" y="980"/>
                    </a:lnTo>
                    <a:lnTo>
                      <a:pt x="260" y="982"/>
                    </a:lnTo>
                    <a:lnTo>
                      <a:pt x="290" y="978"/>
                    </a:lnTo>
                    <a:lnTo>
                      <a:pt x="316" y="1002"/>
                    </a:lnTo>
                    <a:lnTo>
                      <a:pt x="336" y="1014"/>
                    </a:lnTo>
                    <a:lnTo>
                      <a:pt x="368" y="1038"/>
                    </a:lnTo>
                    <a:lnTo>
                      <a:pt x="396" y="1052"/>
                    </a:lnTo>
                    <a:lnTo>
                      <a:pt x="432" y="1062"/>
                    </a:lnTo>
                    <a:lnTo>
                      <a:pt x="470" y="1058"/>
                    </a:lnTo>
                    <a:lnTo>
                      <a:pt x="514" y="1064"/>
                    </a:lnTo>
                    <a:lnTo>
                      <a:pt x="544" y="1052"/>
                    </a:lnTo>
                    <a:lnTo>
                      <a:pt x="570" y="1042"/>
                    </a:lnTo>
                    <a:lnTo>
                      <a:pt x="596" y="1030"/>
                    </a:lnTo>
                    <a:lnTo>
                      <a:pt x="616" y="1018"/>
                    </a:lnTo>
                    <a:lnTo>
                      <a:pt x="646" y="1012"/>
                    </a:lnTo>
                    <a:lnTo>
                      <a:pt x="688" y="1002"/>
                    </a:lnTo>
                    <a:lnTo>
                      <a:pt x="724" y="1000"/>
                    </a:lnTo>
                    <a:lnTo>
                      <a:pt x="732" y="986"/>
                    </a:lnTo>
                    <a:lnTo>
                      <a:pt x="760" y="984"/>
                    </a:lnTo>
                    <a:lnTo>
                      <a:pt x="798" y="990"/>
                    </a:lnTo>
                    <a:lnTo>
                      <a:pt x="846" y="988"/>
                    </a:lnTo>
                    <a:lnTo>
                      <a:pt x="856" y="968"/>
                    </a:lnTo>
                    <a:lnTo>
                      <a:pt x="892" y="956"/>
                    </a:lnTo>
                    <a:lnTo>
                      <a:pt x="914" y="942"/>
                    </a:lnTo>
                    <a:lnTo>
                      <a:pt x="920" y="906"/>
                    </a:lnTo>
                    <a:lnTo>
                      <a:pt x="938" y="884"/>
                    </a:lnTo>
                    <a:lnTo>
                      <a:pt x="966" y="878"/>
                    </a:lnTo>
                    <a:lnTo>
                      <a:pt x="982" y="866"/>
                    </a:lnTo>
                    <a:lnTo>
                      <a:pt x="960" y="848"/>
                    </a:lnTo>
                    <a:lnTo>
                      <a:pt x="948" y="816"/>
                    </a:lnTo>
                    <a:lnTo>
                      <a:pt x="944" y="794"/>
                    </a:lnTo>
                    <a:lnTo>
                      <a:pt x="968" y="770"/>
                    </a:lnTo>
                    <a:lnTo>
                      <a:pt x="984" y="744"/>
                    </a:lnTo>
                    <a:lnTo>
                      <a:pt x="1012" y="748"/>
                    </a:lnTo>
                    <a:lnTo>
                      <a:pt x="1036" y="760"/>
                    </a:lnTo>
                    <a:lnTo>
                      <a:pt x="1068" y="768"/>
                    </a:lnTo>
                    <a:lnTo>
                      <a:pt x="1108" y="750"/>
                    </a:lnTo>
                    <a:lnTo>
                      <a:pt x="1128" y="732"/>
                    </a:lnTo>
                    <a:lnTo>
                      <a:pt x="1144" y="700"/>
                    </a:lnTo>
                    <a:lnTo>
                      <a:pt x="1168" y="706"/>
                    </a:lnTo>
                    <a:lnTo>
                      <a:pt x="1204" y="700"/>
                    </a:lnTo>
                    <a:lnTo>
                      <a:pt x="1242" y="676"/>
                    </a:lnTo>
                    <a:lnTo>
                      <a:pt x="1242" y="628"/>
                    </a:lnTo>
                    <a:lnTo>
                      <a:pt x="1264" y="606"/>
                    </a:lnTo>
                    <a:lnTo>
                      <a:pt x="1290" y="584"/>
                    </a:lnTo>
                    <a:lnTo>
                      <a:pt x="1324" y="586"/>
                    </a:lnTo>
                    <a:lnTo>
                      <a:pt x="1350" y="562"/>
                    </a:lnTo>
                    <a:lnTo>
                      <a:pt x="1382" y="554"/>
                    </a:lnTo>
                    <a:lnTo>
                      <a:pt x="1440" y="558"/>
                    </a:lnTo>
                    <a:lnTo>
                      <a:pt x="1456" y="554"/>
                    </a:lnTo>
                    <a:lnTo>
                      <a:pt x="1470" y="518"/>
                    </a:lnTo>
                    <a:lnTo>
                      <a:pt x="1448" y="510"/>
                    </a:lnTo>
                    <a:lnTo>
                      <a:pt x="1412" y="484"/>
                    </a:lnTo>
                    <a:lnTo>
                      <a:pt x="1392" y="460"/>
                    </a:lnTo>
                    <a:lnTo>
                      <a:pt x="1362" y="448"/>
                    </a:lnTo>
                    <a:lnTo>
                      <a:pt x="1340" y="444"/>
                    </a:lnTo>
                    <a:lnTo>
                      <a:pt x="1316" y="446"/>
                    </a:lnTo>
                    <a:lnTo>
                      <a:pt x="1304" y="480"/>
                    </a:lnTo>
                    <a:lnTo>
                      <a:pt x="1268" y="488"/>
                    </a:lnTo>
                    <a:lnTo>
                      <a:pt x="1248" y="474"/>
                    </a:lnTo>
                    <a:lnTo>
                      <a:pt x="1222" y="484"/>
                    </a:lnTo>
                    <a:lnTo>
                      <a:pt x="1200" y="502"/>
                    </a:lnTo>
                    <a:lnTo>
                      <a:pt x="1172" y="492"/>
                    </a:lnTo>
                    <a:lnTo>
                      <a:pt x="1160" y="452"/>
                    </a:lnTo>
                    <a:lnTo>
                      <a:pt x="1168" y="404"/>
                    </a:lnTo>
                    <a:lnTo>
                      <a:pt x="1180" y="352"/>
                    </a:lnTo>
                    <a:lnTo>
                      <a:pt x="1196" y="326"/>
                    </a:lnTo>
                    <a:lnTo>
                      <a:pt x="1200" y="310"/>
                    </a:lnTo>
                    <a:lnTo>
                      <a:pt x="1216" y="288"/>
                    </a:lnTo>
                    <a:lnTo>
                      <a:pt x="1232" y="302"/>
                    </a:lnTo>
                    <a:lnTo>
                      <a:pt x="1262" y="298"/>
                    </a:lnTo>
                    <a:lnTo>
                      <a:pt x="1284" y="304"/>
                    </a:lnTo>
                    <a:lnTo>
                      <a:pt x="1300" y="288"/>
                    </a:lnTo>
                    <a:lnTo>
                      <a:pt x="1314" y="272"/>
                    </a:lnTo>
                    <a:lnTo>
                      <a:pt x="1346" y="258"/>
                    </a:lnTo>
                    <a:lnTo>
                      <a:pt x="1358" y="236"/>
                    </a:lnTo>
                    <a:lnTo>
                      <a:pt x="1364" y="212"/>
                    </a:lnTo>
                    <a:lnTo>
                      <a:pt x="1356" y="172"/>
                    </a:lnTo>
                    <a:lnTo>
                      <a:pt x="1368" y="134"/>
                    </a:lnTo>
                    <a:lnTo>
                      <a:pt x="1388" y="118"/>
                    </a:lnTo>
                    <a:lnTo>
                      <a:pt x="1410" y="80"/>
                    </a:lnTo>
                    <a:lnTo>
                      <a:pt x="1410" y="52"/>
                    </a:lnTo>
                    <a:lnTo>
                      <a:pt x="1428" y="28"/>
                    </a:lnTo>
                    <a:lnTo>
                      <a:pt x="1444" y="24"/>
                    </a:lnTo>
                    <a:lnTo>
                      <a:pt x="1488" y="30"/>
                    </a:lnTo>
                    <a:lnTo>
                      <a:pt x="1504" y="22"/>
                    </a:lnTo>
                    <a:lnTo>
                      <a:pt x="1514" y="0"/>
                    </a:lnTo>
                    <a:lnTo>
                      <a:pt x="1534" y="20"/>
                    </a:lnTo>
                    <a:lnTo>
                      <a:pt x="1562" y="24"/>
                    </a:lnTo>
                    <a:lnTo>
                      <a:pt x="1550" y="38"/>
                    </a:lnTo>
                    <a:lnTo>
                      <a:pt x="1554" y="64"/>
                    </a:lnTo>
                    <a:lnTo>
                      <a:pt x="1568" y="82"/>
                    </a:lnTo>
                    <a:lnTo>
                      <a:pt x="1580" y="94"/>
                    </a:lnTo>
                    <a:lnTo>
                      <a:pt x="1600" y="98"/>
                    </a:lnTo>
                    <a:lnTo>
                      <a:pt x="1610" y="86"/>
                    </a:lnTo>
                    <a:lnTo>
                      <a:pt x="1638" y="80"/>
                    </a:lnTo>
                    <a:lnTo>
                      <a:pt x="1654" y="72"/>
                    </a:lnTo>
                    <a:lnTo>
                      <a:pt x="1670" y="70"/>
                    </a:lnTo>
                    <a:lnTo>
                      <a:pt x="1688" y="58"/>
                    </a:lnTo>
                    <a:lnTo>
                      <a:pt x="1712" y="68"/>
                    </a:lnTo>
                    <a:lnTo>
                      <a:pt x="1732" y="88"/>
                    </a:lnTo>
                    <a:lnTo>
                      <a:pt x="1734" y="108"/>
                    </a:lnTo>
                    <a:lnTo>
                      <a:pt x="1740" y="132"/>
                    </a:lnTo>
                    <a:lnTo>
                      <a:pt x="1732" y="146"/>
                    </a:lnTo>
                    <a:lnTo>
                      <a:pt x="1728" y="164"/>
                    </a:lnTo>
                    <a:lnTo>
                      <a:pt x="1722" y="176"/>
                    </a:lnTo>
                    <a:lnTo>
                      <a:pt x="1720" y="196"/>
                    </a:lnTo>
                    <a:lnTo>
                      <a:pt x="1734" y="224"/>
                    </a:lnTo>
                    <a:lnTo>
                      <a:pt x="1744" y="236"/>
                    </a:lnTo>
                    <a:lnTo>
                      <a:pt x="1736" y="238"/>
                    </a:lnTo>
                    <a:lnTo>
                      <a:pt x="1734" y="276"/>
                    </a:lnTo>
                    <a:lnTo>
                      <a:pt x="1734" y="290"/>
                    </a:lnTo>
                    <a:lnTo>
                      <a:pt x="1728" y="306"/>
                    </a:lnTo>
                    <a:lnTo>
                      <a:pt x="1716" y="314"/>
                    </a:lnTo>
                    <a:lnTo>
                      <a:pt x="1720" y="348"/>
                    </a:lnTo>
                    <a:lnTo>
                      <a:pt x="1718" y="366"/>
                    </a:lnTo>
                    <a:lnTo>
                      <a:pt x="1688" y="362"/>
                    </a:lnTo>
                    <a:lnTo>
                      <a:pt x="1680" y="370"/>
                    </a:lnTo>
                    <a:lnTo>
                      <a:pt x="1674" y="390"/>
                    </a:lnTo>
                    <a:lnTo>
                      <a:pt x="1668" y="404"/>
                    </a:lnTo>
                    <a:lnTo>
                      <a:pt x="1650" y="410"/>
                    </a:lnTo>
                    <a:lnTo>
                      <a:pt x="1628" y="436"/>
                    </a:lnTo>
                    <a:lnTo>
                      <a:pt x="1626" y="464"/>
                    </a:lnTo>
                    <a:lnTo>
                      <a:pt x="1636" y="478"/>
                    </a:lnTo>
                    <a:lnTo>
                      <a:pt x="1656" y="494"/>
                    </a:lnTo>
                    <a:lnTo>
                      <a:pt x="1676" y="504"/>
                    </a:lnTo>
                    <a:lnTo>
                      <a:pt x="1684" y="548"/>
                    </a:lnTo>
                    <a:lnTo>
                      <a:pt x="1678" y="568"/>
                    </a:lnTo>
                    <a:lnTo>
                      <a:pt x="1668" y="586"/>
                    </a:lnTo>
                    <a:lnTo>
                      <a:pt x="1644" y="598"/>
                    </a:lnTo>
                    <a:lnTo>
                      <a:pt x="1612" y="598"/>
                    </a:lnTo>
                    <a:lnTo>
                      <a:pt x="1602" y="606"/>
                    </a:lnTo>
                    <a:lnTo>
                      <a:pt x="1620" y="624"/>
                    </a:lnTo>
                    <a:lnTo>
                      <a:pt x="1634" y="646"/>
                    </a:lnTo>
                    <a:lnTo>
                      <a:pt x="1632" y="664"/>
                    </a:lnTo>
                    <a:lnTo>
                      <a:pt x="1640" y="702"/>
                    </a:lnTo>
                    <a:lnTo>
                      <a:pt x="1652" y="722"/>
                    </a:lnTo>
                    <a:lnTo>
                      <a:pt x="1664" y="726"/>
                    </a:lnTo>
                    <a:lnTo>
                      <a:pt x="1684" y="710"/>
                    </a:lnTo>
                    <a:lnTo>
                      <a:pt x="1712" y="716"/>
                    </a:lnTo>
                    <a:lnTo>
                      <a:pt x="1720" y="736"/>
                    </a:lnTo>
                    <a:lnTo>
                      <a:pt x="1740" y="770"/>
                    </a:lnTo>
                    <a:lnTo>
                      <a:pt x="1756" y="802"/>
                    </a:lnTo>
                    <a:lnTo>
                      <a:pt x="1740" y="834"/>
                    </a:lnTo>
                    <a:lnTo>
                      <a:pt x="1722" y="856"/>
                    </a:lnTo>
                    <a:lnTo>
                      <a:pt x="1680" y="852"/>
                    </a:lnTo>
                    <a:lnTo>
                      <a:pt x="1660" y="882"/>
                    </a:lnTo>
                    <a:lnTo>
                      <a:pt x="1644" y="892"/>
                    </a:lnTo>
                    <a:lnTo>
                      <a:pt x="1648" y="910"/>
                    </a:lnTo>
                    <a:lnTo>
                      <a:pt x="1630" y="918"/>
                    </a:lnTo>
                    <a:lnTo>
                      <a:pt x="1606" y="936"/>
                    </a:lnTo>
                    <a:lnTo>
                      <a:pt x="1604" y="946"/>
                    </a:lnTo>
                    <a:lnTo>
                      <a:pt x="1576" y="946"/>
                    </a:lnTo>
                    <a:lnTo>
                      <a:pt x="1574" y="968"/>
                    </a:lnTo>
                    <a:lnTo>
                      <a:pt x="1544" y="968"/>
                    </a:lnTo>
                    <a:lnTo>
                      <a:pt x="1522" y="950"/>
                    </a:lnTo>
                    <a:lnTo>
                      <a:pt x="1510" y="946"/>
                    </a:lnTo>
                    <a:lnTo>
                      <a:pt x="1500" y="1000"/>
                    </a:lnTo>
                    <a:lnTo>
                      <a:pt x="1492" y="1032"/>
                    </a:lnTo>
                    <a:lnTo>
                      <a:pt x="1492" y="1060"/>
                    </a:lnTo>
                    <a:lnTo>
                      <a:pt x="1486" y="1052"/>
                    </a:lnTo>
                    <a:lnTo>
                      <a:pt x="1462" y="1050"/>
                    </a:lnTo>
                    <a:lnTo>
                      <a:pt x="1458" y="1036"/>
                    </a:lnTo>
                    <a:lnTo>
                      <a:pt x="1434" y="1042"/>
                    </a:lnTo>
                    <a:lnTo>
                      <a:pt x="1428" y="1032"/>
                    </a:lnTo>
                    <a:lnTo>
                      <a:pt x="1428" y="1014"/>
                    </a:lnTo>
                    <a:lnTo>
                      <a:pt x="1428" y="996"/>
                    </a:lnTo>
                    <a:lnTo>
                      <a:pt x="1418" y="980"/>
                    </a:lnTo>
                    <a:lnTo>
                      <a:pt x="1402" y="968"/>
                    </a:lnTo>
                    <a:lnTo>
                      <a:pt x="1382" y="948"/>
                    </a:lnTo>
                    <a:lnTo>
                      <a:pt x="1380" y="932"/>
                    </a:lnTo>
                    <a:lnTo>
                      <a:pt x="1368" y="930"/>
                    </a:lnTo>
                    <a:lnTo>
                      <a:pt x="1356" y="954"/>
                    </a:lnTo>
                    <a:lnTo>
                      <a:pt x="1342" y="964"/>
                    </a:lnTo>
                    <a:lnTo>
                      <a:pt x="1324" y="974"/>
                    </a:lnTo>
                    <a:lnTo>
                      <a:pt x="1326" y="1000"/>
                    </a:lnTo>
                    <a:lnTo>
                      <a:pt x="1296" y="1002"/>
                    </a:lnTo>
                    <a:lnTo>
                      <a:pt x="1258" y="1012"/>
                    </a:lnTo>
                    <a:lnTo>
                      <a:pt x="1242" y="1024"/>
                    </a:lnTo>
                    <a:lnTo>
                      <a:pt x="1218" y="1022"/>
                    </a:lnTo>
                    <a:lnTo>
                      <a:pt x="1192" y="1022"/>
                    </a:lnTo>
                    <a:lnTo>
                      <a:pt x="1184" y="1012"/>
                    </a:lnTo>
                    <a:lnTo>
                      <a:pt x="1180" y="1008"/>
                    </a:lnTo>
                    <a:lnTo>
                      <a:pt x="1172" y="1020"/>
                    </a:lnTo>
                    <a:lnTo>
                      <a:pt x="1150" y="1038"/>
                    </a:lnTo>
                    <a:lnTo>
                      <a:pt x="1148" y="1056"/>
                    </a:lnTo>
                    <a:lnTo>
                      <a:pt x="1152" y="1078"/>
                    </a:lnTo>
                    <a:lnTo>
                      <a:pt x="1136" y="1096"/>
                    </a:lnTo>
                    <a:lnTo>
                      <a:pt x="1148" y="1122"/>
                    </a:lnTo>
                    <a:lnTo>
                      <a:pt x="1142" y="1140"/>
                    </a:lnTo>
                    <a:lnTo>
                      <a:pt x="1116" y="1152"/>
                    </a:lnTo>
                    <a:lnTo>
                      <a:pt x="1092" y="1160"/>
                    </a:lnTo>
                    <a:lnTo>
                      <a:pt x="1080" y="1174"/>
                    </a:lnTo>
                    <a:lnTo>
                      <a:pt x="1048" y="1172"/>
                    </a:lnTo>
                    <a:lnTo>
                      <a:pt x="1048" y="1184"/>
                    </a:lnTo>
                    <a:lnTo>
                      <a:pt x="1030" y="1198"/>
                    </a:lnTo>
                    <a:lnTo>
                      <a:pt x="1010" y="1210"/>
                    </a:lnTo>
                    <a:lnTo>
                      <a:pt x="1004" y="1232"/>
                    </a:lnTo>
                    <a:lnTo>
                      <a:pt x="982" y="1248"/>
                    </a:lnTo>
                    <a:lnTo>
                      <a:pt x="954" y="1256"/>
                    </a:lnTo>
                    <a:lnTo>
                      <a:pt x="952" y="1276"/>
                    </a:lnTo>
                    <a:lnTo>
                      <a:pt x="924" y="1268"/>
                    </a:lnTo>
                    <a:lnTo>
                      <a:pt x="902" y="1270"/>
                    </a:lnTo>
                    <a:lnTo>
                      <a:pt x="882" y="1276"/>
                    </a:lnTo>
                    <a:lnTo>
                      <a:pt x="870" y="1302"/>
                    </a:lnTo>
                    <a:lnTo>
                      <a:pt x="856" y="1306"/>
                    </a:lnTo>
                    <a:lnTo>
                      <a:pt x="842" y="1328"/>
                    </a:lnTo>
                    <a:lnTo>
                      <a:pt x="828" y="1346"/>
                    </a:lnTo>
                    <a:lnTo>
                      <a:pt x="828" y="1378"/>
                    </a:lnTo>
                    <a:lnTo>
                      <a:pt x="812" y="1396"/>
                    </a:lnTo>
                    <a:lnTo>
                      <a:pt x="810" y="1414"/>
                    </a:lnTo>
                    <a:lnTo>
                      <a:pt x="808" y="1430"/>
                    </a:lnTo>
                    <a:lnTo>
                      <a:pt x="790" y="1428"/>
                    </a:lnTo>
                    <a:lnTo>
                      <a:pt x="776" y="1438"/>
                    </a:lnTo>
                    <a:lnTo>
                      <a:pt x="750" y="1428"/>
                    </a:lnTo>
                    <a:lnTo>
                      <a:pt x="740" y="1412"/>
                    </a:lnTo>
                    <a:lnTo>
                      <a:pt x="722" y="1414"/>
                    </a:lnTo>
                    <a:lnTo>
                      <a:pt x="710" y="1424"/>
                    </a:lnTo>
                    <a:lnTo>
                      <a:pt x="698" y="1408"/>
                    </a:lnTo>
                    <a:lnTo>
                      <a:pt x="688" y="1386"/>
                    </a:lnTo>
                    <a:lnTo>
                      <a:pt x="666" y="1390"/>
                    </a:lnTo>
                    <a:lnTo>
                      <a:pt x="654" y="1374"/>
                    </a:lnTo>
                    <a:lnTo>
                      <a:pt x="658" y="1350"/>
                    </a:lnTo>
                    <a:lnTo>
                      <a:pt x="658" y="1316"/>
                    </a:lnTo>
                    <a:lnTo>
                      <a:pt x="652" y="1298"/>
                    </a:lnTo>
                    <a:lnTo>
                      <a:pt x="640" y="1278"/>
                    </a:lnTo>
                    <a:lnTo>
                      <a:pt x="626" y="1294"/>
                    </a:lnTo>
                    <a:lnTo>
                      <a:pt x="622" y="1310"/>
                    </a:lnTo>
                    <a:lnTo>
                      <a:pt x="610" y="1328"/>
                    </a:lnTo>
                    <a:lnTo>
                      <a:pt x="594" y="1370"/>
                    </a:lnTo>
                    <a:lnTo>
                      <a:pt x="580" y="1378"/>
                    </a:lnTo>
                    <a:lnTo>
                      <a:pt x="570" y="1402"/>
                    </a:lnTo>
                    <a:lnTo>
                      <a:pt x="558" y="1414"/>
                    </a:lnTo>
                    <a:lnTo>
                      <a:pt x="552" y="1430"/>
                    </a:lnTo>
                    <a:lnTo>
                      <a:pt x="512" y="1440"/>
                    </a:lnTo>
                    <a:lnTo>
                      <a:pt x="490" y="1450"/>
                    </a:lnTo>
                    <a:lnTo>
                      <a:pt x="458" y="1462"/>
                    </a:lnTo>
                    <a:lnTo>
                      <a:pt x="436" y="1434"/>
                    </a:lnTo>
                    <a:lnTo>
                      <a:pt x="416" y="1426"/>
                    </a:lnTo>
                    <a:lnTo>
                      <a:pt x="408" y="1406"/>
                    </a:lnTo>
                    <a:lnTo>
                      <a:pt x="416" y="1380"/>
                    </a:lnTo>
                    <a:lnTo>
                      <a:pt x="430" y="1366"/>
                    </a:lnTo>
                    <a:lnTo>
                      <a:pt x="428" y="1340"/>
                    </a:lnTo>
                    <a:lnTo>
                      <a:pt x="452" y="1332"/>
                    </a:lnTo>
                    <a:lnTo>
                      <a:pt x="456" y="1318"/>
                    </a:lnTo>
                    <a:lnTo>
                      <a:pt x="448" y="1300"/>
                    </a:lnTo>
                    <a:lnTo>
                      <a:pt x="434" y="1290"/>
                    </a:lnTo>
                    <a:lnTo>
                      <a:pt x="414" y="1290"/>
                    </a:lnTo>
                    <a:lnTo>
                      <a:pt x="402" y="1300"/>
                    </a:lnTo>
                    <a:lnTo>
                      <a:pt x="382" y="1298"/>
                    </a:lnTo>
                    <a:lnTo>
                      <a:pt x="360" y="1298"/>
                    </a:lnTo>
                    <a:lnTo>
                      <a:pt x="338" y="1298"/>
                    </a:lnTo>
                    <a:lnTo>
                      <a:pt x="316" y="1300"/>
                    </a:lnTo>
                    <a:lnTo>
                      <a:pt x="322" y="1326"/>
                    </a:lnTo>
                    <a:lnTo>
                      <a:pt x="322" y="1336"/>
                    </a:lnTo>
                    <a:lnTo>
                      <a:pt x="310" y="1346"/>
                    </a:lnTo>
                    <a:lnTo>
                      <a:pt x="280" y="1348"/>
                    </a:lnTo>
                    <a:lnTo>
                      <a:pt x="262" y="1324"/>
                    </a:lnTo>
                    <a:lnTo>
                      <a:pt x="236" y="1320"/>
                    </a:lnTo>
                    <a:lnTo>
                      <a:pt x="236" y="1306"/>
                    </a:lnTo>
                    <a:lnTo>
                      <a:pt x="230" y="1288"/>
                    </a:lnTo>
                    <a:lnTo>
                      <a:pt x="216" y="1280"/>
                    </a:lnTo>
                    <a:lnTo>
                      <a:pt x="214" y="1268"/>
                    </a:lnTo>
                    <a:lnTo>
                      <a:pt x="182" y="1238"/>
                    </a:lnTo>
                    <a:lnTo>
                      <a:pt x="160" y="1220"/>
                    </a:lnTo>
                    <a:lnTo>
                      <a:pt x="158" y="1192"/>
                    </a:lnTo>
                    <a:lnTo>
                      <a:pt x="170" y="1184"/>
                    </a:lnTo>
                    <a:lnTo>
                      <a:pt x="184" y="1174"/>
                    </a:lnTo>
                    <a:lnTo>
                      <a:pt x="182" y="1164"/>
                    </a:lnTo>
                    <a:lnTo>
                      <a:pt x="190" y="1148"/>
                    </a:lnTo>
                    <a:lnTo>
                      <a:pt x="182" y="1138"/>
                    </a:lnTo>
                    <a:lnTo>
                      <a:pt x="160" y="1138"/>
                    </a:lnTo>
                    <a:lnTo>
                      <a:pt x="128" y="1136"/>
                    </a:lnTo>
                    <a:lnTo>
                      <a:pt x="84" y="1162"/>
                    </a:lnTo>
                    <a:lnTo>
                      <a:pt x="60" y="1156"/>
                    </a:lnTo>
                    <a:lnTo>
                      <a:pt x="62" y="1136"/>
                    </a:lnTo>
                    <a:lnTo>
                      <a:pt x="68" y="1122"/>
                    </a:lnTo>
                    <a:lnTo>
                      <a:pt x="74" y="1116"/>
                    </a:lnTo>
                    <a:lnTo>
                      <a:pt x="50" y="1098"/>
                    </a:lnTo>
                    <a:lnTo>
                      <a:pt x="38" y="1072"/>
                    </a:lnTo>
                    <a:lnTo>
                      <a:pt x="30" y="1046"/>
                    </a:lnTo>
                    <a:lnTo>
                      <a:pt x="26" y="1026"/>
                    </a:lnTo>
                    <a:lnTo>
                      <a:pt x="20" y="1010"/>
                    </a:lnTo>
                    <a:lnTo>
                      <a:pt x="12" y="984"/>
                    </a:lnTo>
                    <a:lnTo>
                      <a:pt x="0" y="954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77" name="Freeform 33"/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2344738" y="3082925"/>
                <a:ext cx="1628775" cy="1135063"/>
              </a:xfrm>
              <a:custGeom>
                <a:avLst/>
                <a:gdLst>
                  <a:gd name="T0" fmla="*/ 2147483647 w 993"/>
                  <a:gd name="T1" fmla="*/ 2147483647 h 721"/>
                  <a:gd name="T2" fmla="*/ 2147483647 w 993"/>
                  <a:gd name="T3" fmla="*/ 2147483647 h 721"/>
                  <a:gd name="T4" fmla="*/ 2147483647 w 993"/>
                  <a:gd name="T5" fmla="*/ 2147483647 h 721"/>
                  <a:gd name="T6" fmla="*/ 2147483647 w 993"/>
                  <a:gd name="T7" fmla="*/ 2147483647 h 721"/>
                  <a:gd name="T8" fmla="*/ 2147483647 w 993"/>
                  <a:gd name="T9" fmla="*/ 2147483647 h 721"/>
                  <a:gd name="T10" fmla="*/ 2147483647 w 993"/>
                  <a:gd name="T11" fmla="*/ 2147483647 h 721"/>
                  <a:gd name="T12" fmla="*/ 2147483647 w 993"/>
                  <a:gd name="T13" fmla="*/ 2147483647 h 721"/>
                  <a:gd name="T14" fmla="*/ 2147483647 w 993"/>
                  <a:gd name="T15" fmla="*/ 2147483647 h 721"/>
                  <a:gd name="T16" fmla="*/ 2147483647 w 993"/>
                  <a:gd name="T17" fmla="*/ 2147483647 h 721"/>
                  <a:gd name="T18" fmla="*/ 2147483647 w 993"/>
                  <a:gd name="T19" fmla="*/ 2147483647 h 721"/>
                  <a:gd name="T20" fmla="*/ 2147483647 w 993"/>
                  <a:gd name="T21" fmla="*/ 2147483647 h 721"/>
                  <a:gd name="T22" fmla="*/ 2147483647 w 993"/>
                  <a:gd name="T23" fmla="*/ 2147483647 h 721"/>
                  <a:gd name="T24" fmla="*/ 0 w 993"/>
                  <a:gd name="T25" fmla="*/ 2147483647 h 721"/>
                  <a:gd name="T26" fmla="*/ 0 w 993"/>
                  <a:gd name="T27" fmla="*/ 2147483647 h 721"/>
                  <a:gd name="T28" fmla="*/ 2147483647 w 993"/>
                  <a:gd name="T29" fmla="*/ 2147483647 h 721"/>
                  <a:gd name="T30" fmla="*/ 2147483647 w 993"/>
                  <a:gd name="T31" fmla="*/ 2147483647 h 721"/>
                  <a:gd name="T32" fmla="*/ 2147483647 w 993"/>
                  <a:gd name="T33" fmla="*/ 2147483647 h 721"/>
                  <a:gd name="T34" fmla="*/ 2147483647 w 993"/>
                  <a:gd name="T35" fmla="*/ 2147483647 h 721"/>
                  <a:gd name="T36" fmla="*/ 2147483647 w 993"/>
                  <a:gd name="T37" fmla="*/ 2147483647 h 721"/>
                  <a:gd name="T38" fmla="*/ 2147483647 w 993"/>
                  <a:gd name="T39" fmla="*/ 2147483647 h 721"/>
                  <a:gd name="T40" fmla="*/ 2147483647 w 993"/>
                  <a:gd name="T41" fmla="*/ 2147483647 h 721"/>
                  <a:gd name="T42" fmla="*/ 2147483647 w 993"/>
                  <a:gd name="T43" fmla="*/ 2147483647 h 721"/>
                  <a:gd name="T44" fmla="*/ 2147483647 w 993"/>
                  <a:gd name="T45" fmla="*/ 2147483647 h 721"/>
                  <a:gd name="T46" fmla="*/ 2147483647 w 993"/>
                  <a:gd name="T47" fmla="*/ 2147483647 h 721"/>
                  <a:gd name="T48" fmla="*/ 2147483647 w 993"/>
                  <a:gd name="T49" fmla="*/ 2147483647 h 721"/>
                  <a:gd name="T50" fmla="*/ 2147483647 w 993"/>
                  <a:gd name="T51" fmla="*/ 2147483647 h 721"/>
                  <a:gd name="T52" fmla="*/ 2147483647 w 993"/>
                  <a:gd name="T53" fmla="*/ 2147483647 h 721"/>
                  <a:gd name="T54" fmla="*/ 2147483647 w 993"/>
                  <a:gd name="T55" fmla="*/ 2147483647 h 721"/>
                  <a:gd name="T56" fmla="*/ 2147483647 w 993"/>
                  <a:gd name="T57" fmla="*/ 2147483647 h 721"/>
                  <a:gd name="T58" fmla="*/ 2147483647 w 993"/>
                  <a:gd name="T59" fmla="*/ 2147483647 h 721"/>
                  <a:gd name="T60" fmla="*/ 2147483647 w 993"/>
                  <a:gd name="T61" fmla="*/ 2147483647 h 721"/>
                  <a:gd name="T62" fmla="*/ 2147483647 w 993"/>
                  <a:gd name="T63" fmla="*/ 2147483647 h 721"/>
                  <a:gd name="T64" fmla="*/ 2147483647 w 993"/>
                  <a:gd name="T65" fmla="*/ 2147483647 h 721"/>
                  <a:gd name="T66" fmla="*/ 2147483647 w 993"/>
                  <a:gd name="T67" fmla="*/ 2147483647 h 721"/>
                  <a:gd name="T68" fmla="*/ 2147483647 w 993"/>
                  <a:gd name="T69" fmla="*/ 2147483647 h 721"/>
                  <a:gd name="T70" fmla="*/ 2147483647 w 993"/>
                  <a:gd name="T71" fmla="*/ 2147483647 h 721"/>
                  <a:gd name="T72" fmla="*/ 2147483647 w 993"/>
                  <a:gd name="T73" fmla="*/ 2147483647 h 721"/>
                  <a:gd name="T74" fmla="*/ 2147483647 w 993"/>
                  <a:gd name="T75" fmla="*/ 2147483647 h 721"/>
                  <a:gd name="T76" fmla="*/ 2147483647 w 993"/>
                  <a:gd name="T77" fmla="*/ 2147483647 h 721"/>
                  <a:gd name="T78" fmla="*/ 2147483647 w 993"/>
                  <a:gd name="T79" fmla="*/ 2147483647 h 721"/>
                  <a:gd name="T80" fmla="*/ 2147483647 w 993"/>
                  <a:gd name="T81" fmla="*/ 2147483647 h 721"/>
                  <a:gd name="T82" fmla="*/ 2147483647 w 993"/>
                  <a:gd name="T83" fmla="*/ 2147483647 h 721"/>
                  <a:gd name="T84" fmla="*/ 2147483647 w 993"/>
                  <a:gd name="T85" fmla="*/ 2147483647 h 721"/>
                  <a:gd name="T86" fmla="*/ 2147483647 w 993"/>
                  <a:gd name="T87" fmla="*/ 2147483647 h 721"/>
                  <a:gd name="T88" fmla="*/ 2147483647 w 993"/>
                  <a:gd name="T89" fmla="*/ 2147483647 h 721"/>
                  <a:gd name="T90" fmla="*/ 2147483647 w 993"/>
                  <a:gd name="T91" fmla="*/ 2147483647 h 721"/>
                  <a:gd name="T92" fmla="*/ 2147483647 w 993"/>
                  <a:gd name="T93" fmla="*/ 2147483647 h 721"/>
                  <a:gd name="T94" fmla="*/ 2147483647 w 993"/>
                  <a:gd name="T95" fmla="*/ 2147483647 h 721"/>
                  <a:gd name="T96" fmla="*/ 2147483647 w 993"/>
                  <a:gd name="T97" fmla="*/ 2147483647 h 721"/>
                  <a:gd name="T98" fmla="*/ 2147483647 w 993"/>
                  <a:gd name="T99" fmla="*/ 2147483647 h 721"/>
                  <a:gd name="T100" fmla="*/ 2147483647 w 993"/>
                  <a:gd name="T101" fmla="*/ 2147483647 h 721"/>
                  <a:gd name="T102" fmla="*/ 2147483647 w 993"/>
                  <a:gd name="T103" fmla="*/ 2147483647 h 721"/>
                  <a:gd name="T104" fmla="*/ 2147483647 w 993"/>
                  <a:gd name="T105" fmla="*/ 2147483647 h 721"/>
                  <a:gd name="T106" fmla="*/ 2147483647 w 993"/>
                  <a:gd name="T107" fmla="*/ 2147483647 h 721"/>
                  <a:gd name="T108" fmla="*/ 2147483647 w 993"/>
                  <a:gd name="T109" fmla="*/ 2147483647 h 721"/>
                  <a:gd name="T110" fmla="*/ 2147483647 w 993"/>
                  <a:gd name="T111" fmla="*/ 2147483647 h 721"/>
                  <a:gd name="T112" fmla="*/ 2147483647 w 993"/>
                  <a:gd name="T113" fmla="*/ 2147483647 h 721"/>
                  <a:gd name="T114" fmla="*/ 2147483647 w 993"/>
                  <a:gd name="T115" fmla="*/ 2147483647 h 721"/>
                  <a:gd name="T116" fmla="*/ 2147483647 w 993"/>
                  <a:gd name="T117" fmla="*/ 0 h 721"/>
                  <a:gd name="T118" fmla="*/ 2147483647 w 993"/>
                  <a:gd name="T119" fmla="*/ 2147483647 h 721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993"/>
                  <a:gd name="T181" fmla="*/ 0 h 721"/>
                  <a:gd name="T182" fmla="*/ 993 w 993"/>
                  <a:gd name="T183" fmla="*/ 721 h 721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993" h="721">
                    <a:moveTo>
                      <a:pt x="308" y="6"/>
                    </a:moveTo>
                    <a:lnTo>
                      <a:pt x="278" y="22"/>
                    </a:lnTo>
                    <a:lnTo>
                      <a:pt x="238" y="30"/>
                    </a:lnTo>
                    <a:lnTo>
                      <a:pt x="190" y="30"/>
                    </a:lnTo>
                    <a:lnTo>
                      <a:pt x="170" y="50"/>
                    </a:lnTo>
                    <a:lnTo>
                      <a:pt x="126" y="52"/>
                    </a:lnTo>
                    <a:lnTo>
                      <a:pt x="88" y="54"/>
                    </a:lnTo>
                    <a:lnTo>
                      <a:pt x="88" y="72"/>
                    </a:lnTo>
                    <a:lnTo>
                      <a:pt x="102" y="92"/>
                    </a:lnTo>
                    <a:lnTo>
                      <a:pt x="106" y="114"/>
                    </a:lnTo>
                    <a:lnTo>
                      <a:pt x="110" y="132"/>
                    </a:lnTo>
                    <a:lnTo>
                      <a:pt x="138" y="154"/>
                    </a:lnTo>
                    <a:lnTo>
                      <a:pt x="156" y="162"/>
                    </a:lnTo>
                    <a:lnTo>
                      <a:pt x="154" y="190"/>
                    </a:lnTo>
                    <a:lnTo>
                      <a:pt x="122" y="196"/>
                    </a:lnTo>
                    <a:lnTo>
                      <a:pt x="108" y="206"/>
                    </a:lnTo>
                    <a:lnTo>
                      <a:pt x="122" y="236"/>
                    </a:lnTo>
                    <a:lnTo>
                      <a:pt x="138" y="262"/>
                    </a:lnTo>
                    <a:lnTo>
                      <a:pt x="122" y="280"/>
                    </a:lnTo>
                    <a:lnTo>
                      <a:pt x="70" y="274"/>
                    </a:lnTo>
                    <a:lnTo>
                      <a:pt x="54" y="258"/>
                    </a:lnTo>
                    <a:lnTo>
                      <a:pt x="12" y="266"/>
                    </a:lnTo>
                    <a:lnTo>
                      <a:pt x="6" y="280"/>
                    </a:lnTo>
                    <a:lnTo>
                      <a:pt x="22" y="308"/>
                    </a:lnTo>
                    <a:lnTo>
                      <a:pt x="10" y="322"/>
                    </a:lnTo>
                    <a:lnTo>
                      <a:pt x="0" y="342"/>
                    </a:lnTo>
                    <a:lnTo>
                      <a:pt x="4" y="392"/>
                    </a:lnTo>
                    <a:lnTo>
                      <a:pt x="0" y="474"/>
                    </a:lnTo>
                    <a:lnTo>
                      <a:pt x="22" y="510"/>
                    </a:lnTo>
                    <a:lnTo>
                      <a:pt x="76" y="546"/>
                    </a:lnTo>
                    <a:lnTo>
                      <a:pt x="88" y="542"/>
                    </a:lnTo>
                    <a:lnTo>
                      <a:pt x="96" y="534"/>
                    </a:lnTo>
                    <a:lnTo>
                      <a:pt x="116" y="538"/>
                    </a:lnTo>
                    <a:lnTo>
                      <a:pt x="132" y="560"/>
                    </a:lnTo>
                    <a:lnTo>
                      <a:pt x="156" y="568"/>
                    </a:lnTo>
                    <a:lnTo>
                      <a:pt x="186" y="566"/>
                    </a:lnTo>
                    <a:lnTo>
                      <a:pt x="212" y="594"/>
                    </a:lnTo>
                    <a:lnTo>
                      <a:pt x="248" y="604"/>
                    </a:lnTo>
                    <a:lnTo>
                      <a:pt x="274" y="628"/>
                    </a:lnTo>
                    <a:lnTo>
                      <a:pt x="302" y="640"/>
                    </a:lnTo>
                    <a:lnTo>
                      <a:pt x="318" y="632"/>
                    </a:lnTo>
                    <a:lnTo>
                      <a:pt x="328" y="618"/>
                    </a:lnTo>
                    <a:lnTo>
                      <a:pt x="336" y="616"/>
                    </a:lnTo>
                    <a:lnTo>
                      <a:pt x="372" y="622"/>
                    </a:lnTo>
                    <a:lnTo>
                      <a:pt x="388" y="636"/>
                    </a:lnTo>
                    <a:lnTo>
                      <a:pt x="414" y="664"/>
                    </a:lnTo>
                    <a:lnTo>
                      <a:pt x="432" y="702"/>
                    </a:lnTo>
                    <a:lnTo>
                      <a:pt x="458" y="710"/>
                    </a:lnTo>
                    <a:lnTo>
                      <a:pt x="478" y="720"/>
                    </a:lnTo>
                    <a:lnTo>
                      <a:pt x="492" y="720"/>
                    </a:lnTo>
                    <a:lnTo>
                      <a:pt x="498" y="696"/>
                    </a:lnTo>
                    <a:lnTo>
                      <a:pt x="520" y="686"/>
                    </a:lnTo>
                    <a:lnTo>
                      <a:pt x="542" y="678"/>
                    </a:lnTo>
                    <a:lnTo>
                      <a:pt x="554" y="658"/>
                    </a:lnTo>
                    <a:lnTo>
                      <a:pt x="590" y="646"/>
                    </a:lnTo>
                    <a:lnTo>
                      <a:pt x="602" y="638"/>
                    </a:lnTo>
                    <a:lnTo>
                      <a:pt x="584" y="614"/>
                    </a:lnTo>
                    <a:lnTo>
                      <a:pt x="588" y="584"/>
                    </a:lnTo>
                    <a:lnTo>
                      <a:pt x="600" y="560"/>
                    </a:lnTo>
                    <a:lnTo>
                      <a:pt x="596" y="546"/>
                    </a:lnTo>
                    <a:lnTo>
                      <a:pt x="582" y="518"/>
                    </a:lnTo>
                    <a:lnTo>
                      <a:pt x="582" y="506"/>
                    </a:lnTo>
                    <a:lnTo>
                      <a:pt x="602" y="512"/>
                    </a:lnTo>
                    <a:lnTo>
                      <a:pt x="624" y="522"/>
                    </a:lnTo>
                    <a:lnTo>
                      <a:pt x="656" y="520"/>
                    </a:lnTo>
                    <a:lnTo>
                      <a:pt x="670" y="554"/>
                    </a:lnTo>
                    <a:lnTo>
                      <a:pt x="682" y="578"/>
                    </a:lnTo>
                    <a:lnTo>
                      <a:pt x="706" y="610"/>
                    </a:lnTo>
                    <a:lnTo>
                      <a:pt x="722" y="624"/>
                    </a:lnTo>
                    <a:lnTo>
                      <a:pt x="782" y="628"/>
                    </a:lnTo>
                    <a:lnTo>
                      <a:pt x="804" y="646"/>
                    </a:lnTo>
                    <a:lnTo>
                      <a:pt x="836" y="644"/>
                    </a:lnTo>
                    <a:lnTo>
                      <a:pt x="864" y="594"/>
                    </a:lnTo>
                    <a:lnTo>
                      <a:pt x="912" y="588"/>
                    </a:lnTo>
                    <a:lnTo>
                      <a:pt x="932" y="592"/>
                    </a:lnTo>
                    <a:lnTo>
                      <a:pt x="950" y="576"/>
                    </a:lnTo>
                    <a:lnTo>
                      <a:pt x="940" y="548"/>
                    </a:lnTo>
                    <a:lnTo>
                      <a:pt x="894" y="526"/>
                    </a:lnTo>
                    <a:lnTo>
                      <a:pt x="860" y="520"/>
                    </a:lnTo>
                    <a:lnTo>
                      <a:pt x="842" y="518"/>
                    </a:lnTo>
                    <a:lnTo>
                      <a:pt x="846" y="500"/>
                    </a:lnTo>
                    <a:lnTo>
                      <a:pt x="880" y="502"/>
                    </a:lnTo>
                    <a:lnTo>
                      <a:pt x="898" y="490"/>
                    </a:lnTo>
                    <a:lnTo>
                      <a:pt x="902" y="456"/>
                    </a:lnTo>
                    <a:lnTo>
                      <a:pt x="896" y="438"/>
                    </a:lnTo>
                    <a:lnTo>
                      <a:pt x="936" y="426"/>
                    </a:lnTo>
                    <a:lnTo>
                      <a:pt x="942" y="392"/>
                    </a:lnTo>
                    <a:lnTo>
                      <a:pt x="962" y="388"/>
                    </a:lnTo>
                    <a:lnTo>
                      <a:pt x="992" y="332"/>
                    </a:lnTo>
                    <a:lnTo>
                      <a:pt x="974" y="324"/>
                    </a:lnTo>
                    <a:lnTo>
                      <a:pt x="974" y="286"/>
                    </a:lnTo>
                    <a:lnTo>
                      <a:pt x="958" y="266"/>
                    </a:lnTo>
                    <a:lnTo>
                      <a:pt x="956" y="238"/>
                    </a:lnTo>
                    <a:lnTo>
                      <a:pt x="946" y="200"/>
                    </a:lnTo>
                    <a:lnTo>
                      <a:pt x="920" y="182"/>
                    </a:lnTo>
                    <a:lnTo>
                      <a:pt x="888" y="186"/>
                    </a:lnTo>
                    <a:lnTo>
                      <a:pt x="880" y="170"/>
                    </a:lnTo>
                    <a:lnTo>
                      <a:pt x="848" y="148"/>
                    </a:lnTo>
                    <a:lnTo>
                      <a:pt x="808" y="126"/>
                    </a:lnTo>
                    <a:lnTo>
                      <a:pt x="800" y="88"/>
                    </a:lnTo>
                    <a:lnTo>
                      <a:pt x="782" y="72"/>
                    </a:lnTo>
                    <a:lnTo>
                      <a:pt x="776" y="86"/>
                    </a:lnTo>
                    <a:lnTo>
                      <a:pt x="760" y="90"/>
                    </a:lnTo>
                    <a:lnTo>
                      <a:pt x="746" y="86"/>
                    </a:lnTo>
                    <a:lnTo>
                      <a:pt x="728" y="52"/>
                    </a:lnTo>
                    <a:lnTo>
                      <a:pt x="694" y="40"/>
                    </a:lnTo>
                    <a:lnTo>
                      <a:pt x="672" y="36"/>
                    </a:lnTo>
                    <a:lnTo>
                      <a:pt x="660" y="50"/>
                    </a:lnTo>
                    <a:lnTo>
                      <a:pt x="618" y="46"/>
                    </a:lnTo>
                    <a:lnTo>
                      <a:pt x="610" y="24"/>
                    </a:lnTo>
                    <a:lnTo>
                      <a:pt x="588" y="22"/>
                    </a:lnTo>
                    <a:lnTo>
                      <a:pt x="550" y="70"/>
                    </a:lnTo>
                    <a:lnTo>
                      <a:pt x="520" y="72"/>
                    </a:lnTo>
                    <a:lnTo>
                      <a:pt x="498" y="48"/>
                    </a:lnTo>
                    <a:lnTo>
                      <a:pt x="468" y="44"/>
                    </a:lnTo>
                    <a:lnTo>
                      <a:pt x="444" y="28"/>
                    </a:lnTo>
                    <a:lnTo>
                      <a:pt x="414" y="8"/>
                    </a:lnTo>
                    <a:lnTo>
                      <a:pt x="378" y="0"/>
                    </a:lnTo>
                    <a:lnTo>
                      <a:pt x="356" y="0"/>
                    </a:lnTo>
                    <a:lnTo>
                      <a:pt x="330" y="8"/>
                    </a:lnTo>
                    <a:lnTo>
                      <a:pt x="308" y="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78" name="Freeform 34"/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100513" y="3151188"/>
                <a:ext cx="404812" cy="576262"/>
              </a:xfrm>
              <a:custGeom>
                <a:avLst/>
                <a:gdLst>
                  <a:gd name="T0" fmla="*/ 0 w 246"/>
                  <a:gd name="T1" fmla="*/ 2147483647 h 366"/>
                  <a:gd name="T2" fmla="*/ 2147483647 w 246"/>
                  <a:gd name="T3" fmla="*/ 2147483647 h 366"/>
                  <a:gd name="T4" fmla="*/ 2147483647 w 246"/>
                  <a:gd name="T5" fmla="*/ 2147483647 h 366"/>
                  <a:gd name="T6" fmla="*/ 2147483647 w 246"/>
                  <a:gd name="T7" fmla="*/ 2147483647 h 366"/>
                  <a:gd name="T8" fmla="*/ 2147483647 w 246"/>
                  <a:gd name="T9" fmla="*/ 2147483647 h 366"/>
                  <a:gd name="T10" fmla="*/ 2147483647 w 246"/>
                  <a:gd name="T11" fmla="*/ 2147483647 h 366"/>
                  <a:gd name="T12" fmla="*/ 2147483647 w 246"/>
                  <a:gd name="T13" fmla="*/ 2147483647 h 366"/>
                  <a:gd name="T14" fmla="*/ 2147483647 w 246"/>
                  <a:gd name="T15" fmla="*/ 2147483647 h 366"/>
                  <a:gd name="T16" fmla="*/ 2147483647 w 246"/>
                  <a:gd name="T17" fmla="*/ 2147483647 h 366"/>
                  <a:gd name="T18" fmla="*/ 2147483647 w 246"/>
                  <a:gd name="T19" fmla="*/ 2147483647 h 366"/>
                  <a:gd name="T20" fmla="*/ 2147483647 w 246"/>
                  <a:gd name="T21" fmla="*/ 2147483647 h 366"/>
                  <a:gd name="T22" fmla="*/ 2147483647 w 246"/>
                  <a:gd name="T23" fmla="*/ 2147483647 h 366"/>
                  <a:gd name="T24" fmla="*/ 2147483647 w 246"/>
                  <a:gd name="T25" fmla="*/ 2147483647 h 366"/>
                  <a:gd name="T26" fmla="*/ 2147483647 w 246"/>
                  <a:gd name="T27" fmla="*/ 2147483647 h 366"/>
                  <a:gd name="T28" fmla="*/ 2147483647 w 246"/>
                  <a:gd name="T29" fmla="*/ 2147483647 h 366"/>
                  <a:gd name="T30" fmla="*/ 2147483647 w 246"/>
                  <a:gd name="T31" fmla="*/ 2147483647 h 366"/>
                  <a:gd name="T32" fmla="*/ 2147483647 w 246"/>
                  <a:gd name="T33" fmla="*/ 2147483647 h 366"/>
                  <a:gd name="T34" fmla="*/ 2147483647 w 246"/>
                  <a:gd name="T35" fmla="*/ 2147483647 h 366"/>
                  <a:gd name="T36" fmla="*/ 2147483647 w 246"/>
                  <a:gd name="T37" fmla="*/ 2147483647 h 366"/>
                  <a:gd name="T38" fmla="*/ 2147483647 w 246"/>
                  <a:gd name="T39" fmla="*/ 2147483647 h 366"/>
                  <a:gd name="T40" fmla="*/ 2147483647 w 246"/>
                  <a:gd name="T41" fmla="*/ 2147483647 h 366"/>
                  <a:gd name="T42" fmla="*/ 2147483647 w 246"/>
                  <a:gd name="T43" fmla="*/ 2147483647 h 366"/>
                  <a:gd name="T44" fmla="*/ 2147483647 w 246"/>
                  <a:gd name="T45" fmla="*/ 2147483647 h 366"/>
                  <a:gd name="T46" fmla="*/ 2147483647 w 246"/>
                  <a:gd name="T47" fmla="*/ 2147483647 h 366"/>
                  <a:gd name="T48" fmla="*/ 2147483647 w 246"/>
                  <a:gd name="T49" fmla="*/ 2147483647 h 366"/>
                  <a:gd name="T50" fmla="*/ 2147483647 w 246"/>
                  <a:gd name="T51" fmla="*/ 2147483647 h 366"/>
                  <a:gd name="T52" fmla="*/ 2147483647 w 246"/>
                  <a:gd name="T53" fmla="*/ 2147483647 h 366"/>
                  <a:gd name="T54" fmla="*/ 2147483647 w 246"/>
                  <a:gd name="T55" fmla="*/ 2147483647 h 366"/>
                  <a:gd name="T56" fmla="*/ 2147483647 w 246"/>
                  <a:gd name="T57" fmla="*/ 2147483647 h 366"/>
                  <a:gd name="T58" fmla="*/ 2147483647 w 246"/>
                  <a:gd name="T59" fmla="*/ 0 h 366"/>
                  <a:gd name="T60" fmla="*/ 2147483647 w 246"/>
                  <a:gd name="T61" fmla="*/ 2147483647 h 366"/>
                  <a:gd name="T62" fmla="*/ 2147483647 w 246"/>
                  <a:gd name="T63" fmla="*/ 2147483647 h 366"/>
                  <a:gd name="T64" fmla="*/ 2147483647 w 246"/>
                  <a:gd name="T65" fmla="*/ 2147483647 h 366"/>
                  <a:gd name="T66" fmla="*/ 2147483647 w 246"/>
                  <a:gd name="T67" fmla="*/ 2147483647 h 366"/>
                  <a:gd name="T68" fmla="*/ 2147483647 w 246"/>
                  <a:gd name="T69" fmla="*/ 2147483647 h 366"/>
                  <a:gd name="T70" fmla="*/ 2147483647 w 246"/>
                  <a:gd name="T71" fmla="*/ 2147483647 h 366"/>
                  <a:gd name="T72" fmla="*/ 2147483647 w 246"/>
                  <a:gd name="T73" fmla="*/ 2147483647 h 366"/>
                  <a:gd name="T74" fmla="*/ 2147483647 w 246"/>
                  <a:gd name="T75" fmla="*/ 2147483647 h 366"/>
                  <a:gd name="T76" fmla="*/ 0 w 246"/>
                  <a:gd name="T77" fmla="*/ 2147483647 h 36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246"/>
                  <a:gd name="T118" fmla="*/ 0 h 366"/>
                  <a:gd name="T119" fmla="*/ 246 w 246"/>
                  <a:gd name="T120" fmla="*/ 366 h 36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246" h="366">
                    <a:moveTo>
                      <a:pt x="0" y="183"/>
                    </a:moveTo>
                    <a:lnTo>
                      <a:pt x="32" y="210"/>
                    </a:lnTo>
                    <a:lnTo>
                      <a:pt x="66" y="240"/>
                    </a:lnTo>
                    <a:lnTo>
                      <a:pt x="48" y="258"/>
                    </a:lnTo>
                    <a:lnTo>
                      <a:pt x="69" y="275"/>
                    </a:lnTo>
                    <a:lnTo>
                      <a:pt x="96" y="297"/>
                    </a:lnTo>
                    <a:lnTo>
                      <a:pt x="108" y="333"/>
                    </a:lnTo>
                    <a:lnTo>
                      <a:pt x="135" y="348"/>
                    </a:lnTo>
                    <a:lnTo>
                      <a:pt x="162" y="363"/>
                    </a:lnTo>
                    <a:lnTo>
                      <a:pt x="186" y="366"/>
                    </a:lnTo>
                    <a:lnTo>
                      <a:pt x="201" y="339"/>
                    </a:lnTo>
                    <a:lnTo>
                      <a:pt x="219" y="330"/>
                    </a:lnTo>
                    <a:lnTo>
                      <a:pt x="231" y="321"/>
                    </a:lnTo>
                    <a:lnTo>
                      <a:pt x="225" y="303"/>
                    </a:lnTo>
                    <a:lnTo>
                      <a:pt x="219" y="282"/>
                    </a:lnTo>
                    <a:lnTo>
                      <a:pt x="195" y="288"/>
                    </a:lnTo>
                    <a:lnTo>
                      <a:pt x="192" y="276"/>
                    </a:lnTo>
                    <a:lnTo>
                      <a:pt x="195" y="252"/>
                    </a:lnTo>
                    <a:lnTo>
                      <a:pt x="195" y="237"/>
                    </a:lnTo>
                    <a:lnTo>
                      <a:pt x="216" y="210"/>
                    </a:lnTo>
                    <a:lnTo>
                      <a:pt x="225" y="195"/>
                    </a:lnTo>
                    <a:lnTo>
                      <a:pt x="246" y="159"/>
                    </a:lnTo>
                    <a:lnTo>
                      <a:pt x="237" y="177"/>
                    </a:lnTo>
                    <a:lnTo>
                      <a:pt x="240" y="135"/>
                    </a:lnTo>
                    <a:lnTo>
                      <a:pt x="228" y="111"/>
                    </a:lnTo>
                    <a:lnTo>
                      <a:pt x="198" y="111"/>
                    </a:lnTo>
                    <a:lnTo>
                      <a:pt x="189" y="90"/>
                    </a:lnTo>
                    <a:lnTo>
                      <a:pt x="198" y="54"/>
                    </a:lnTo>
                    <a:lnTo>
                      <a:pt x="189" y="24"/>
                    </a:lnTo>
                    <a:lnTo>
                      <a:pt x="177" y="0"/>
                    </a:lnTo>
                    <a:lnTo>
                      <a:pt x="159" y="27"/>
                    </a:lnTo>
                    <a:lnTo>
                      <a:pt x="144" y="57"/>
                    </a:lnTo>
                    <a:lnTo>
                      <a:pt x="138" y="84"/>
                    </a:lnTo>
                    <a:lnTo>
                      <a:pt x="114" y="102"/>
                    </a:lnTo>
                    <a:lnTo>
                      <a:pt x="105" y="129"/>
                    </a:lnTo>
                    <a:lnTo>
                      <a:pt x="90" y="153"/>
                    </a:lnTo>
                    <a:lnTo>
                      <a:pt x="51" y="165"/>
                    </a:lnTo>
                    <a:lnTo>
                      <a:pt x="27" y="174"/>
                    </a:lnTo>
                    <a:lnTo>
                      <a:pt x="0" y="183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79" name="Freeform 35"/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273550" y="4156075"/>
                <a:ext cx="587375" cy="534988"/>
              </a:xfrm>
              <a:custGeom>
                <a:avLst/>
                <a:gdLst>
                  <a:gd name="T0" fmla="*/ 2147483647 w 360"/>
                  <a:gd name="T1" fmla="*/ 2147483647 h 339"/>
                  <a:gd name="T2" fmla="*/ 2147483647 w 360"/>
                  <a:gd name="T3" fmla="*/ 2147483647 h 339"/>
                  <a:gd name="T4" fmla="*/ 2147483647 w 360"/>
                  <a:gd name="T5" fmla="*/ 2147483647 h 339"/>
                  <a:gd name="T6" fmla="*/ 2147483647 w 360"/>
                  <a:gd name="T7" fmla="*/ 2147483647 h 339"/>
                  <a:gd name="T8" fmla="*/ 2147483647 w 360"/>
                  <a:gd name="T9" fmla="*/ 2147483647 h 339"/>
                  <a:gd name="T10" fmla="*/ 2147483647 w 360"/>
                  <a:gd name="T11" fmla="*/ 2147483647 h 339"/>
                  <a:gd name="T12" fmla="*/ 2147483647 w 360"/>
                  <a:gd name="T13" fmla="*/ 2147483647 h 339"/>
                  <a:gd name="T14" fmla="*/ 2147483647 w 360"/>
                  <a:gd name="T15" fmla="*/ 2147483647 h 339"/>
                  <a:gd name="T16" fmla="*/ 2147483647 w 360"/>
                  <a:gd name="T17" fmla="*/ 2147483647 h 339"/>
                  <a:gd name="T18" fmla="*/ 2147483647 w 360"/>
                  <a:gd name="T19" fmla="*/ 2147483647 h 339"/>
                  <a:gd name="T20" fmla="*/ 2147483647 w 360"/>
                  <a:gd name="T21" fmla="*/ 2147483647 h 339"/>
                  <a:gd name="T22" fmla="*/ 2147483647 w 360"/>
                  <a:gd name="T23" fmla="*/ 2147483647 h 339"/>
                  <a:gd name="T24" fmla="*/ 2147483647 w 360"/>
                  <a:gd name="T25" fmla="*/ 2147483647 h 339"/>
                  <a:gd name="T26" fmla="*/ 2147483647 w 360"/>
                  <a:gd name="T27" fmla="*/ 2147483647 h 339"/>
                  <a:gd name="T28" fmla="*/ 2147483647 w 360"/>
                  <a:gd name="T29" fmla="*/ 2147483647 h 339"/>
                  <a:gd name="T30" fmla="*/ 0 w 360"/>
                  <a:gd name="T31" fmla="*/ 2147483647 h 339"/>
                  <a:gd name="T32" fmla="*/ 2147483647 w 360"/>
                  <a:gd name="T33" fmla="*/ 2147483647 h 339"/>
                  <a:gd name="T34" fmla="*/ 2147483647 w 360"/>
                  <a:gd name="T35" fmla="*/ 2147483647 h 339"/>
                  <a:gd name="T36" fmla="*/ 2147483647 w 360"/>
                  <a:gd name="T37" fmla="*/ 2147483647 h 339"/>
                  <a:gd name="T38" fmla="*/ 2147483647 w 360"/>
                  <a:gd name="T39" fmla="*/ 2147483647 h 339"/>
                  <a:gd name="T40" fmla="*/ 2147483647 w 360"/>
                  <a:gd name="T41" fmla="*/ 2147483647 h 339"/>
                  <a:gd name="T42" fmla="*/ 2147483647 w 360"/>
                  <a:gd name="T43" fmla="*/ 2147483647 h 339"/>
                  <a:gd name="T44" fmla="*/ 2147483647 w 360"/>
                  <a:gd name="T45" fmla="*/ 2147483647 h 339"/>
                  <a:gd name="T46" fmla="*/ 2147483647 w 360"/>
                  <a:gd name="T47" fmla="*/ 2147483647 h 339"/>
                  <a:gd name="T48" fmla="*/ 2147483647 w 360"/>
                  <a:gd name="T49" fmla="*/ 2147483647 h 339"/>
                  <a:gd name="T50" fmla="*/ 2147483647 w 360"/>
                  <a:gd name="T51" fmla="*/ 2147483647 h 339"/>
                  <a:gd name="T52" fmla="*/ 2147483647 w 360"/>
                  <a:gd name="T53" fmla="*/ 2147483647 h 339"/>
                  <a:gd name="T54" fmla="*/ 2147483647 w 360"/>
                  <a:gd name="T55" fmla="*/ 2147483647 h 339"/>
                  <a:gd name="T56" fmla="*/ 2147483647 w 360"/>
                  <a:gd name="T57" fmla="*/ 2147483647 h 339"/>
                  <a:gd name="T58" fmla="*/ 2147483647 w 360"/>
                  <a:gd name="T59" fmla="*/ 2147483647 h 339"/>
                  <a:gd name="T60" fmla="*/ 2147483647 w 360"/>
                  <a:gd name="T61" fmla="*/ 2147483647 h 339"/>
                  <a:gd name="T62" fmla="*/ 2147483647 w 360"/>
                  <a:gd name="T63" fmla="*/ 2147483647 h 339"/>
                  <a:gd name="T64" fmla="*/ 2147483647 w 360"/>
                  <a:gd name="T65" fmla="*/ 2147483647 h 339"/>
                  <a:gd name="T66" fmla="*/ 2147483647 w 360"/>
                  <a:gd name="T67" fmla="*/ 2147483647 h 339"/>
                  <a:gd name="T68" fmla="*/ 2147483647 w 360"/>
                  <a:gd name="T69" fmla="*/ 2147483647 h 339"/>
                  <a:gd name="T70" fmla="*/ 2147483647 w 360"/>
                  <a:gd name="T71" fmla="*/ 2147483647 h 339"/>
                  <a:gd name="T72" fmla="*/ 2147483647 w 360"/>
                  <a:gd name="T73" fmla="*/ 2147483647 h 339"/>
                  <a:gd name="T74" fmla="*/ 2147483647 w 360"/>
                  <a:gd name="T75" fmla="*/ 2147483647 h 339"/>
                  <a:gd name="T76" fmla="*/ 2147483647 w 360"/>
                  <a:gd name="T77" fmla="*/ 2147483647 h 339"/>
                  <a:gd name="T78" fmla="*/ 2147483647 w 360"/>
                  <a:gd name="T79" fmla="*/ 2147483647 h 339"/>
                  <a:gd name="T80" fmla="*/ 2147483647 w 360"/>
                  <a:gd name="T81" fmla="*/ 2147483647 h 339"/>
                  <a:gd name="T82" fmla="*/ 2147483647 w 360"/>
                  <a:gd name="T83" fmla="*/ 2147483647 h 339"/>
                  <a:gd name="T84" fmla="*/ 2147483647 w 360"/>
                  <a:gd name="T85" fmla="*/ 2147483647 h 339"/>
                  <a:gd name="T86" fmla="*/ 2147483647 w 360"/>
                  <a:gd name="T87" fmla="*/ 2147483647 h 339"/>
                  <a:gd name="T88" fmla="*/ 2147483647 w 360"/>
                  <a:gd name="T89" fmla="*/ 0 h 339"/>
                  <a:gd name="T90" fmla="*/ 2147483647 w 360"/>
                  <a:gd name="T91" fmla="*/ 2147483647 h 339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60"/>
                  <a:gd name="T139" fmla="*/ 0 h 339"/>
                  <a:gd name="T140" fmla="*/ 360 w 360"/>
                  <a:gd name="T141" fmla="*/ 339 h 339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60" h="339">
                    <a:moveTo>
                      <a:pt x="210" y="9"/>
                    </a:moveTo>
                    <a:lnTo>
                      <a:pt x="210" y="45"/>
                    </a:lnTo>
                    <a:lnTo>
                      <a:pt x="180" y="72"/>
                    </a:lnTo>
                    <a:lnTo>
                      <a:pt x="180" y="99"/>
                    </a:lnTo>
                    <a:lnTo>
                      <a:pt x="153" y="111"/>
                    </a:lnTo>
                    <a:lnTo>
                      <a:pt x="150" y="156"/>
                    </a:lnTo>
                    <a:lnTo>
                      <a:pt x="132" y="180"/>
                    </a:lnTo>
                    <a:lnTo>
                      <a:pt x="99" y="201"/>
                    </a:lnTo>
                    <a:lnTo>
                      <a:pt x="60" y="210"/>
                    </a:lnTo>
                    <a:lnTo>
                      <a:pt x="39" y="216"/>
                    </a:lnTo>
                    <a:lnTo>
                      <a:pt x="30" y="216"/>
                    </a:lnTo>
                    <a:lnTo>
                      <a:pt x="15" y="225"/>
                    </a:lnTo>
                    <a:lnTo>
                      <a:pt x="12" y="237"/>
                    </a:lnTo>
                    <a:lnTo>
                      <a:pt x="18" y="255"/>
                    </a:lnTo>
                    <a:lnTo>
                      <a:pt x="9" y="267"/>
                    </a:lnTo>
                    <a:lnTo>
                      <a:pt x="0" y="285"/>
                    </a:lnTo>
                    <a:lnTo>
                      <a:pt x="18" y="297"/>
                    </a:lnTo>
                    <a:lnTo>
                      <a:pt x="51" y="330"/>
                    </a:lnTo>
                    <a:lnTo>
                      <a:pt x="68" y="327"/>
                    </a:lnTo>
                    <a:lnTo>
                      <a:pt x="93" y="327"/>
                    </a:lnTo>
                    <a:lnTo>
                      <a:pt x="120" y="297"/>
                    </a:lnTo>
                    <a:lnTo>
                      <a:pt x="147" y="300"/>
                    </a:lnTo>
                    <a:lnTo>
                      <a:pt x="141" y="264"/>
                    </a:lnTo>
                    <a:lnTo>
                      <a:pt x="171" y="261"/>
                    </a:lnTo>
                    <a:lnTo>
                      <a:pt x="192" y="282"/>
                    </a:lnTo>
                    <a:lnTo>
                      <a:pt x="222" y="276"/>
                    </a:lnTo>
                    <a:lnTo>
                      <a:pt x="228" y="309"/>
                    </a:lnTo>
                    <a:lnTo>
                      <a:pt x="255" y="324"/>
                    </a:lnTo>
                    <a:lnTo>
                      <a:pt x="267" y="339"/>
                    </a:lnTo>
                    <a:lnTo>
                      <a:pt x="300" y="327"/>
                    </a:lnTo>
                    <a:lnTo>
                      <a:pt x="303" y="264"/>
                    </a:lnTo>
                    <a:lnTo>
                      <a:pt x="270" y="249"/>
                    </a:lnTo>
                    <a:lnTo>
                      <a:pt x="252" y="222"/>
                    </a:lnTo>
                    <a:lnTo>
                      <a:pt x="234" y="180"/>
                    </a:lnTo>
                    <a:lnTo>
                      <a:pt x="252" y="153"/>
                    </a:lnTo>
                    <a:lnTo>
                      <a:pt x="291" y="150"/>
                    </a:lnTo>
                    <a:lnTo>
                      <a:pt x="300" y="129"/>
                    </a:lnTo>
                    <a:lnTo>
                      <a:pt x="339" y="117"/>
                    </a:lnTo>
                    <a:lnTo>
                      <a:pt x="360" y="93"/>
                    </a:lnTo>
                    <a:lnTo>
                      <a:pt x="357" y="57"/>
                    </a:lnTo>
                    <a:lnTo>
                      <a:pt x="351" y="21"/>
                    </a:lnTo>
                    <a:lnTo>
                      <a:pt x="312" y="24"/>
                    </a:lnTo>
                    <a:lnTo>
                      <a:pt x="264" y="33"/>
                    </a:lnTo>
                    <a:lnTo>
                      <a:pt x="264" y="12"/>
                    </a:lnTo>
                    <a:lnTo>
                      <a:pt x="243" y="0"/>
                    </a:lnTo>
                    <a:lnTo>
                      <a:pt x="210" y="9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</p:grpSp>
        <p:pic>
          <p:nvPicPr>
            <p:cNvPr id="92" name="Picture 91" descr="Chinese workers.JPG"/>
            <p:cNvPicPr>
              <a:picLocks noChangeAspect="1"/>
            </p:cNvPicPr>
            <p:nvPr/>
          </p:nvPicPr>
          <p:blipFill>
            <a:blip r:embed="rId36" cstate="screen"/>
            <a:stretch>
              <a:fillRect/>
            </a:stretch>
          </p:blipFill>
          <p:spPr bwMode="gray">
            <a:xfrm>
              <a:off x="466725" y="3599204"/>
              <a:ext cx="2917687" cy="2156640"/>
            </a:xfrm>
            <a:prstGeom prst="rect">
              <a:avLst/>
            </a:prstGeom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93" name="Picture 92" descr="Chinese workers 2.JPG"/>
            <p:cNvPicPr>
              <a:picLocks noChangeAspect="1"/>
            </p:cNvPicPr>
            <p:nvPr/>
          </p:nvPicPr>
          <p:blipFill>
            <a:blip r:embed="rId37" cstate="screen"/>
            <a:stretch>
              <a:fillRect/>
            </a:stretch>
          </p:blipFill>
          <p:spPr bwMode="gray">
            <a:xfrm>
              <a:off x="6799110" y="1314995"/>
              <a:ext cx="2668740" cy="1973005"/>
            </a:xfrm>
            <a:prstGeom prst="rect">
              <a:avLst/>
            </a:prstGeom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9" name="Object 98" hidden="1"/>
          <p:cNvGraphicFramePr>
            <a:graphicFrameLocks noChangeAspect="1"/>
          </p:cNvGraphicFramePr>
          <p:nvPr/>
        </p:nvGraphicFramePr>
        <p:xfrm>
          <a:off x="0" y="0"/>
          <a:ext cx="163763" cy="158750"/>
        </p:xfrm>
        <a:graphic>
          <a:graphicData uri="http://schemas.openxmlformats.org/presentationml/2006/ole">
            <p:oleObj spid="_x0000_s142338" name="think-cell Slide" r:id="rId90" imgW="360" imgH="360" progId="TCLayout.ActiveDocument.1">
              <p:embed/>
            </p:oleObj>
          </a:graphicData>
        </a:graphic>
      </p:graphicFrame>
      <p:grpSp>
        <p:nvGrpSpPr>
          <p:cNvPr id="95" name="Group 94"/>
          <p:cNvGrpSpPr/>
          <p:nvPr>
            <p:custDataLst>
              <p:tags r:id="rId2"/>
            </p:custDataLst>
          </p:nvPr>
        </p:nvGrpSpPr>
        <p:grpSpPr>
          <a:xfrm>
            <a:off x="477838" y="1530350"/>
            <a:ext cx="6523038" cy="5040315"/>
            <a:chOff x="642938" y="1073150"/>
            <a:chExt cx="6523038" cy="504031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96" name="Group 33"/>
            <p:cNvGrpSpPr/>
            <p:nvPr/>
          </p:nvGrpSpPr>
          <p:grpSpPr>
            <a:xfrm>
              <a:off x="642938" y="1073150"/>
              <a:ext cx="6523038" cy="5040315"/>
              <a:chOff x="642938" y="1073150"/>
              <a:chExt cx="6523038" cy="5040315"/>
            </a:xfrm>
          </p:grpSpPr>
          <p:sp>
            <p:nvSpPr>
              <p:cNvPr id="105" name="Freeform 4"/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5881689" y="1073150"/>
                <a:ext cx="1284287" cy="1176338"/>
              </a:xfrm>
              <a:custGeom>
                <a:avLst/>
                <a:gdLst>
                  <a:gd name="T0" fmla="*/ 2147483647 w 785"/>
                  <a:gd name="T1" fmla="*/ 2147483647 h 749"/>
                  <a:gd name="T2" fmla="*/ 2147483647 w 785"/>
                  <a:gd name="T3" fmla="*/ 2147483647 h 749"/>
                  <a:gd name="T4" fmla="*/ 2147483647 w 785"/>
                  <a:gd name="T5" fmla="*/ 2147483647 h 749"/>
                  <a:gd name="T6" fmla="*/ 2147483647 w 785"/>
                  <a:gd name="T7" fmla="*/ 0 h 749"/>
                  <a:gd name="T8" fmla="*/ 2147483647 w 785"/>
                  <a:gd name="T9" fmla="*/ 2147483647 h 749"/>
                  <a:gd name="T10" fmla="*/ 2147483647 w 785"/>
                  <a:gd name="T11" fmla="*/ 2147483647 h 749"/>
                  <a:gd name="T12" fmla="*/ 2147483647 w 785"/>
                  <a:gd name="T13" fmla="*/ 2147483647 h 749"/>
                  <a:gd name="T14" fmla="*/ 2147483647 w 785"/>
                  <a:gd name="T15" fmla="*/ 2147483647 h 749"/>
                  <a:gd name="T16" fmla="*/ 2147483647 w 785"/>
                  <a:gd name="T17" fmla="*/ 2147483647 h 749"/>
                  <a:gd name="T18" fmla="*/ 2147483647 w 785"/>
                  <a:gd name="T19" fmla="*/ 2147483647 h 749"/>
                  <a:gd name="T20" fmla="*/ 2147483647 w 785"/>
                  <a:gd name="T21" fmla="*/ 2147483647 h 749"/>
                  <a:gd name="T22" fmla="*/ 2147483647 w 785"/>
                  <a:gd name="T23" fmla="*/ 2147483647 h 749"/>
                  <a:gd name="T24" fmla="*/ 2147483647 w 785"/>
                  <a:gd name="T25" fmla="*/ 2147483647 h 749"/>
                  <a:gd name="T26" fmla="*/ 2147483647 w 785"/>
                  <a:gd name="T27" fmla="*/ 2147483647 h 749"/>
                  <a:gd name="T28" fmla="*/ 2147483647 w 785"/>
                  <a:gd name="T29" fmla="*/ 2147483647 h 749"/>
                  <a:gd name="T30" fmla="*/ 2147483647 w 785"/>
                  <a:gd name="T31" fmla="*/ 2147483647 h 749"/>
                  <a:gd name="T32" fmla="*/ 2147483647 w 785"/>
                  <a:gd name="T33" fmla="*/ 2147483647 h 749"/>
                  <a:gd name="T34" fmla="*/ 2147483647 w 785"/>
                  <a:gd name="T35" fmla="*/ 2147483647 h 749"/>
                  <a:gd name="T36" fmla="*/ 2147483647 w 785"/>
                  <a:gd name="T37" fmla="*/ 2147483647 h 749"/>
                  <a:gd name="T38" fmla="*/ 2147483647 w 785"/>
                  <a:gd name="T39" fmla="*/ 2147483647 h 749"/>
                  <a:gd name="T40" fmla="*/ 2147483647 w 785"/>
                  <a:gd name="T41" fmla="*/ 2147483647 h 749"/>
                  <a:gd name="T42" fmla="*/ 2147483647 w 785"/>
                  <a:gd name="T43" fmla="*/ 2147483647 h 749"/>
                  <a:gd name="T44" fmla="*/ 2147483647 w 785"/>
                  <a:gd name="T45" fmla="*/ 2147483647 h 749"/>
                  <a:gd name="T46" fmla="*/ 2147483647 w 785"/>
                  <a:gd name="T47" fmla="*/ 2147483647 h 749"/>
                  <a:gd name="T48" fmla="*/ 2147483647 w 785"/>
                  <a:gd name="T49" fmla="*/ 2147483647 h 749"/>
                  <a:gd name="T50" fmla="*/ 2147483647 w 785"/>
                  <a:gd name="T51" fmla="*/ 2147483647 h 749"/>
                  <a:gd name="T52" fmla="*/ 2147483647 w 785"/>
                  <a:gd name="T53" fmla="*/ 2147483647 h 749"/>
                  <a:gd name="T54" fmla="*/ 2147483647 w 785"/>
                  <a:gd name="T55" fmla="*/ 2147483647 h 749"/>
                  <a:gd name="T56" fmla="*/ 2147483647 w 785"/>
                  <a:gd name="T57" fmla="*/ 2147483647 h 749"/>
                  <a:gd name="T58" fmla="*/ 2147483647 w 785"/>
                  <a:gd name="T59" fmla="*/ 2147483647 h 749"/>
                  <a:gd name="T60" fmla="*/ 2147483647 w 785"/>
                  <a:gd name="T61" fmla="*/ 2147483647 h 749"/>
                  <a:gd name="T62" fmla="*/ 2147483647 w 785"/>
                  <a:gd name="T63" fmla="*/ 2147483647 h 749"/>
                  <a:gd name="T64" fmla="*/ 2147483647 w 785"/>
                  <a:gd name="T65" fmla="*/ 2147483647 h 749"/>
                  <a:gd name="T66" fmla="*/ 2147483647 w 785"/>
                  <a:gd name="T67" fmla="*/ 2147483647 h 749"/>
                  <a:gd name="T68" fmla="*/ 2147483647 w 785"/>
                  <a:gd name="T69" fmla="*/ 2147483647 h 749"/>
                  <a:gd name="T70" fmla="*/ 2147483647 w 785"/>
                  <a:gd name="T71" fmla="*/ 2147483647 h 749"/>
                  <a:gd name="T72" fmla="*/ 2147483647 w 785"/>
                  <a:gd name="T73" fmla="*/ 2147483647 h 749"/>
                  <a:gd name="T74" fmla="*/ 2147483647 w 785"/>
                  <a:gd name="T75" fmla="*/ 2147483647 h 749"/>
                  <a:gd name="T76" fmla="*/ 2147483647 w 785"/>
                  <a:gd name="T77" fmla="*/ 2147483647 h 749"/>
                  <a:gd name="T78" fmla="*/ 2147483647 w 785"/>
                  <a:gd name="T79" fmla="*/ 2147483647 h 749"/>
                  <a:gd name="T80" fmla="*/ 2147483647 w 785"/>
                  <a:gd name="T81" fmla="*/ 2147483647 h 749"/>
                  <a:gd name="T82" fmla="*/ 2147483647 w 785"/>
                  <a:gd name="T83" fmla="*/ 2147483647 h 749"/>
                  <a:gd name="T84" fmla="*/ 2147483647 w 785"/>
                  <a:gd name="T85" fmla="*/ 2147483647 h 749"/>
                  <a:gd name="T86" fmla="*/ 2147483647 w 785"/>
                  <a:gd name="T87" fmla="*/ 2147483647 h 749"/>
                  <a:gd name="T88" fmla="*/ 2147483647 w 785"/>
                  <a:gd name="T89" fmla="*/ 2147483647 h 749"/>
                  <a:gd name="T90" fmla="*/ 2147483647 w 785"/>
                  <a:gd name="T91" fmla="*/ 2147483647 h 749"/>
                  <a:gd name="T92" fmla="*/ 2147483647 w 785"/>
                  <a:gd name="T93" fmla="*/ 2147483647 h 749"/>
                  <a:gd name="T94" fmla="*/ 2147483647 w 785"/>
                  <a:gd name="T95" fmla="*/ 2147483647 h 749"/>
                  <a:gd name="T96" fmla="*/ 2147483647 w 785"/>
                  <a:gd name="T97" fmla="*/ 2147483647 h 749"/>
                  <a:gd name="T98" fmla="*/ 2147483647 w 785"/>
                  <a:gd name="T99" fmla="*/ 2147483647 h 749"/>
                  <a:gd name="T100" fmla="*/ 2147483647 w 785"/>
                  <a:gd name="T101" fmla="*/ 2147483647 h 749"/>
                  <a:gd name="T102" fmla="*/ 2147483647 w 785"/>
                  <a:gd name="T103" fmla="*/ 2147483647 h 749"/>
                  <a:gd name="T104" fmla="*/ 2147483647 w 785"/>
                  <a:gd name="T105" fmla="*/ 2147483647 h 749"/>
                  <a:gd name="T106" fmla="*/ 2147483647 w 785"/>
                  <a:gd name="T107" fmla="*/ 2147483647 h 749"/>
                  <a:gd name="T108" fmla="*/ 2147483647 w 785"/>
                  <a:gd name="T109" fmla="*/ 2147483647 h 749"/>
                  <a:gd name="T110" fmla="*/ 2147483647 w 785"/>
                  <a:gd name="T111" fmla="*/ 2147483647 h 749"/>
                  <a:gd name="T112" fmla="*/ 0 w 785"/>
                  <a:gd name="T113" fmla="*/ 2147483647 h 74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85"/>
                  <a:gd name="T172" fmla="*/ 0 h 749"/>
                  <a:gd name="T173" fmla="*/ 785 w 785"/>
                  <a:gd name="T174" fmla="*/ 749 h 74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85" h="749">
                    <a:moveTo>
                      <a:pt x="0" y="74"/>
                    </a:moveTo>
                    <a:lnTo>
                      <a:pt x="34" y="42"/>
                    </a:lnTo>
                    <a:lnTo>
                      <a:pt x="54" y="24"/>
                    </a:lnTo>
                    <a:lnTo>
                      <a:pt x="80" y="22"/>
                    </a:lnTo>
                    <a:lnTo>
                      <a:pt x="88" y="32"/>
                    </a:lnTo>
                    <a:lnTo>
                      <a:pt x="136" y="36"/>
                    </a:lnTo>
                    <a:lnTo>
                      <a:pt x="152" y="4"/>
                    </a:lnTo>
                    <a:lnTo>
                      <a:pt x="168" y="0"/>
                    </a:lnTo>
                    <a:lnTo>
                      <a:pt x="174" y="20"/>
                    </a:lnTo>
                    <a:lnTo>
                      <a:pt x="190" y="52"/>
                    </a:lnTo>
                    <a:lnTo>
                      <a:pt x="190" y="62"/>
                    </a:lnTo>
                    <a:lnTo>
                      <a:pt x="226" y="94"/>
                    </a:lnTo>
                    <a:lnTo>
                      <a:pt x="246" y="116"/>
                    </a:lnTo>
                    <a:lnTo>
                      <a:pt x="260" y="146"/>
                    </a:lnTo>
                    <a:lnTo>
                      <a:pt x="270" y="164"/>
                    </a:lnTo>
                    <a:lnTo>
                      <a:pt x="276" y="192"/>
                    </a:lnTo>
                    <a:lnTo>
                      <a:pt x="318" y="224"/>
                    </a:lnTo>
                    <a:lnTo>
                      <a:pt x="344" y="242"/>
                    </a:lnTo>
                    <a:lnTo>
                      <a:pt x="392" y="234"/>
                    </a:lnTo>
                    <a:lnTo>
                      <a:pt x="428" y="232"/>
                    </a:lnTo>
                    <a:lnTo>
                      <a:pt x="436" y="244"/>
                    </a:lnTo>
                    <a:lnTo>
                      <a:pt x="474" y="244"/>
                    </a:lnTo>
                    <a:lnTo>
                      <a:pt x="486" y="264"/>
                    </a:lnTo>
                    <a:lnTo>
                      <a:pt x="490" y="282"/>
                    </a:lnTo>
                    <a:lnTo>
                      <a:pt x="516" y="296"/>
                    </a:lnTo>
                    <a:lnTo>
                      <a:pt x="544" y="310"/>
                    </a:lnTo>
                    <a:lnTo>
                      <a:pt x="560" y="336"/>
                    </a:lnTo>
                    <a:lnTo>
                      <a:pt x="570" y="356"/>
                    </a:lnTo>
                    <a:lnTo>
                      <a:pt x="602" y="350"/>
                    </a:lnTo>
                    <a:lnTo>
                      <a:pt x="634" y="340"/>
                    </a:lnTo>
                    <a:lnTo>
                      <a:pt x="650" y="320"/>
                    </a:lnTo>
                    <a:lnTo>
                      <a:pt x="656" y="304"/>
                    </a:lnTo>
                    <a:lnTo>
                      <a:pt x="664" y="296"/>
                    </a:lnTo>
                    <a:lnTo>
                      <a:pt x="682" y="290"/>
                    </a:lnTo>
                    <a:lnTo>
                      <a:pt x="700" y="276"/>
                    </a:lnTo>
                    <a:lnTo>
                      <a:pt x="724" y="246"/>
                    </a:lnTo>
                    <a:lnTo>
                      <a:pt x="754" y="238"/>
                    </a:lnTo>
                    <a:lnTo>
                      <a:pt x="766" y="256"/>
                    </a:lnTo>
                    <a:lnTo>
                      <a:pt x="770" y="284"/>
                    </a:lnTo>
                    <a:lnTo>
                      <a:pt x="768" y="324"/>
                    </a:lnTo>
                    <a:lnTo>
                      <a:pt x="772" y="348"/>
                    </a:lnTo>
                    <a:lnTo>
                      <a:pt x="780" y="362"/>
                    </a:lnTo>
                    <a:lnTo>
                      <a:pt x="778" y="416"/>
                    </a:lnTo>
                    <a:lnTo>
                      <a:pt x="784" y="436"/>
                    </a:lnTo>
                    <a:lnTo>
                      <a:pt x="770" y="460"/>
                    </a:lnTo>
                    <a:lnTo>
                      <a:pt x="774" y="492"/>
                    </a:lnTo>
                    <a:lnTo>
                      <a:pt x="772" y="532"/>
                    </a:lnTo>
                    <a:lnTo>
                      <a:pt x="752" y="554"/>
                    </a:lnTo>
                    <a:lnTo>
                      <a:pt x="710" y="558"/>
                    </a:lnTo>
                    <a:lnTo>
                      <a:pt x="678" y="564"/>
                    </a:lnTo>
                    <a:lnTo>
                      <a:pt x="662" y="582"/>
                    </a:lnTo>
                    <a:lnTo>
                      <a:pt x="652" y="598"/>
                    </a:lnTo>
                    <a:lnTo>
                      <a:pt x="672" y="620"/>
                    </a:lnTo>
                    <a:lnTo>
                      <a:pt x="680" y="648"/>
                    </a:lnTo>
                    <a:lnTo>
                      <a:pt x="680" y="674"/>
                    </a:lnTo>
                    <a:lnTo>
                      <a:pt x="694" y="696"/>
                    </a:lnTo>
                    <a:lnTo>
                      <a:pt x="696" y="744"/>
                    </a:lnTo>
                    <a:lnTo>
                      <a:pt x="680" y="736"/>
                    </a:lnTo>
                    <a:lnTo>
                      <a:pt x="650" y="722"/>
                    </a:lnTo>
                    <a:lnTo>
                      <a:pt x="636" y="700"/>
                    </a:lnTo>
                    <a:lnTo>
                      <a:pt x="614" y="704"/>
                    </a:lnTo>
                    <a:lnTo>
                      <a:pt x="604" y="730"/>
                    </a:lnTo>
                    <a:lnTo>
                      <a:pt x="578" y="732"/>
                    </a:lnTo>
                    <a:lnTo>
                      <a:pt x="566" y="744"/>
                    </a:lnTo>
                    <a:lnTo>
                      <a:pt x="536" y="748"/>
                    </a:lnTo>
                    <a:lnTo>
                      <a:pt x="508" y="716"/>
                    </a:lnTo>
                    <a:lnTo>
                      <a:pt x="506" y="686"/>
                    </a:lnTo>
                    <a:lnTo>
                      <a:pt x="478" y="702"/>
                    </a:lnTo>
                    <a:lnTo>
                      <a:pt x="448" y="712"/>
                    </a:lnTo>
                    <a:lnTo>
                      <a:pt x="438" y="688"/>
                    </a:lnTo>
                    <a:lnTo>
                      <a:pt x="408" y="686"/>
                    </a:lnTo>
                    <a:lnTo>
                      <a:pt x="390" y="652"/>
                    </a:lnTo>
                    <a:lnTo>
                      <a:pt x="364" y="646"/>
                    </a:lnTo>
                    <a:lnTo>
                      <a:pt x="342" y="650"/>
                    </a:lnTo>
                    <a:lnTo>
                      <a:pt x="320" y="648"/>
                    </a:lnTo>
                    <a:lnTo>
                      <a:pt x="306" y="634"/>
                    </a:lnTo>
                    <a:lnTo>
                      <a:pt x="280" y="636"/>
                    </a:lnTo>
                    <a:lnTo>
                      <a:pt x="276" y="648"/>
                    </a:lnTo>
                    <a:lnTo>
                      <a:pt x="226" y="650"/>
                    </a:lnTo>
                    <a:lnTo>
                      <a:pt x="208" y="634"/>
                    </a:lnTo>
                    <a:lnTo>
                      <a:pt x="172" y="606"/>
                    </a:lnTo>
                    <a:lnTo>
                      <a:pt x="132" y="592"/>
                    </a:lnTo>
                    <a:lnTo>
                      <a:pt x="130" y="552"/>
                    </a:lnTo>
                    <a:lnTo>
                      <a:pt x="100" y="540"/>
                    </a:lnTo>
                    <a:lnTo>
                      <a:pt x="74" y="514"/>
                    </a:lnTo>
                    <a:lnTo>
                      <a:pt x="78" y="492"/>
                    </a:lnTo>
                    <a:lnTo>
                      <a:pt x="84" y="466"/>
                    </a:lnTo>
                    <a:lnTo>
                      <a:pt x="102" y="450"/>
                    </a:lnTo>
                    <a:lnTo>
                      <a:pt x="116" y="446"/>
                    </a:lnTo>
                    <a:lnTo>
                      <a:pt x="126" y="426"/>
                    </a:lnTo>
                    <a:lnTo>
                      <a:pt x="128" y="406"/>
                    </a:lnTo>
                    <a:lnTo>
                      <a:pt x="160" y="402"/>
                    </a:lnTo>
                    <a:lnTo>
                      <a:pt x="170" y="406"/>
                    </a:lnTo>
                    <a:lnTo>
                      <a:pt x="166" y="350"/>
                    </a:lnTo>
                    <a:lnTo>
                      <a:pt x="180" y="344"/>
                    </a:lnTo>
                    <a:lnTo>
                      <a:pt x="184" y="284"/>
                    </a:lnTo>
                    <a:lnTo>
                      <a:pt x="192" y="276"/>
                    </a:lnTo>
                    <a:lnTo>
                      <a:pt x="180" y="268"/>
                    </a:lnTo>
                    <a:lnTo>
                      <a:pt x="170" y="240"/>
                    </a:lnTo>
                    <a:lnTo>
                      <a:pt x="172" y="216"/>
                    </a:lnTo>
                    <a:lnTo>
                      <a:pt x="182" y="192"/>
                    </a:lnTo>
                    <a:lnTo>
                      <a:pt x="188" y="176"/>
                    </a:lnTo>
                    <a:lnTo>
                      <a:pt x="182" y="134"/>
                    </a:lnTo>
                    <a:lnTo>
                      <a:pt x="158" y="116"/>
                    </a:lnTo>
                    <a:lnTo>
                      <a:pt x="140" y="108"/>
                    </a:lnTo>
                    <a:lnTo>
                      <a:pt x="124" y="118"/>
                    </a:lnTo>
                    <a:lnTo>
                      <a:pt x="98" y="124"/>
                    </a:lnTo>
                    <a:lnTo>
                      <a:pt x="88" y="130"/>
                    </a:lnTo>
                    <a:lnTo>
                      <a:pt x="62" y="134"/>
                    </a:lnTo>
                    <a:lnTo>
                      <a:pt x="58" y="148"/>
                    </a:lnTo>
                    <a:lnTo>
                      <a:pt x="28" y="140"/>
                    </a:lnTo>
                    <a:lnTo>
                      <a:pt x="10" y="122"/>
                    </a:lnTo>
                    <a:lnTo>
                      <a:pt x="2" y="104"/>
                    </a:lnTo>
                    <a:lnTo>
                      <a:pt x="0" y="74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106" name="Freeform 5"/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5959476" y="1995490"/>
                <a:ext cx="1063625" cy="693737"/>
              </a:xfrm>
              <a:custGeom>
                <a:avLst/>
                <a:gdLst>
                  <a:gd name="T0" fmla="*/ 2147483647 w 649"/>
                  <a:gd name="T1" fmla="*/ 2147483647 h 439"/>
                  <a:gd name="T2" fmla="*/ 2147483647 w 649"/>
                  <a:gd name="T3" fmla="*/ 2147483647 h 439"/>
                  <a:gd name="T4" fmla="*/ 2147483647 w 649"/>
                  <a:gd name="T5" fmla="*/ 2147483647 h 439"/>
                  <a:gd name="T6" fmla="*/ 2147483647 w 649"/>
                  <a:gd name="T7" fmla="*/ 2147483647 h 439"/>
                  <a:gd name="T8" fmla="*/ 2147483647 w 649"/>
                  <a:gd name="T9" fmla="*/ 2147483647 h 439"/>
                  <a:gd name="T10" fmla="*/ 2147483647 w 649"/>
                  <a:gd name="T11" fmla="*/ 2147483647 h 439"/>
                  <a:gd name="T12" fmla="*/ 2147483647 w 649"/>
                  <a:gd name="T13" fmla="*/ 2147483647 h 439"/>
                  <a:gd name="T14" fmla="*/ 2147483647 w 649"/>
                  <a:gd name="T15" fmla="*/ 2147483647 h 439"/>
                  <a:gd name="T16" fmla="*/ 2147483647 w 649"/>
                  <a:gd name="T17" fmla="*/ 2147483647 h 439"/>
                  <a:gd name="T18" fmla="*/ 2147483647 w 649"/>
                  <a:gd name="T19" fmla="*/ 2147483647 h 439"/>
                  <a:gd name="T20" fmla="*/ 2147483647 w 649"/>
                  <a:gd name="T21" fmla="*/ 2147483647 h 439"/>
                  <a:gd name="T22" fmla="*/ 2147483647 w 649"/>
                  <a:gd name="T23" fmla="*/ 0 h 439"/>
                  <a:gd name="T24" fmla="*/ 2147483647 w 649"/>
                  <a:gd name="T25" fmla="*/ 2147483647 h 439"/>
                  <a:gd name="T26" fmla="*/ 0 w 649"/>
                  <a:gd name="T27" fmla="*/ 2147483647 h 439"/>
                  <a:gd name="T28" fmla="*/ 2147483647 w 649"/>
                  <a:gd name="T29" fmla="*/ 2147483647 h 439"/>
                  <a:gd name="T30" fmla="*/ 2147483647 w 649"/>
                  <a:gd name="T31" fmla="*/ 2147483647 h 439"/>
                  <a:gd name="T32" fmla="*/ 2147483647 w 649"/>
                  <a:gd name="T33" fmla="*/ 2147483647 h 439"/>
                  <a:gd name="T34" fmla="*/ 2147483647 w 649"/>
                  <a:gd name="T35" fmla="*/ 2147483647 h 439"/>
                  <a:gd name="T36" fmla="*/ 2147483647 w 649"/>
                  <a:gd name="T37" fmla="*/ 2147483647 h 439"/>
                  <a:gd name="T38" fmla="*/ 2147483647 w 649"/>
                  <a:gd name="T39" fmla="*/ 2147483647 h 439"/>
                  <a:gd name="T40" fmla="*/ 2147483647 w 649"/>
                  <a:gd name="T41" fmla="*/ 2147483647 h 439"/>
                  <a:gd name="T42" fmla="*/ 2147483647 w 649"/>
                  <a:gd name="T43" fmla="*/ 2147483647 h 439"/>
                  <a:gd name="T44" fmla="*/ 2147483647 w 649"/>
                  <a:gd name="T45" fmla="*/ 2147483647 h 439"/>
                  <a:gd name="T46" fmla="*/ 2147483647 w 649"/>
                  <a:gd name="T47" fmla="*/ 2147483647 h 439"/>
                  <a:gd name="T48" fmla="*/ 2147483647 w 649"/>
                  <a:gd name="T49" fmla="*/ 2147483647 h 439"/>
                  <a:gd name="T50" fmla="*/ 2147483647 w 649"/>
                  <a:gd name="T51" fmla="*/ 2147483647 h 439"/>
                  <a:gd name="T52" fmla="*/ 2147483647 w 649"/>
                  <a:gd name="T53" fmla="*/ 2147483647 h 439"/>
                  <a:gd name="T54" fmla="*/ 2147483647 w 649"/>
                  <a:gd name="T55" fmla="*/ 2147483647 h 439"/>
                  <a:gd name="T56" fmla="*/ 2147483647 w 649"/>
                  <a:gd name="T57" fmla="*/ 2147483647 h 439"/>
                  <a:gd name="T58" fmla="*/ 2147483647 w 649"/>
                  <a:gd name="T59" fmla="*/ 2147483647 h 439"/>
                  <a:gd name="T60" fmla="*/ 2147483647 w 649"/>
                  <a:gd name="T61" fmla="*/ 2147483647 h 439"/>
                  <a:gd name="T62" fmla="*/ 2147483647 w 649"/>
                  <a:gd name="T63" fmla="*/ 2147483647 h 439"/>
                  <a:gd name="T64" fmla="*/ 2147483647 w 649"/>
                  <a:gd name="T65" fmla="*/ 2147483647 h 439"/>
                  <a:gd name="T66" fmla="*/ 2147483647 w 649"/>
                  <a:gd name="T67" fmla="*/ 2147483647 h 439"/>
                  <a:gd name="T68" fmla="*/ 2147483647 w 649"/>
                  <a:gd name="T69" fmla="*/ 2147483647 h 439"/>
                  <a:gd name="T70" fmla="*/ 2147483647 w 649"/>
                  <a:gd name="T71" fmla="*/ 2147483647 h 439"/>
                  <a:gd name="T72" fmla="*/ 2147483647 w 649"/>
                  <a:gd name="T73" fmla="*/ 2147483647 h 439"/>
                  <a:gd name="T74" fmla="*/ 2147483647 w 649"/>
                  <a:gd name="T75" fmla="*/ 2147483647 h 439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649"/>
                  <a:gd name="T115" fmla="*/ 0 h 439"/>
                  <a:gd name="T116" fmla="*/ 649 w 649"/>
                  <a:gd name="T117" fmla="*/ 439 h 439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649" h="439">
                    <a:moveTo>
                      <a:pt x="640" y="148"/>
                    </a:moveTo>
                    <a:lnTo>
                      <a:pt x="604" y="132"/>
                    </a:lnTo>
                    <a:lnTo>
                      <a:pt x="590" y="108"/>
                    </a:lnTo>
                    <a:lnTo>
                      <a:pt x="560" y="112"/>
                    </a:lnTo>
                    <a:lnTo>
                      <a:pt x="550" y="142"/>
                    </a:lnTo>
                    <a:lnTo>
                      <a:pt x="532" y="140"/>
                    </a:lnTo>
                    <a:lnTo>
                      <a:pt x="508" y="158"/>
                    </a:lnTo>
                    <a:lnTo>
                      <a:pt x="482" y="152"/>
                    </a:lnTo>
                    <a:lnTo>
                      <a:pt x="464" y="128"/>
                    </a:lnTo>
                    <a:lnTo>
                      <a:pt x="460" y="96"/>
                    </a:lnTo>
                    <a:lnTo>
                      <a:pt x="452" y="94"/>
                    </a:lnTo>
                    <a:lnTo>
                      <a:pt x="400" y="120"/>
                    </a:lnTo>
                    <a:lnTo>
                      <a:pt x="396" y="100"/>
                    </a:lnTo>
                    <a:lnTo>
                      <a:pt x="364" y="98"/>
                    </a:lnTo>
                    <a:lnTo>
                      <a:pt x="346" y="64"/>
                    </a:lnTo>
                    <a:lnTo>
                      <a:pt x="314" y="52"/>
                    </a:lnTo>
                    <a:lnTo>
                      <a:pt x="282" y="58"/>
                    </a:lnTo>
                    <a:lnTo>
                      <a:pt x="254" y="42"/>
                    </a:lnTo>
                    <a:lnTo>
                      <a:pt x="232" y="44"/>
                    </a:lnTo>
                    <a:lnTo>
                      <a:pt x="222" y="56"/>
                    </a:lnTo>
                    <a:lnTo>
                      <a:pt x="182" y="60"/>
                    </a:lnTo>
                    <a:lnTo>
                      <a:pt x="148" y="32"/>
                    </a:lnTo>
                    <a:lnTo>
                      <a:pt x="124" y="12"/>
                    </a:lnTo>
                    <a:lnTo>
                      <a:pt x="84" y="0"/>
                    </a:lnTo>
                    <a:lnTo>
                      <a:pt x="74" y="32"/>
                    </a:lnTo>
                    <a:lnTo>
                      <a:pt x="52" y="48"/>
                    </a:lnTo>
                    <a:lnTo>
                      <a:pt x="8" y="52"/>
                    </a:lnTo>
                    <a:lnTo>
                      <a:pt x="0" y="64"/>
                    </a:lnTo>
                    <a:lnTo>
                      <a:pt x="32" y="98"/>
                    </a:lnTo>
                    <a:lnTo>
                      <a:pt x="36" y="118"/>
                    </a:lnTo>
                    <a:lnTo>
                      <a:pt x="32" y="150"/>
                    </a:lnTo>
                    <a:lnTo>
                      <a:pt x="48" y="174"/>
                    </a:lnTo>
                    <a:lnTo>
                      <a:pt x="54" y="188"/>
                    </a:lnTo>
                    <a:lnTo>
                      <a:pt x="72" y="188"/>
                    </a:lnTo>
                    <a:lnTo>
                      <a:pt x="88" y="174"/>
                    </a:lnTo>
                    <a:lnTo>
                      <a:pt x="112" y="170"/>
                    </a:lnTo>
                    <a:lnTo>
                      <a:pt x="120" y="192"/>
                    </a:lnTo>
                    <a:lnTo>
                      <a:pt x="134" y="214"/>
                    </a:lnTo>
                    <a:lnTo>
                      <a:pt x="142" y="234"/>
                    </a:lnTo>
                    <a:lnTo>
                      <a:pt x="152" y="250"/>
                    </a:lnTo>
                    <a:lnTo>
                      <a:pt x="158" y="262"/>
                    </a:lnTo>
                    <a:lnTo>
                      <a:pt x="202" y="258"/>
                    </a:lnTo>
                    <a:lnTo>
                      <a:pt x="216" y="270"/>
                    </a:lnTo>
                    <a:lnTo>
                      <a:pt x="228" y="284"/>
                    </a:lnTo>
                    <a:lnTo>
                      <a:pt x="238" y="280"/>
                    </a:lnTo>
                    <a:lnTo>
                      <a:pt x="250" y="256"/>
                    </a:lnTo>
                    <a:lnTo>
                      <a:pt x="266" y="288"/>
                    </a:lnTo>
                    <a:lnTo>
                      <a:pt x="270" y="310"/>
                    </a:lnTo>
                    <a:lnTo>
                      <a:pt x="296" y="332"/>
                    </a:lnTo>
                    <a:lnTo>
                      <a:pt x="310" y="344"/>
                    </a:lnTo>
                    <a:lnTo>
                      <a:pt x="308" y="392"/>
                    </a:lnTo>
                    <a:lnTo>
                      <a:pt x="344" y="414"/>
                    </a:lnTo>
                    <a:lnTo>
                      <a:pt x="360" y="438"/>
                    </a:lnTo>
                    <a:lnTo>
                      <a:pt x="378" y="416"/>
                    </a:lnTo>
                    <a:lnTo>
                      <a:pt x="390" y="394"/>
                    </a:lnTo>
                    <a:lnTo>
                      <a:pt x="388" y="378"/>
                    </a:lnTo>
                    <a:lnTo>
                      <a:pt x="406" y="358"/>
                    </a:lnTo>
                    <a:lnTo>
                      <a:pt x="448" y="352"/>
                    </a:lnTo>
                    <a:lnTo>
                      <a:pt x="456" y="370"/>
                    </a:lnTo>
                    <a:lnTo>
                      <a:pt x="492" y="368"/>
                    </a:lnTo>
                    <a:lnTo>
                      <a:pt x="502" y="352"/>
                    </a:lnTo>
                    <a:lnTo>
                      <a:pt x="500" y="300"/>
                    </a:lnTo>
                    <a:lnTo>
                      <a:pt x="522" y="292"/>
                    </a:lnTo>
                    <a:lnTo>
                      <a:pt x="550" y="276"/>
                    </a:lnTo>
                    <a:lnTo>
                      <a:pt x="552" y="248"/>
                    </a:lnTo>
                    <a:lnTo>
                      <a:pt x="572" y="234"/>
                    </a:lnTo>
                    <a:lnTo>
                      <a:pt x="572" y="206"/>
                    </a:lnTo>
                    <a:lnTo>
                      <a:pt x="598" y="204"/>
                    </a:lnTo>
                    <a:lnTo>
                      <a:pt x="608" y="222"/>
                    </a:lnTo>
                    <a:lnTo>
                      <a:pt x="626" y="232"/>
                    </a:lnTo>
                    <a:lnTo>
                      <a:pt x="642" y="230"/>
                    </a:lnTo>
                    <a:lnTo>
                      <a:pt x="646" y="206"/>
                    </a:lnTo>
                    <a:lnTo>
                      <a:pt x="628" y="196"/>
                    </a:lnTo>
                    <a:lnTo>
                      <a:pt x="648" y="194"/>
                    </a:lnTo>
                    <a:lnTo>
                      <a:pt x="644" y="166"/>
                    </a:lnTo>
                    <a:lnTo>
                      <a:pt x="644" y="14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107" name="Freeform 15"/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4886326" y="3516315"/>
                <a:ext cx="738188" cy="693737"/>
              </a:xfrm>
              <a:custGeom>
                <a:avLst/>
                <a:gdLst>
                  <a:gd name="T0" fmla="*/ 2147483647 w 451"/>
                  <a:gd name="T1" fmla="*/ 2147483647 h 441"/>
                  <a:gd name="T2" fmla="*/ 2147483647 w 451"/>
                  <a:gd name="T3" fmla="*/ 2147483647 h 441"/>
                  <a:gd name="T4" fmla="*/ 2147483647 w 451"/>
                  <a:gd name="T5" fmla="*/ 2147483647 h 441"/>
                  <a:gd name="T6" fmla="*/ 2147483647 w 451"/>
                  <a:gd name="T7" fmla="*/ 2147483647 h 441"/>
                  <a:gd name="T8" fmla="*/ 2147483647 w 451"/>
                  <a:gd name="T9" fmla="*/ 2147483647 h 441"/>
                  <a:gd name="T10" fmla="*/ 2147483647 w 451"/>
                  <a:gd name="T11" fmla="*/ 2147483647 h 441"/>
                  <a:gd name="T12" fmla="*/ 2147483647 w 451"/>
                  <a:gd name="T13" fmla="*/ 2147483647 h 441"/>
                  <a:gd name="T14" fmla="*/ 2147483647 w 451"/>
                  <a:gd name="T15" fmla="*/ 2147483647 h 441"/>
                  <a:gd name="T16" fmla="*/ 2147483647 w 451"/>
                  <a:gd name="T17" fmla="*/ 2147483647 h 441"/>
                  <a:gd name="T18" fmla="*/ 2147483647 w 451"/>
                  <a:gd name="T19" fmla="*/ 2147483647 h 441"/>
                  <a:gd name="T20" fmla="*/ 0 w 451"/>
                  <a:gd name="T21" fmla="*/ 2147483647 h 441"/>
                  <a:gd name="T22" fmla="*/ 2147483647 w 451"/>
                  <a:gd name="T23" fmla="*/ 2147483647 h 441"/>
                  <a:gd name="T24" fmla="*/ 2147483647 w 451"/>
                  <a:gd name="T25" fmla="*/ 2147483647 h 441"/>
                  <a:gd name="T26" fmla="*/ 2147483647 w 451"/>
                  <a:gd name="T27" fmla="*/ 2147483647 h 441"/>
                  <a:gd name="T28" fmla="*/ 2147483647 w 451"/>
                  <a:gd name="T29" fmla="*/ 2147483647 h 441"/>
                  <a:gd name="T30" fmla="*/ 2147483647 w 451"/>
                  <a:gd name="T31" fmla="*/ 2147483647 h 441"/>
                  <a:gd name="T32" fmla="*/ 2147483647 w 451"/>
                  <a:gd name="T33" fmla="*/ 2147483647 h 441"/>
                  <a:gd name="T34" fmla="*/ 2147483647 w 451"/>
                  <a:gd name="T35" fmla="*/ 2147483647 h 441"/>
                  <a:gd name="T36" fmla="*/ 2147483647 w 451"/>
                  <a:gd name="T37" fmla="*/ 2147483647 h 441"/>
                  <a:gd name="T38" fmla="*/ 2147483647 w 451"/>
                  <a:gd name="T39" fmla="*/ 2147483647 h 441"/>
                  <a:gd name="T40" fmla="*/ 2147483647 w 451"/>
                  <a:gd name="T41" fmla="*/ 2147483647 h 441"/>
                  <a:gd name="T42" fmla="*/ 2147483647 w 451"/>
                  <a:gd name="T43" fmla="*/ 2147483647 h 441"/>
                  <a:gd name="T44" fmla="*/ 2147483647 w 451"/>
                  <a:gd name="T45" fmla="*/ 2147483647 h 441"/>
                  <a:gd name="T46" fmla="*/ 2147483647 w 451"/>
                  <a:gd name="T47" fmla="*/ 2147483647 h 441"/>
                  <a:gd name="T48" fmla="*/ 2147483647 w 451"/>
                  <a:gd name="T49" fmla="*/ 2147483647 h 441"/>
                  <a:gd name="T50" fmla="*/ 2147483647 w 451"/>
                  <a:gd name="T51" fmla="*/ 2147483647 h 441"/>
                  <a:gd name="T52" fmla="*/ 2147483647 w 451"/>
                  <a:gd name="T53" fmla="*/ 2147483647 h 441"/>
                  <a:gd name="T54" fmla="*/ 2147483647 w 451"/>
                  <a:gd name="T55" fmla="*/ 2147483647 h 441"/>
                  <a:gd name="T56" fmla="*/ 2147483647 w 451"/>
                  <a:gd name="T57" fmla="*/ 2147483647 h 441"/>
                  <a:gd name="T58" fmla="*/ 2147483647 w 451"/>
                  <a:gd name="T59" fmla="*/ 2147483647 h 441"/>
                  <a:gd name="T60" fmla="*/ 2147483647 w 451"/>
                  <a:gd name="T61" fmla="*/ 2147483647 h 441"/>
                  <a:gd name="T62" fmla="*/ 2147483647 w 451"/>
                  <a:gd name="T63" fmla="*/ 2147483647 h 441"/>
                  <a:gd name="T64" fmla="*/ 2147483647 w 451"/>
                  <a:gd name="T65" fmla="*/ 2147483647 h 441"/>
                  <a:gd name="T66" fmla="*/ 2147483647 w 451"/>
                  <a:gd name="T67" fmla="*/ 2147483647 h 441"/>
                  <a:gd name="T68" fmla="*/ 2147483647 w 451"/>
                  <a:gd name="T69" fmla="*/ 2147483647 h 441"/>
                  <a:gd name="T70" fmla="*/ 2147483647 w 451"/>
                  <a:gd name="T71" fmla="*/ 2147483647 h 441"/>
                  <a:gd name="T72" fmla="*/ 2147483647 w 451"/>
                  <a:gd name="T73" fmla="*/ 2147483647 h 441"/>
                  <a:gd name="T74" fmla="*/ 2147483647 w 451"/>
                  <a:gd name="T75" fmla="*/ 2147483647 h 441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451"/>
                  <a:gd name="T115" fmla="*/ 0 h 441"/>
                  <a:gd name="T116" fmla="*/ 451 w 451"/>
                  <a:gd name="T117" fmla="*/ 441 h 441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451" h="441">
                    <a:moveTo>
                      <a:pt x="336" y="4"/>
                    </a:moveTo>
                    <a:lnTo>
                      <a:pt x="294" y="8"/>
                    </a:lnTo>
                    <a:lnTo>
                      <a:pt x="282" y="20"/>
                    </a:lnTo>
                    <a:lnTo>
                      <a:pt x="268" y="6"/>
                    </a:lnTo>
                    <a:lnTo>
                      <a:pt x="250" y="0"/>
                    </a:lnTo>
                    <a:lnTo>
                      <a:pt x="240" y="12"/>
                    </a:lnTo>
                    <a:lnTo>
                      <a:pt x="216" y="4"/>
                    </a:lnTo>
                    <a:lnTo>
                      <a:pt x="218" y="32"/>
                    </a:lnTo>
                    <a:lnTo>
                      <a:pt x="226" y="50"/>
                    </a:lnTo>
                    <a:lnTo>
                      <a:pt x="224" y="66"/>
                    </a:lnTo>
                    <a:lnTo>
                      <a:pt x="210" y="72"/>
                    </a:lnTo>
                    <a:lnTo>
                      <a:pt x="208" y="90"/>
                    </a:lnTo>
                    <a:lnTo>
                      <a:pt x="192" y="102"/>
                    </a:lnTo>
                    <a:lnTo>
                      <a:pt x="174" y="110"/>
                    </a:lnTo>
                    <a:lnTo>
                      <a:pt x="166" y="134"/>
                    </a:lnTo>
                    <a:lnTo>
                      <a:pt x="126" y="128"/>
                    </a:lnTo>
                    <a:lnTo>
                      <a:pt x="122" y="144"/>
                    </a:lnTo>
                    <a:lnTo>
                      <a:pt x="80" y="140"/>
                    </a:lnTo>
                    <a:lnTo>
                      <a:pt x="54" y="168"/>
                    </a:lnTo>
                    <a:lnTo>
                      <a:pt x="28" y="180"/>
                    </a:lnTo>
                    <a:lnTo>
                      <a:pt x="2" y="186"/>
                    </a:lnTo>
                    <a:lnTo>
                      <a:pt x="0" y="220"/>
                    </a:lnTo>
                    <a:lnTo>
                      <a:pt x="12" y="238"/>
                    </a:lnTo>
                    <a:lnTo>
                      <a:pt x="26" y="240"/>
                    </a:lnTo>
                    <a:lnTo>
                      <a:pt x="28" y="284"/>
                    </a:lnTo>
                    <a:lnTo>
                      <a:pt x="40" y="282"/>
                    </a:lnTo>
                    <a:lnTo>
                      <a:pt x="44" y="320"/>
                    </a:lnTo>
                    <a:lnTo>
                      <a:pt x="58" y="332"/>
                    </a:lnTo>
                    <a:lnTo>
                      <a:pt x="86" y="328"/>
                    </a:lnTo>
                    <a:lnTo>
                      <a:pt x="90" y="338"/>
                    </a:lnTo>
                    <a:lnTo>
                      <a:pt x="114" y="358"/>
                    </a:lnTo>
                    <a:lnTo>
                      <a:pt x="140" y="368"/>
                    </a:lnTo>
                    <a:lnTo>
                      <a:pt x="144" y="382"/>
                    </a:lnTo>
                    <a:lnTo>
                      <a:pt x="192" y="378"/>
                    </a:lnTo>
                    <a:lnTo>
                      <a:pt x="196" y="368"/>
                    </a:lnTo>
                    <a:lnTo>
                      <a:pt x="236" y="366"/>
                    </a:lnTo>
                    <a:lnTo>
                      <a:pt x="252" y="382"/>
                    </a:lnTo>
                    <a:lnTo>
                      <a:pt x="260" y="416"/>
                    </a:lnTo>
                    <a:lnTo>
                      <a:pt x="284" y="418"/>
                    </a:lnTo>
                    <a:lnTo>
                      <a:pt x="292" y="404"/>
                    </a:lnTo>
                    <a:lnTo>
                      <a:pt x="310" y="406"/>
                    </a:lnTo>
                    <a:lnTo>
                      <a:pt x="328" y="424"/>
                    </a:lnTo>
                    <a:lnTo>
                      <a:pt x="328" y="436"/>
                    </a:lnTo>
                    <a:lnTo>
                      <a:pt x="366" y="440"/>
                    </a:lnTo>
                    <a:lnTo>
                      <a:pt x="390" y="430"/>
                    </a:lnTo>
                    <a:lnTo>
                      <a:pt x="416" y="432"/>
                    </a:lnTo>
                    <a:lnTo>
                      <a:pt x="416" y="414"/>
                    </a:lnTo>
                    <a:lnTo>
                      <a:pt x="426" y="410"/>
                    </a:lnTo>
                    <a:lnTo>
                      <a:pt x="432" y="384"/>
                    </a:lnTo>
                    <a:lnTo>
                      <a:pt x="434" y="362"/>
                    </a:lnTo>
                    <a:lnTo>
                      <a:pt x="426" y="336"/>
                    </a:lnTo>
                    <a:lnTo>
                      <a:pt x="386" y="334"/>
                    </a:lnTo>
                    <a:lnTo>
                      <a:pt x="366" y="320"/>
                    </a:lnTo>
                    <a:lnTo>
                      <a:pt x="362" y="274"/>
                    </a:lnTo>
                    <a:lnTo>
                      <a:pt x="378" y="268"/>
                    </a:lnTo>
                    <a:lnTo>
                      <a:pt x="386" y="212"/>
                    </a:lnTo>
                    <a:lnTo>
                      <a:pt x="422" y="206"/>
                    </a:lnTo>
                    <a:lnTo>
                      <a:pt x="442" y="208"/>
                    </a:lnTo>
                    <a:lnTo>
                      <a:pt x="448" y="208"/>
                    </a:lnTo>
                    <a:lnTo>
                      <a:pt x="450" y="184"/>
                    </a:lnTo>
                    <a:lnTo>
                      <a:pt x="434" y="180"/>
                    </a:lnTo>
                    <a:lnTo>
                      <a:pt x="428" y="164"/>
                    </a:lnTo>
                    <a:lnTo>
                      <a:pt x="426" y="140"/>
                    </a:lnTo>
                    <a:lnTo>
                      <a:pt x="404" y="140"/>
                    </a:lnTo>
                    <a:lnTo>
                      <a:pt x="394" y="148"/>
                    </a:lnTo>
                    <a:lnTo>
                      <a:pt x="376" y="144"/>
                    </a:lnTo>
                    <a:lnTo>
                      <a:pt x="356" y="146"/>
                    </a:lnTo>
                    <a:lnTo>
                      <a:pt x="344" y="126"/>
                    </a:lnTo>
                    <a:lnTo>
                      <a:pt x="342" y="98"/>
                    </a:lnTo>
                    <a:lnTo>
                      <a:pt x="348" y="56"/>
                    </a:lnTo>
                    <a:lnTo>
                      <a:pt x="380" y="56"/>
                    </a:lnTo>
                    <a:lnTo>
                      <a:pt x="388" y="54"/>
                    </a:lnTo>
                    <a:lnTo>
                      <a:pt x="392" y="34"/>
                    </a:lnTo>
                    <a:lnTo>
                      <a:pt x="372" y="30"/>
                    </a:lnTo>
                    <a:lnTo>
                      <a:pt x="354" y="26"/>
                    </a:lnTo>
                    <a:lnTo>
                      <a:pt x="336" y="4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108" name="Freeform 17"/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4316414" y="3128963"/>
                <a:ext cx="644525" cy="1077912"/>
              </a:xfrm>
              <a:custGeom>
                <a:avLst/>
                <a:gdLst>
                  <a:gd name="T0" fmla="*/ 2147483647 w 393"/>
                  <a:gd name="T1" fmla="*/ 0 h 685"/>
                  <a:gd name="T2" fmla="*/ 2147483647 w 393"/>
                  <a:gd name="T3" fmla="*/ 2147483647 h 685"/>
                  <a:gd name="T4" fmla="*/ 2147483647 w 393"/>
                  <a:gd name="T5" fmla="*/ 2147483647 h 685"/>
                  <a:gd name="T6" fmla="*/ 2147483647 w 393"/>
                  <a:gd name="T7" fmla="*/ 2147483647 h 685"/>
                  <a:gd name="T8" fmla="*/ 2147483647 w 393"/>
                  <a:gd name="T9" fmla="*/ 2147483647 h 685"/>
                  <a:gd name="T10" fmla="*/ 2147483647 w 393"/>
                  <a:gd name="T11" fmla="*/ 2147483647 h 685"/>
                  <a:gd name="T12" fmla="*/ 2147483647 w 393"/>
                  <a:gd name="T13" fmla="*/ 2147483647 h 685"/>
                  <a:gd name="T14" fmla="*/ 2147483647 w 393"/>
                  <a:gd name="T15" fmla="*/ 2147483647 h 685"/>
                  <a:gd name="T16" fmla="*/ 2147483647 w 393"/>
                  <a:gd name="T17" fmla="*/ 2147483647 h 685"/>
                  <a:gd name="T18" fmla="*/ 2147483647 w 393"/>
                  <a:gd name="T19" fmla="*/ 2147483647 h 685"/>
                  <a:gd name="T20" fmla="*/ 2147483647 w 393"/>
                  <a:gd name="T21" fmla="*/ 2147483647 h 685"/>
                  <a:gd name="T22" fmla="*/ 2147483647 w 393"/>
                  <a:gd name="T23" fmla="*/ 2147483647 h 685"/>
                  <a:gd name="T24" fmla="*/ 2147483647 w 393"/>
                  <a:gd name="T25" fmla="*/ 2147483647 h 685"/>
                  <a:gd name="T26" fmla="*/ 2147483647 w 393"/>
                  <a:gd name="T27" fmla="*/ 2147483647 h 685"/>
                  <a:gd name="T28" fmla="*/ 2147483647 w 393"/>
                  <a:gd name="T29" fmla="*/ 2147483647 h 685"/>
                  <a:gd name="T30" fmla="*/ 2147483647 w 393"/>
                  <a:gd name="T31" fmla="*/ 2147483647 h 685"/>
                  <a:gd name="T32" fmla="*/ 2147483647 w 393"/>
                  <a:gd name="T33" fmla="*/ 2147483647 h 685"/>
                  <a:gd name="T34" fmla="*/ 2147483647 w 393"/>
                  <a:gd name="T35" fmla="*/ 2147483647 h 685"/>
                  <a:gd name="T36" fmla="*/ 2147483647 w 393"/>
                  <a:gd name="T37" fmla="*/ 2147483647 h 685"/>
                  <a:gd name="T38" fmla="*/ 2147483647 w 393"/>
                  <a:gd name="T39" fmla="*/ 2147483647 h 685"/>
                  <a:gd name="T40" fmla="*/ 2147483647 w 393"/>
                  <a:gd name="T41" fmla="*/ 2147483647 h 685"/>
                  <a:gd name="T42" fmla="*/ 0 w 393"/>
                  <a:gd name="T43" fmla="*/ 2147483647 h 685"/>
                  <a:gd name="T44" fmla="*/ 2147483647 w 393"/>
                  <a:gd name="T45" fmla="*/ 2147483647 h 685"/>
                  <a:gd name="T46" fmla="*/ 2147483647 w 393"/>
                  <a:gd name="T47" fmla="*/ 2147483647 h 685"/>
                  <a:gd name="T48" fmla="*/ 2147483647 w 393"/>
                  <a:gd name="T49" fmla="*/ 2147483647 h 685"/>
                  <a:gd name="T50" fmla="*/ 2147483647 w 393"/>
                  <a:gd name="T51" fmla="*/ 2147483647 h 685"/>
                  <a:gd name="T52" fmla="*/ 2147483647 w 393"/>
                  <a:gd name="T53" fmla="*/ 2147483647 h 685"/>
                  <a:gd name="T54" fmla="*/ 2147483647 w 393"/>
                  <a:gd name="T55" fmla="*/ 2147483647 h 685"/>
                  <a:gd name="T56" fmla="*/ 2147483647 w 393"/>
                  <a:gd name="T57" fmla="*/ 2147483647 h 685"/>
                  <a:gd name="T58" fmla="*/ 2147483647 w 393"/>
                  <a:gd name="T59" fmla="*/ 2147483647 h 685"/>
                  <a:gd name="T60" fmla="*/ 2147483647 w 393"/>
                  <a:gd name="T61" fmla="*/ 2147483647 h 685"/>
                  <a:gd name="T62" fmla="*/ 2147483647 w 393"/>
                  <a:gd name="T63" fmla="*/ 2147483647 h 685"/>
                  <a:gd name="T64" fmla="*/ 2147483647 w 393"/>
                  <a:gd name="T65" fmla="*/ 2147483647 h 685"/>
                  <a:gd name="T66" fmla="*/ 2147483647 w 393"/>
                  <a:gd name="T67" fmla="*/ 2147483647 h 685"/>
                  <a:gd name="T68" fmla="*/ 2147483647 w 393"/>
                  <a:gd name="T69" fmla="*/ 2147483647 h 685"/>
                  <a:gd name="T70" fmla="*/ 2147483647 w 393"/>
                  <a:gd name="T71" fmla="*/ 2147483647 h 685"/>
                  <a:gd name="T72" fmla="*/ 2147483647 w 393"/>
                  <a:gd name="T73" fmla="*/ 2147483647 h 685"/>
                  <a:gd name="T74" fmla="*/ 2147483647 w 393"/>
                  <a:gd name="T75" fmla="*/ 2147483647 h 685"/>
                  <a:gd name="T76" fmla="*/ 2147483647 w 393"/>
                  <a:gd name="T77" fmla="*/ 2147483647 h 685"/>
                  <a:gd name="T78" fmla="*/ 2147483647 w 393"/>
                  <a:gd name="T79" fmla="*/ 2147483647 h 685"/>
                  <a:gd name="T80" fmla="*/ 2147483647 w 393"/>
                  <a:gd name="T81" fmla="*/ 2147483647 h 685"/>
                  <a:gd name="T82" fmla="*/ 2147483647 w 393"/>
                  <a:gd name="T83" fmla="*/ 2147483647 h 685"/>
                  <a:gd name="T84" fmla="*/ 2147483647 w 393"/>
                  <a:gd name="T85" fmla="*/ 2147483647 h 685"/>
                  <a:gd name="T86" fmla="*/ 2147483647 w 393"/>
                  <a:gd name="T87" fmla="*/ 2147483647 h 685"/>
                  <a:gd name="T88" fmla="*/ 2147483647 w 393"/>
                  <a:gd name="T89" fmla="*/ 2147483647 h 685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393"/>
                  <a:gd name="T136" fmla="*/ 0 h 685"/>
                  <a:gd name="T137" fmla="*/ 393 w 393"/>
                  <a:gd name="T138" fmla="*/ 685 h 685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393" h="685">
                    <a:moveTo>
                      <a:pt x="356" y="8"/>
                    </a:moveTo>
                    <a:lnTo>
                      <a:pt x="322" y="0"/>
                    </a:lnTo>
                    <a:lnTo>
                      <a:pt x="290" y="8"/>
                    </a:lnTo>
                    <a:lnTo>
                      <a:pt x="276" y="32"/>
                    </a:lnTo>
                    <a:lnTo>
                      <a:pt x="256" y="40"/>
                    </a:lnTo>
                    <a:lnTo>
                      <a:pt x="248" y="52"/>
                    </a:lnTo>
                    <a:lnTo>
                      <a:pt x="242" y="72"/>
                    </a:lnTo>
                    <a:lnTo>
                      <a:pt x="232" y="80"/>
                    </a:lnTo>
                    <a:lnTo>
                      <a:pt x="232" y="110"/>
                    </a:lnTo>
                    <a:lnTo>
                      <a:pt x="214" y="126"/>
                    </a:lnTo>
                    <a:lnTo>
                      <a:pt x="210" y="162"/>
                    </a:lnTo>
                    <a:lnTo>
                      <a:pt x="190" y="162"/>
                    </a:lnTo>
                    <a:lnTo>
                      <a:pt x="184" y="170"/>
                    </a:lnTo>
                    <a:lnTo>
                      <a:pt x="160" y="160"/>
                    </a:lnTo>
                    <a:lnTo>
                      <a:pt x="148" y="144"/>
                    </a:lnTo>
                    <a:lnTo>
                      <a:pt x="122" y="146"/>
                    </a:lnTo>
                    <a:lnTo>
                      <a:pt x="104" y="176"/>
                    </a:lnTo>
                    <a:lnTo>
                      <a:pt x="98" y="198"/>
                    </a:lnTo>
                    <a:lnTo>
                      <a:pt x="86" y="202"/>
                    </a:lnTo>
                    <a:lnTo>
                      <a:pt x="88" y="230"/>
                    </a:lnTo>
                    <a:lnTo>
                      <a:pt x="104" y="236"/>
                    </a:lnTo>
                    <a:lnTo>
                      <a:pt x="112" y="252"/>
                    </a:lnTo>
                    <a:lnTo>
                      <a:pt x="122" y="260"/>
                    </a:lnTo>
                    <a:lnTo>
                      <a:pt x="156" y="258"/>
                    </a:lnTo>
                    <a:lnTo>
                      <a:pt x="176" y="272"/>
                    </a:lnTo>
                    <a:lnTo>
                      <a:pt x="192" y="284"/>
                    </a:lnTo>
                    <a:lnTo>
                      <a:pt x="198" y="308"/>
                    </a:lnTo>
                    <a:lnTo>
                      <a:pt x="190" y="318"/>
                    </a:lnTo>
                    <a:lnTo>
                      <a:pt x="190" y="366"/>
                    </a:lnTo>
                    <a:lnTo>
                      <a:pt x="170" y="368"/>
                    </a:lnTo>
                    <a:lnTo>
                      <a:pt x="168" y="382"/>
                    </a:lnTo>
                    <a:lnTo>
                      <a:pt x="140" y="378"/>
                    </a:lnTo>
                    <a:lnTo>
                      <a:pt x="136" y="404"/>
                    </a:lnTo>
                    <a:lnTo>
                      <a:pt x="124" y="418"/>
                    </a:lnTo>
                    <a:lnTo>
                      <a:pt x="104" y="404"/>
                    </a:lnTo>
                    <a:lnTo>
                      <a:pt x="42" y="410"/>
                    </a:lnTo>
                    <a:lnTo>
                      <a:pt x="44" y="440"/>
                    </a:lnTo>
                    <a:lnTo>
                      <a:pt x="54" y="446"/>
                    </a:lnTo>
                    <a:lnTo>
                      <a:pt x="44" y="462"/>
                    </a:lnTo>
                    <a:lnTo>
                      <a:pt x="46" y="488"/>
                    </a:lnTo>
                    <a:lnTo>
                      <a:pt x="44" y="524"/>
                    </a:lnTo>
                    <a:lnTo>
                      <a:pt x="24" y="536"/>
                    </a:lnTo>
                    <a:lnTo>
                      <a:pt x="2" y="536"/>
                    </a:lnTo>
                    <a:lnTo>
                      <a:pt x="0" y="580"/>
                    </a:lnTo>
                    <a:lnTo>
                      <a:pt x="10" y="604"/>
                    </a:lnTo>
                    <a:lnTo>
                      <a:pt x="20" y="620"/>
                    </a:lnTo>
                    <a:lnTo>
                      <a:pt x="38" y="626"/>
                    </a:lnTo>
                    <a:lnTo>
                      <a:pt x="46" y="612"/>
                    </a:lnTo>
                    <a:lnTo>
                      <a:pt x="60" y="604"/>
                    </a:lnTo>
                    <a:lnTo>
                      <a:pt x="78" y="608"/>
                    </a:lnTo>
                    <a:lnTo>
                      <a:pt x="84" y="628"/>
                    </a:lnTo>
                    <a:lnTo>
                      <a:pt x="142" y="626"/>
                    </a:lnTo>
                    <a:lnTo>
                      <a:pt x="156" y="648"/>
                    </a:lnTo>
                    <a:lnTo>
                      <a:pt x="170" y="660"/>
                    </a:lnTo>
                    <a:lnTo>
                      <a:pt x="216" y="656"/>
                    </a:lnTo>
                    <a:lnTo>
                      <a:pt x="240" y="672"/>
                    </a:lnTo>
                    <a:lnTo>
                      <a:pt x="240" y="684"/>
                    </a:lnTo>
                    <a:lnTo>
                      <a:pt x="286" y="684"/>
                    </a:lnTo>
                    <a:lnTo>
                      <a:pt x="296" y="666"/>
                    </a:lnTo>
                    <a:lnTo>
                      <a:pt x="282" y="660"/>
                    </a:lnTo>
                    <a:lnTo>
                      <a:pt x="284" y="638"/>
                    </a:lnTo>
                    <a:lnTo>
                      <a:pt x="298" y="620"/>
                    </a:lnTo>
                    <a:lnTo>
                      <a:pt x="324" y="614"/>
                    </a:lnTo>
                    <a:lnTo>
                      <a:pt x="322" y="594"/>
                    </a:lnTo>
                    <a:lnTo>
                      <a:pt x="314" y="576"/>
                    </a:lnTo>
                    <a:lnTo>
                      <a:pt x="294" y="562"/>
                    </a:lnTo>
                    <a:lnTo>
                      <a:pt x="304" y="550"/>
                    </a:lnTo>
                    <a:lnTo>
                      <a:pt x="332" y="554"/>
                    </a:lnTo>
                    <a:lnTo>
                      <a:pt x="386" y="558"/>
                    </a:lnTo>
                    <a:lnTo>
                      <a:pt x="392" y="552"/>
                    </a:lnTo>
                    <a:lnTo>
                      <a:pt x="390" y="526"/>
                    </a:lnTo>
                    <a:lnTo>
                      <a:pt x="378" y="524"/>
                    </a:lnTo>
                    <a:lnTo>
                      <a:pt x="374" y="486"/>
                    </a:lnTo>
                    <a:lnTo>
                      <a:pt x="358" y="478"/>
                    </a:lnTo>
                    <a:lnTo>
                      <a:pt x="348" y="460"/>
                    </a:lnTo>
                    <a:lnTo>
                      <a:pt x="350" y="432"/>
                    </a:lnTo>
                    <a:lnTo>
                      <a:pt x="328" y="428"/>
                    </a:lnTo>
                    <a:lnTo>
                      <a:pt x="324" y="374"/>
                    </a:lnTo>
                    <a:lnTo>
                      <a:pt x="340" y="360"/>
                    </a:lnTo>
                    <a:lnTo>
                      <a:pt x="326" y="314"/>
                    </a:lnTo>
                    <a:lnTo>
                      <a:pt x="326" y="236"/>
                    </a:lnTo>
                    <a:lnTo>
                      <a:pt x="316" y="222"/>
                    </a:lnTo>
                    <a:lnTo>
                      <a:pt x="326" y="208"/>
                    </a:lnTo>
                    <a:lnTo>
                      <a:pt x="336" y="212"/>
                    </a:lnTo>
                    <a:lnTo>
                      <a:pt x="332" y="140"/>
                    </a:lnTo>
                    <a:lnTo>
                      <a:pt x="314" y="114"/>
                    </a:lnTo>
                    <a:lnTo>
                      <a:pt x="318" y="90"/>
                    </a:lnTo>
                    <a:lnTo>
                      <a:pt x="338" y="70"/>
                    </a:lnTo>
                    <a:lnTo>
                      <a:pt x="350" y="68"/>
                    </a:lnTo>
                    <a:lnTo>
                      <a:pt x="356" y="8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109" name="Freeform 18"/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4657725" y="3981450"/>
                <a:ext cx="992188" cy="592138"/>
              </a:xfrm>
              <a:custGeom>
                <a:avLst/>
                <a:gdLst>
                  <a:gd name="T0" fmla="*/ 2147483647 w 606"/>
                  <a:gd name="T1" fmla="*/ 2147483647 h 378"/>
                  <a:gd name="T2" fmla="*/ 2147483647 w 606"/>
                  <a:gd name="T3" fmla="*/ 2147483647 h 378"/>
                  <a:gd name="T4" fmla="*/ 2147483647 w 606"/>
                  <a:gd name="T5" fmla="*/ 2147483647 h 378"/>
                  <a:gd name="T6" fmla="*/ 2147483647 w 606"/>
                  <a:gd name="T7" fmla="*/ 2147483647 h 378"/>
                  <a:gd name="T8" fmla="*/ 2147483647 w 606"/>
                  <a:gd name="T9" fmla="*/ 2147483647 h 378"/>
                  <a:gd name="T10" fmla="*/ 2147483647 w 606"/>
                  <a:gd name="T11" fmla="*/ 2147483647 h 378"/>
                  <a:gd name="T12" fmla="*/ 2147483647 w 606"/>
                  <a:gd name="T13" fmla="*/ 2147483647 h 378"/>
                  <a:gd name="T14" fmla="*/ 2147483647 w 606"/>
                  <a:gd name="T15" fmla="*/ 2147483647 h 378"/>
                  <a:gd name="T16" fmla="*/ 2147483647 w 606"/>
                  <a:gd name="T17" fmla="*/ 2147483647 h 378"/>
                  <a:gd name="T18" fmla="*/ 2147483647 w 606"/>
                  <a:gd name="T19" fmla="*/ 2147483647 h 378"/>
                  <a:gd name="T20" fmla="*/ 2147483647 w 606"/>
                  <a:gd name="T21" fmla="*/ 2147483647 h 378"/>
                  <a:gd name="T22" fmla="*/ 2147483647 w 606"/>
                  <a:gd name="T23" fmla="*/ 2147483647 h 378"/>
                  <a:gd name="T24" fmla="*/ 2147483647 w 606"/>
                  <a:gd name="T25" fmla="*/ 2147483647 h 378"/>
                  <a:gd name="T26" fmla="*/ 2147483647 w 606"/>
                  <a:gd name="T27" fmla="*/ 0 h 378"/>
                  <a:gd name="T28" fmla="*/ 2147483647 w 606"/>
                  <a:gd name="T29" fmla="*/ 2147483647 h 378"/>
                  <a:gd name="T30" fmla="*/ 2147483647 w 606"/>
                  <a:gd name="T31" fmla="*/ 2147483647 h 378"/>
                  <a:gd name="T32" fmla="*/ 2147483647 w 606"/>
                  <a:gd name="T33" fmla="*/ 2147483647 h 378"/>
                  <a:gd name="T34" fmla="*/ 2147483647 w 606"/>
                  <a:gd name="T35" fmla="*/ 2147483647 h 378"/>
                  <a:gd name="T36" fmla="*/ 2147483647 w 606"/>
                  <a:gd name="T37" fmla="*/ 2147483647 h 378"/>
                  <a:gd name="T38" fmla="*/ 2147483647 w 606"/>
                  <a:gd name="T39" fmla="*/ 2147483647 h 378"/>
                  <a:gd name="T40" fmla="*/ 2147483647 w 606"/>
                  <a:gd name="T41" fmla="*/ 2147483647 h 378"/>
                  <a:gd name="T42" fmla="*/ 2147483647 w 606"/>
                  <a:gd name="T43" fmla="*/ 2147483647 h 378"/>
                  <a:gd name="T44" fmla="*/ 2147483647 w 606"/>
                  <a:gd name="T45" fmla="*/ 2147483647 h 378"/>
                  <a:gd name="T46" fmla="*/ 2147483647 w 606"/>
                  <a:gd name="T47" fmla="*/ 2147483647 h 378"/>
                  <a:gd name="T48" fmla="*/ 2147483647 w 606"/>
                  <a:gd name="T49" fmla="*/ 2147483647 h 378"/>
                  <a:gd name="T50" fmla="*/ 2147483647 w 606"/>
                  <a:gd name="T51" fmla="*/ 2147483647 h 378"/>
                  <a:gd name="T52" fmla="*/ 2147483647 w 606"/>
                  <a:gd name="T53" fmla="*/ 2147483647 h 378"/>
                  <a:gd name="T54" fmla="*/ 2147483647 w 606"/>
                  <a:gd name="T55" fmla="*/ 2147483647 h 378"/>
                  <a:gd name="T56" fmla="*/ 2147483647 w 606"/>
                  <a:gd name="T57" fmla="*/ 2147483647 h 378"/>
                  <a:gd name="T58" fmla="*/ 2147483647 w 606"/>
                  <a:gd name="T59" fmla="*/ 2147483647 h 378"/>
                  <a:gd name="T60" fmla="*/ 2147483647 w 606"/>
                  <a:gd name="T61" fmla="*/ 2147483647 h 378"/>
                  <a:gd name="T62" fmla="*/ 2147483647 w 606"/>
                  <a:gd name="T63" fmla="*/ 2147483647 h 378"/>
                  <a:gd name="T64" fmla="*/ 2147483647 w 606"/>
                  <a:gd name="T65" fmla="*/ 2147483647 h 378"/>
                  <a:gd name="T66" fmla="*/ 2147483647 w 606"/>
                  <a:gd name="T67" fmla="*/ 2147483647 h 378"/>
                  <a:gd name="T68" fmla="*/ 2147483647 w 606"/>
                  <a:gd name="T69" fmla="*/ 2147483647 h 378"/>
                  <a:gd name="T70" fmla="*/ 2147483647 w 606"/>
                  <a:gd name="T71" fmla="*/ 2147483647 h 378"/>
                  <a:gd name="T72" fmla="*/ 2147483647 w 606"/>
                  <a:gd name="T73" fmla="*/ 2147483647 h 378"/>
                  <a:gd name="T74" fmla="*/ 2147483647 w 606"/>
                  <a:gd name="T75" fmla="*/ 2147483647 h 378"/>
                  <a:gd name="T76" fmla="*/ 2147483647 w 606"/>
                  <a:gd name="T77" fmla="*/ 2147483647 h 378"/>
                  <a:gd name="T78" fmla="*/ 2147483647 w 606"/>
                  <a:gd name="T79" fmla="*/ 2147483647 h 378"/>
                  <a:gd name="T80" fmla="*/ 2147483647 w 606"/>
                  <a:gd name="T81" fmla="*/ 2147483647 h 37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606"/>
                  <a:gd name="T124" fmla="*/ 0 h 378"/>
                  <a:gd name="T125" fmla="*/ 606 w 606"/>
                  <a:gd name="T126" fmla="*/ 378 h 378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606" h="378">
                    <a:moveTo>
                      <a:pt x="606" y="270"/>
                    </a:moveTo>
                    <a:lnTo>
                      <a:pt x="598" y="262"/>
                    </a:lnTo>
                    <a:lnTo>
                      <a:pt x="574" y="218"/>
                    </a:lnTo>
                    <a:lnTo>
                      <a:pt x="576" y="192"/>
                    </a:lnTo>
                    <a:lnTo>
                      <a:pt x="570" y="164"/>
                    </a:lnTo>
                    <a:lnTo>
                      <a:pt x="550" y="144"/>
                    </a:lnTo>
                    <a:lnTo>
                      <a:pt x="536" y="130"/>
                    </a:lnTo>
                    <a:lnTo>
                      <a:pt x="510" y="136"/>
                    </a:lnTo>
                    <a:lnTo>
                      <a:pt x="496" y="142"/>
                    </a:lnTo>
                    <a:lnTo>
                      <a:pt x="470" y="138"/>
                    </a:lnTo>
                    <a:lnTo>
                      <a:pt x="468" y="126"/>
                    </a:lnTo>
                    <a:lnTo>
                      <a:pt x="452" y="110"/>
                    </a:lnTo>
                    <a:lnTo>
                      <a:pt x="432" y="104"/>
                    </a:lnTo>
                    <a:lnTo>
                      <a:pt x="416" y="118"/>
                    </a:lnTo>
                    <a:lnTo>
                      <a:pt x="396" y="116"/>
                    </a:lnTo>
                    <a:lnTo>
                      <a:pt x="394" y="90"/>
                    </a:lnTo>
                    <a:lnTo>
                      <a:pt x="376" y="68"/>
                    </a:lnTo>
                    <a:lnTo>
                      <a:pt x="334" y="68"/>
                    </a:lnTo>
                    <a:lnTo>
                      <a:pt x="324" y="80"/>
                    </a:lnTo>
                    <a:lnTo>
                      <a:pt x="286" y="84"/>
                    </a:lnTo>
                    <a:lnTo>
                      <a:pt x="280" y="66"/>
                    </a:lnTo>
                    <a:lnTo>
                      <a:pt x="250" y="58"/>
                    </a:lnTo>
                    <a:lnTo>
                      <a:pt x="230" y="38"/>
                    </a:lnTo>
                    <a:lnTo>
                      <a:pt x="224" y="28"/>
                    </a:lnTo>
                    <a:lnTo>
                      <a:pt x="200" y="34"/>
                    </a:lnTo>
                    <a:lnTo>
                      <a:pt x="178" y="14"/>
                    </a:lnTo>
                    <a:lnTo>
                      <a:pt x="138" y="12"/>
                    </a:lnTo>
                    <a:lnTo>
                      <a:pt x="94" y="0"/>
                    </a:lnTo>
                    <a:lnTo>
                      <a:pt x="80" y="18"/>
                    </a:lnTo>
                    <a:lnTo>
                      <a:pt x="90" y="30"/>
                    </a:lnTo>
                    <a:lnTo>
                      <a:pt x="104" y="44"/>
                    </a:lnTo>
                    <a:lnTo>
                      <a:pt x="112" y="72"/>
                    </a:lnTo>
                    <a:lnTo>
                      <a:pt x="96" y="74"/>
                    </a:lnTo>
                    <a:lnTo>
                      <a:pt x="78" y="84"/>
                    </a:lnTo>
                    <a:lnTo>
                      <a:pt x="70" y="100"/>
                    </a:lnTo>
                    <a:lnTo>
                      <a:pt x="66" y="116"/>
                    </a:lnTo>
                    <a:lnTo>
                      <a:pt x="74" y="130"/>
                    </a:lnTo>
                    <a:lnTo>
                      <a:pt x="86" y="136"/>
                    </a:lnTo>
                    <a:lnTo>
                      <a:pt x="120" y="134"/>
                    </a:lnTo>
                    <a:lnTo>
                      <a:pt x="116" y="174"/>
                    </a:lnTo>
                    <a:lnTo>
                      <a:pt x="126" y="196"/>
                    </a:lnTo>
                    <a:lnTo>
                      <a:pt x="114" y="216"/>
                    </a:lnTo>
                    <a:lnTo>
                      <a:pt x="90" y="232"/>
                    </a:lnTo>
                    <a:lnTo>
                      <a:pt x="66" y="240"/>
                    </a:lnTo>
                    <a:lnTo>
                      <a:pt x="48" y="258"/>
                    </a:lnTo>
                    <a:lnTo>
                      <a:pt x="10" y="260"/>
                    </a:lnTo>
                    <a:lnTo>
                      <a:pt x="0" y="304"/>
                    </a:lnTo>
                    <a:lnTo>
                      <a:pt x="16" y="338"/>
                    </a:lnTo>
                    <a:lnTo>
                      <a:pt x="36" y="364"/>
                    </a:lnTo>
                    <a:lnTo>
                      <a:pt x="62" y="378"/>
                    </a:lnTo>
                    <a:lnTo>
                      <a:pt x="74" y="376"/>
                    </a:lnTo>
                    <a:lnTo>
                      <a:pt x="82" y="348"/>
                    </a:lnTo>
                    <a:lnTo>
                      <a:pt x="104" y="342"/>
                    </a:lnTo>
                    <a:lnTo>
                      <a:pt x="108" y="332"/>
                    </a:lnTo>
                    <a:lnTo>
                      <a:pt x="156" y="332"/>
                    </a:lnTo>
                    <a:lnTo>
                      <a:pt x="162" y="312"/>
                    </a:lnTo>
                    <a:lnTo>
                      <a:pt x="136" y="298"/>
                    </a:lnTo>
                    <a:lnTo>
                      <a:pt x="146" y="288"/>
                    </a:lnTo>
                    <a:lnTo>
                      <a:pt x="186" y="288"/>
                    </a:lnTo>
                    <a:lnTo>
                      <a:pt x="192" y="304"/>
                    </a:lnTo>
                    <a:lnTo>
                      <a:pt x="266" y="302"/>
                    </a:lnTo>
                    <a:lnTo>
                      <a:pt x="280" y="328"/>
                    </a:lnTo>
                    <a:lnTo>
                      <a:pt x="304" y="334"/>
                    </a:lnTo>
                    <a:lnTo>
                      <a:pt x="324" y="334"/>
                    </a:lnTo>
                    <a:lnTo>
                      <a:pt x="334" y="306"/>
                    </a:lnTo>
                    <a:lnTo>
                      <a:pt x="344" y="308"/>
                    </a:lnTo>
                    <a:lnTo>
                      <a:pt x="352" y="332"/>
                    </a:lnTo>
                    <a:lnTo>
                      <a:pt x="372" y="332"/>
                    </a:lnTo>
                    <a:lnTo>
                      <a:pt x="378" y="310"/>
                    </a:lnTo>
                    <a:lnTo>
                      <a:pt x="404" y="302"/>
                    </a:lnTo>
                    <a:lnTo>
                      <a:pt x="402" y="338"/>
                    </a:lnTo>
                    <a:lnTo>
                      <a:pt x="416" y="350"/>
                    </a:lnTo>
                    <a:lnTo>
                      <a:pt x="436" y="352"/>
                    </a:lnTo>
                    <a:lnTo>
                      <a:pt x="460" y="330"/>
                    </a:lnTo>
                    <a:lnTo>
                      <a:pt x="480" y="324"/>
                    </a:lnTo>
                    <a:lnTo>
                      <a:pt x="502" y="332"/>
                    </a:lnTo>
                    <a:lnTo>
                      <a:pt x="514" y="318"/>
                    </a:lnTo>
                    <a:lnTo>
                      <a:pt x="512" y="304"/>
                    </a:lnTo>
                    <a:lnTo>
                      <a:pt x="538" y="308"/>
                    </a:lnTo>
                    <a:lnTo>
                      <a:pt x="544" y="294"/>
                    </a:lnTo>
                    <a:lnTo>
                      <a:pt x="578" y="290"/>
                    </a:lnTo>
                    <a:lnTo>
                      <a:pt x="594" y="288"/>
                    </a:lnTo>
                    <a:lnTo>
                      <a:pt x="606" y="27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110" name="Freeform 19"/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2824163" y="2636838"/>
                <a:ext cx="1822450" cy="1497012"/>
              </a:xfrm>
              <a:custGeom>
                <a:avLst/>
                <a:gdLst>
                  <a:gd name="T0" fmla="*/ 2147483647 w 1111"/>
                  <a:gd name="T1" fmla="*/ 2147483647 h 949"/>
                  <a:gd name="T2" fmla="*/ 2147483647 w 1111"/>
                  <a:gd name="T3" fmla="*/ 2147483647 h 949"/>
                  <a:gd name="T4" fmla="*/ 2147483647 w 1111"/>
                  <a:gd name="T5" fmla="*/ 2147483647 h 949"/>
                  <a:gd name="T6" fmla="*/ 2147483647 w 1111"/>
                  <a:gd name="T7" fmla="*/ 2147483647 h 949"/>
                  <a:gd name="T8" fmla="*/ 2147483647 w 1111"/>
                  <a:gd name="T9" fmla="*/ 2147483647 h 949"/>
                  <a:gd name="T10" fmla="*/ 2147483647 w 1111"/>
                  <a:gd name="T11" fmla="*/ 2147483647 h 949"/>
                  <a:gd name="T12" fmla="*/ 2147483647 w 1111"/>
                  <a:gd name="T13" fmla="*/ 2147483647 h 949"/>
                  <a:gd name="T14" fmla="*/ 2147483647 w 1111"/>
                  <a:gd name="T15" fmla="*/ 2147483647 h 949"/>
                  <a:gd name="T16" fmla="*/ 2147483647 w 1111"/>
                  <a:gd name="T17" fmla="*/ 2147483647 h 949"/>
                  <a:gd name="T18" fmla="*/ 2147483647 w 1111"/>
                  <a:gd name="T19" fmla="*/ 2147483647 h 949"/>
                  <a:gd name="T20" fmla="*/ 2147483647 w 1111"/>
                  <a:gd name="T21" fmla="*/ 2147483647 h 949"/>
                  <a:gd name="T22" fmla="*/ 2147483647 w 1111"/>
                  <a:gd name="T23" fmla="*/ 2147483647 h 949"/>
                  <a:gd name="T24" fmla="*/ 2147483647 w 1111"/>
                  <a:gd name="T25" fmla="*/ 2147483647 h 949"/>
                  <a:gd name="T26" fmla="*/ 2147483647 w 1111"/>
                  <a:gd name="T27" fmla="*/ 2147483647 h 949"/>
                  <a:gd name="T28" fmla="*/ 2147483647 w 1111"/>
                  <a:gd name="T29" fmla="*/ 2147483647 h 949"/>
                  <a:gd name="T30" fmla="*/ 2147483647 w 1111"/>
                  <a:gd name="T31" fmla="*/ 2147483647 h 949"/>
                  <a:gd name="T32" fmla="*/ 2147483647 w 1111"/>
                  <a:gd name="T33" fmla="*/ 2147483647 h 949"/>
                  <a:gd name="T34" fmla="*/ 2147483647 w 1111"/>
                  <a:gd name="T35" fmla="*/ 2147483647 h 949"/>
                  <a:gd name="T36" fmla="*/ 2147483647 w 1111"/>
                  <a:gd name="T37" fmla="*/ 2147483647 h 949"/>
                  <a:gd name="T38" fmla="*/ 2147483647 w 1111"/>
                  <a:gd name="T39" fmla="*/ 2147483647 h 949"/>
                  <a:gd name="T40" fmla="*/ 2147483647 w 1111"/>
                  <a:gd name="T41" fmla="*/ 2147483647 h 949"/>
                  <a:gd name="T42" fmla="*/ 2147483647 w 1111"/>
                  <a:gd name="T43" fmla="*/ 2147483647 h 949"/>
                  <a:gd name="T44" fmla="*/ 2147483647 w 1111"/>
                  <a:gd name="T45" fmla="*/ 2147483647 h 949"/>
                  <a:gd name="T46" fmla="*/ 2147483647 w 1111"/>
                  <a:gd name="T47" fmla="*/ 2147483647 h 949"/>
                  <a:gd name="T48" fmla="*/ 2147483647 w 1111"/>
                  <a:gd name="T49" fmla="*/ 2147483647 h 949"/>
                  <a:gd name="T50" fmla="*/ 2147483647 w 1111"/>
                  <a:gd name="T51" fmla="*/ 2147483647 h 949"/>
                  <a:gd name="T52" fmla="*/ 2147483647 w 1111"/>
                  <a:gd name="T53" fmla="*/ 2147483647 h 949"/>
                  <a:gd name="T54" fmla="*/ 2147483647 w 1111"/>
                  <a:gd name="T55" fmla="*/ 2147483647 h 949"/>
                  <a:gd name="T56" fmla="*/ 2147483647 w 1111"/>
                  <a:gd name="T57" fmla="*/ 2147483647 h 949"/>
                  <a:gd name="T58" fmla="*/ 2147483647 w 1111"/>
                  <a:gd name="T59" fmla="*/ 2147483647 h 949"/>
                  <a:gd name="T60" fmla="*/ 2147483647 w 1111"/>
                  <a:gd name="T61" fmla="*/ 2147483647 h 949"/>
                  <a:gd name="T62" fmla="*/ 2147483647 w 1111"/>
                  <a:gd name="T63" fmla="*/ 2147483647 h 949"/>
                  <a:gd name="T64" fmla="*/ 2147483647 w 1111"/>
                  <a:gd name="T65" fmla="*/ 2147483647 h 949"/>
                  <a:gd name="T66" fmla="*/ 2147483647 w 1111"/>
                  <a:gd name="T67" fmla="*/ 2147483647 h 949"/>
                  <a:gd name="T68" fmla="*/ 2147483647 w 1111"/>
                  <a:gd name="T69" fmla="*/ 2147483647 h 949"/>
                  <a:gd name="T70" fmla="*/ 2147483647 w 1111"/>
                  <a:gd name="T71" fmla="*/ 2147483647 h 949"/>
                  <a:gd name="T72" fmla="*/ 2147483647 w 1111"/>
                  <a:gd name="T73" fmla="*/ 2147483647 h 949"/>
                  <a:gd name="T74" fmla="*/ 2147483647 w 1111"/>
                  <a:gd name="T75" fmla="*/ 2147483647 h 949"/>
                  <a:gd name="T76" fmla="*/ 2147483647 w 1111"/>
                  <a:gd name="T77" fmla="*/ 2147483647 h 949"/>
                  <a:gd name="T78" fmla="*/ 2147483647 w 1111"/>
                  <a:gd name="T79" fmla="*/ 2147483647 h 949"/>
                  <a:gd name="T80" fmla="*/ 2147483647 w 1111"/>
                  <a:gd name="T81" fmla="*/ 2147483647 h 949"/>
                  <a:gd name="T82" fmla="*/ 2147483647 w 1111"/>
                  <a:gd name="T83" fmla="*/ 2147483647 h 949"/>
                  <a:gd name="T84" fmla="*/ 2147483647 w 1111"/>
                  <a:gd name="T85" fmla="*/ 2147483647 h 949"/>
                  <a:gd name="T86" fmla="*/ 2147483647 w 1111"/>
                  <a:gd name="T87" fmla="*/ 2147483647 h 949"/>
                  <a:gd name="T88" fmla="*/ 2147483647 w 1111"/>
                  <a:gd name="T89" fmla="*/ 2147483647 h 949"/>
                  <a:gd name="T90" fmla="*/ 2147483647 w 1111"/>
                  <a:gd name="T91" fmla="*/ 2147483647 h 949"/>
                  <a:gd name="T92" fmla="*/ 2147483647 w 1111"/>
                  <a:gd name="T93" fmla="*/ 2147483647 h 949"/>
                  <a:gd name="T94" fmla="*/ 2147483647 w 1111"/>
                  <a:gd name="T95" fmla="*/ 2147483647 h 94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111"/>
                  <a:gd name="T145" fmla="*/ 0 h 949"/>
                  <a:gd name="T146" fmla="*/ 1111 w 1111"/>
                  <a:gd name="T147" fmla="*/ 949 h 949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111" h="949">
                    <a:moveTo>
                      <a:pt x="1032" y="466"/>
                    </a:moveTo>
                    <a:lnTo>
                      <a:pt x="1020" y="458"/>
                    </a:lnTo>
                    <a:lnTo>
                      <a:pt x="1014" y="442"/>
                    </a:lnTo>
                    <a:lnTo>
                      <a:pt x="1010" y="430"/>
                    </a:lnTo>
                    <a:lnTo>
                      <a:pt x="988" y="432"/>
                    </a:lnTo>
                    <a:lnTo>
                      <a:pt x="976" y="422"/>
                    </a:lnTo>
                    <a:lnTo>
                      <a:pt x="978" y="386"/>
                    </a:lnTo>
                    <a:lnTo>
                      <a:pt x="978" y="360"/>
                    </a:lnTo>
                    <a:lnTo>
                      <a:pt x="968" y="350"/>
                    </a:lnTo>
                    <a:lnTo>
                      <a:pt x="964" y="334"/>
                    </a:lnTo>
                    <a:lnTo>
                      <a:pt x="960" y="320"/>
                    </a:lnTo>
                    <a:lnTo>
                      <a:pt x="952" y="322"/>
                    </a:lnTo>
                    <a:lnTo>
                      <a:pt x="938" y="340"/>
                    </a:lnTo>
                    <a:lnTo>
                      <a:pt x="934" y="356"/>
                    </a:lnTo>
                    <a:lnTo>
                      <a:pt x="920" y="376"/>
                    </a:lnTo>
                    <a:lnTo>
                      <a:pt x="910" y="404"/>
                    </a:lnTo>
                    <a:lnTo>
                      <a:pt x="906" y="418"/>
                    </a:lnTo>
                    <a:lnTo>
                      <a:pt x="892" y="422"/>
                    </a:lnTo>
                    <a:lnTo>
                      <a:pt x="884" y="444"/>
                    </a:lnTo>
                    <a:lnTo>
                      <a:pt x="872" y="454"/>
                    </a:lnTo>
                    <a:lnTo>
                      <a:pt x="868" y="474"/>
                    </a:lnTo>
                    <a:lnTo>
                      <a:pt x="850" y="480"/>
                    </a:lnTo>
                    <a:lnTo>
                      <a:pt x="834" y="486"/>
                    </a:lnTo>
                    <a:lnTo>
                      <a:pt x="814" y="494"/>
                    </a:lnTo>
                    <a:lnTo>
                      <a:pt x="802" y="498"/>
                    </a:lnTo>
                    <a:lnTo>
                      <a:pt x="780" y="504"/>
                    </a:lnTo>
                    <a:lnTo>
                      <a:pt x="762" y="488"/>
                    </a:lnTo>
                    <a:lnTo>
                      <a:pt x="750" y="474"/>
                    </a:lnTo>
                    <a:lnTo>
                      <a:pt x="734" y="474"/>
                    </a:lnTo>
                    <a:lnTo>
                      <a:pt x="730" y="452"/>
                    </a:lnTo>
                    <a:lnTo>
                      <a:pt x="734" y="438"/>
                    </a:lnTo>
                    <a:lnTo>
                      <a:pt x="738" y="424"/>
                    </a:lnTo>
                    <a:lnTo>
                      <a:pt x="754" y="414"/>
                    </a:lnTo>
                    <a:lnTo>
                      <a:pt x="750" y="394"/>
                    </a:lnTo>
                    <a:lnTo>
                      <a:pt x="776" y="380"/>
                    </a:lnTo>
                    <a:lnTo>
                      <a:pt x="776" y="362"/>
                    </a:lnTo>
                    <a:lnTo>
                      <a:pt x="762" y="338"/>
                    </a:lnTo>
                    <a:lnTo>
                      <a:pt x="738" y="332"/>
                    </a:lnTo>
                    <a:lnTo>
                      <a:pt x="722" y="338"/>
                    </a:lnTo>
                    <a:lnTo>
                      <a:pt x="716" y="344"/>
                    </a:lnTo>
                    <a:lnTo>
                      <a:pt x="648" y="344"/>
                    </a:lnTo>
                    <a:lnTo>
                      <a:pt x="630" y="342"/>
                    </a:lnTo>
                    <a:lnTo>
                      <a:pt x="628" y="350"/>
                    </a:lnTo>
                    <a:lnTo>
                      <a:pt x="630" y="366"/>
                    </a:lnTo>
                    <a:lnTo>
                      <a:pt x="636" y="380"/>
                    </a:lnTo>
                    <a:lnTo>
                      <a:pt x="626" y="388"/>
                    </a:lnTo>
                    <a:lnTo>
                      <a:pt x="600" y="392"/>
                    </a:lnTo>
                    <a:lnTo>
                      <a:pt x="590" y="372"/>
                    </a:lnTo>
                    <a:lnTo>
                      <a:pt x="578" y="364"/>
                    </a:lnTo>
                    <a:lnTo>
                      <a:pt x="556" y="366"/>
                    </a:lnTo>
                    <a:lnTo>
                      <a:pt x="556" y="338"/>
                    </a:lnTo>
                    <a:lnTo>
                      <a:pt x="538" y="326"/>
                    </a:lnTo>
                    <a:lnTo>
                      <a:pt x="534" y="312"/>
                    </a:lnTo>
                    <a:lnTo>
                      <a:pt x="514" y="296"/>
                    </a:lnTo>
                    <a:lnTo>
                      <a:pt x="500" y="276"/>
                    </a:lnTo>
                    <a:lnTo>
                      <a:pt x="482" y="266"/>
                    </a:lnTo>
                    <a:lnTo>
                      <a:pt x="478" y="246"/>
                    </a:lnTo>
                    <a:lnTo>
                      <a:pt x="492" y="238"/>
                    </a:lnTo>
                    <a:lnTo>
                      <a:pt x="504" y="230"/>
                    </a:lnTo>
                    <a:lnTo>
                      <a:pt x="506" y="204"/>
                    </a:lnTo>
                    <a:lnTo>
                      <a:pt x="514" y="200"/>
                    </a:lnTo>
                    <a:lnTo>
                      <a:pt x="510" y="188"/>
                    </a:lnTo>
                    <a:lnTo>
                      <a:pt x="500" y="180"/>
                    </a:lnTo>
                    <a:lnTo>
                      <a:pt x="484" y="186"/>
                    </a:lnTo>
                    <a:lnTo>
                      <a:pt x="430" y="188"/>
                    </a:lnTo>
                    <a:lnTo>
                      <a:pt x="416" y="196"/>
                    </a:lnTo>
                    <a:lnTo>
                      <a:pt x="396" y="206"/>
                    </a:lnTo>
                    <a:lnTo>
                      <a:pt x="380" y="200"/>
                    </a:lnTo>
                    <a:lnTo>
                      <a:pt x="384" y="176"/>
                    </a:lnTo>
                    <a:lnTo>
                      <a:pt x="394" y="176"/>
                    </a:lnTo>
                    <a:lnTo>
                      <a:pt x="396" y="164"/>
                    </a:lnTo>
                    <a:lnTo>
                      <a:pt x="370" y="142"/>
                    </a:lnTo>
                    <a:lnTo>
                      <a:pt x="356" y="118"/>
                    </a:lnTo>
                    <a:lnTo>
                      <a:pt x="346" y="74"/>
                    </a:lnTo>
                    <a:lnTo>
                      <a:pt x="334" y="36"/>
                    </a:lnTo>
                    <a:lnTo>
                      <a:pt x="324" y="14"/>
                    </a:lnTo>
                    <a:lnTo>
                      <a:pt x="320" y="0"/>
                    </a:lnTo>
                    <a:lnTo>
                      <a:pt x="270" y="0"/>
                    </a:lnTo>
                    <a:lnTo>
                      <a:pt x="256" y="12"/>
                    </a:lnTo>
                    <a:lnTo>
                      <a:pt x="248" y="44"/>
                    </a:lnTo>
                    <a:lnTo>
                      <a:pt x="232" y="66"/>
                    </a:lnTo>
                    <a:lnTo>
                      <a:pt x="220" y="80"/>
                    </a:lnTo>
                    <a:lnTo>
                      <a:pt x="212" y="68"/>
                    </a:lnTo>
                    <a:lnTo>
                      <a:pt x="188" y="68"/>
                    </a:lnTo>
                    <a:lnTo>
                      <a:pt x="182" y="78"/>
                    </a:lnTo>
                    <a:lnTo>
                      <a:pt x="144" y="88"/>
                    </a:lnTo>
                    <a:lnTo>
                      <a:pt x="112" y="110"/>
                    </a:lnTo>
                    <a:lnTo>
                      <a:pt x="100" y="138"/>
                    </a:lnTo>
                    <a:lnTo>
                      <a:pt x="78" y="140"/>
                    </a:lnTo>
                    <a:lnTo>
                      <a:pt x="68" y="158"/>
                    </a:lnTo>
                    <a:lnTo>
                      <a:pt x="64" y="188"/>
                    </a:lnTo>
                    <a:lnTo>
                      <a:pt x="32" y="190"/>
                    </a:lnTo>
                    <a:lnTo>
                      <a:pt x="8" y="196"/>
                    </a:lnTo>
                    <a:lnTo>
                      <a:pt x="0" y="222"/>
                    </a:lnTo>
                    <a:lnTo>
                      <a:pt x="6" y="252"/>
                    </a:lnTo>
                    <a:lnTo>
                      <a:pt x="6" y="278"/>
                    </a:lnTo>
                    <a:lnTo>
                      <a:pt x="10" y="294"/>
                    </a:lnTo>
                    <a:lnTo>
                      <a:pt x="48" y="294"/>
                    </a:lnTo>
                    <a:lnTo>
                      <a:pt x="76" y="288"/>
                    </a:lnTo>
                    <a:lnTo>
                      <a:pt x="106" y="292"/>
                    </a:lnTo>
                    <a:lnTo>
                      <a:pt x="134" y="302"/>
                    </a:lnTo>
                    <a:lnTo>
                      <a:pt x="170" y="328"/>
                    </a:lnTo>
                    <a:lnTo>
                      <a:pt x="202" y="334"/>
                    </a:lnTo>
                    <a:lnTo>
                      <a:pt x="232" y="358"/>
                    </a:lnTo>
                    <a:lnTo>
                      <a:pt x="262" y="358"/>
                    </a:lnTo>
                    <a:lnTo>
                      <a:pt x="284" y="332"/>
                    </a:lnTo>
                    <a:lnTo>
                      <a:pt x="300" y="308"/>
                    </a:lnTo>
                    <a:lnTo>
                      <a:pt x="312" y="310"/>
                    </a:lnTo>
                    <a:lnTo>
                      <a:pt x="324" y="332"/>
                    </a:lnTo>
                    <a:lnTo>
                      <a:pt x="354" y="336"/>
                    </a:lnTo>
                    <a:lnTo>
                      <a:pt x="374" y="334"/>
                    </a:lnTo>
                    <a:lnTo>
                      <a:pt x="386" y="324"/>
                    </a:lnTo>
                    <a:lnTo>
                      <a:pt x="410" y="328"/>
                    </a:lnTo>
                    <a:lnTo>
                      <a:pt x="438" y="344"/>
                    </a:lnTo>
                    <a:lnTo>
                      <a:pt x="448" y="364"/>
                    </a:lnTo>
                    <a:lnTo>
                      <a:pt x="458" y="378"/>
                    </a:lnTo>
                    <a:lnTo>
                      <a:pt x="488" y="376"/>
                    </a:lnTo>
                    <a:lnTo>
                      <a:pt x="492" y="362"/>
                    </a:lnTo>
                    <a:lnTo>
                      <a:pt x="504" y="380"/>
                    </a:lnTo>
                    <a:lnTo>
                      <a:pt x="514" y="412"/>
                    </a:lnTo>
                    <a:lnTo>
                      <a:pt x="558" y="436"/>
                    </a:lnTo>
                    <a:lnTo>
                      <a:pt x="590" y="460"/>
                    </a:lnTo>
                    <a:lnTo>
                      <a:pt x="598" y="474"/>
                    </a:lnTo>
                    <a:lnTo>
                      <a:pt x="626" y="468"/>
                    </a:lnTo>
                    <a:lnTo>
                      <a:pt x="650" y="484"/>
                    </a:lnTo>
                    <a:lnTo>
                      <a:pt x="662" y="528"/>
                    </a:lnTo>
                    <a:lnTo>
                      <a:pt x="662" y="556"/>
                    </a:lnTo>
                    <a:lnTo>
                      <a:pt x="678" y="576"/>
                    </a:lnTo>
                    <a:lnTo>
                      <a:pt x="680" y="608"/>
                    </a:lnTo>
                    <a:lnTo>
                      <a:pt x="698" y="616"/>
                    </a:lnTo>
                    <a:lnTo>
                      <a:pt x="690" y="628"/>
                    </a:lnTo>
                    <a:lnTo>
                      <a:pt x="682" y="640"/>
                    </a:lnTo>
                    <a:lnTo>
                      <a:pt x="670" y="668"/>
                    </a:lnTo>
                    <a:lnTo>
                      <a:pt x="648" y="670"/>
                    </a:lnTo>
                    <a:lnTo>
                      <a:pt x="644" y="708"/>
                    </a:lnTo>
                    <a:lnTo>
                      <a:pt x="604" y="718"/>
                    </a:lnTo>
                    <a:lnTo>
                      <a:pt x="606" y="770"/>
                    </a:lnTo>
                    <a:lnTo>
                      <a:pt x="582" y="780"/>
                    </a:lnTo>
                    <a:lnTo>
                      <a:pt x="550" y="780"/>
                    </a:lnTo>
                    <a:lnTo>
                      <a:pt x="552" y="806"/>
                    </a:lnTo>
                    <a:lnTo>
                      <a:pt x="584" y="810"/>
                    </a:lnTo>
                    <a:lnTo>
                      <a:pt x="600" y="812"/>
                    </a:lnTo>
                    <a:lnTo>
                      <a:pt x="620" y="822"/>
                    </a:lnTo>
                    <a:lnTo>
                      <a:pt x="650" y="838"/>
                    </a:lnTo>
                    <a:lnTo>
                      <a:pt x="654" y="816"/>
                    </a:lnTo>
                    <a:lnTo>
                      <a:pt x="654" y="794"/>
                    </a:lnTo>
                    <a:lnTo>
                      <a:pt x="676" y="784"/>
                    </a:lnTo>
                    <a:lnTo>
                      <a:pt x="692" y="790"/>
                    </a:lnTo>
                    <a:lnTo>
                      <a:pt x="694" y="806"/>
                    </a:lnTo>
                    <a:lnTo>
                      <a:pt x="716" y="816"/>
                    </a:lnTo>
                    <a:lnTo>
                      <a:pt x="722" y="832"/>
                    </a:lnTo>
                    <a:lnTo>
                      <a:pt x="760" y="834"/>
                    </a:lnTo>
                    <a:lnTo>
                      <a:pt x="782" y="866"/>
                    </a:lnTo>
                    <a:lnTo>
                      <a:pt x="800" y="870"/>
                    </a:lnTo>
                    <a:lnTo>
                      <a:pt x="800" y="902"/>
                    </a:lnTo>
                    <a:lnTo>
                      <a:pt x="810" y="918"/>
                    </a:lnTo>
                    <a:lnTo>
                      <a:pt x="818" y="944"/>
                    </a:lnTo>
                    <a:lnTo>
                      <a:pt x="834" y="948"/>
                    </a:lnTo>
                    <a:lnTo>
                      <a:pt x="858" y="946"/>
                    </a:lnTo>
                    <a:lnTo>
                      <a:pt x="870" y="936"/>
                    </a:lnTo>
                    <a:lnTo>
                      <a:pt x="872" y="918"/>
                    </a:lnTo>
                    <a:lnTo>
                      <a:pt x="904" y="912"/>
                    </a:lnTo>
                    <a:lnTo>
                      <a:pt x="918" y="900"/>
                    </a:lnTo>
                    <a:lnTo>
                      <a:pt x="912" y="882"/>
                    </a:lnTo>
                    <a:lnTo>
                      <a:pt x="914" y="870"/>
                    </a:lnTo>
                    <a:lnTo>
                      <a:pt x="918" y="852"/>
                    </a:lnTo>
                    <a:lnTo>
                      <a:pt x="938" y="852"/>
                    </a:lnTo>
                    <a:lnTo>
                      <a:pt x="958" y="836"/>
                    </a:lnTo>
                    <a:lnTo>
                      <a:pt x="958" y="776"/>
                    </a:lnTo>
                    <a:lnTo>
                      <a:pt x="964" y="762"/>
                    </a:lnTo>
                    <a:lnTo>
                      <a:pt x="958" y="748"/>
                    </a:lnTo>
                    <a:lnTo>
                      <a:pt x="956" y="730"/>
                    </a:lnTo>
                    <a:lnTo>
                      <a:pt x="958" y="724"/>
                    </a:lnTo>
                    <a:lnTo>
                      <a:pt x="1000" y="720"/>
                    </a:lnTo>
                    <a:lnTo>
                      <a:pt x="1012" y="720"/>
                    </a:lnTo>
                    <a:lnTo>
                      <a:pt x="1030" y="732"/>
                    </a:lnTo>
                    <a:lnTo>
                      <a:pt x="1048" y="720"/>
                    </a:lnTo>
                    <a:lnTo>
                      <a:pt x="1052" y="700"/>
                    </a:lnTo>
                    <a:lnTo>
                      <a:pt x="1062" y="692"/>
                    </a:lnTo>
                    <a:lnTo>
                      <a:pt x="1076" y="696"/>
                    </a:lnTo>
                    <a:lnTo>
                      <a:pt x="1084" y="682"/>
                    </a:lnTo>
                    <a:lnTo>
                      <a:pt x="1102" y="676"/>
                    </a:lnTo>
                    <a:lnTo>
                      <a:pt x="1104" y="626"/>
                    </a:lnTo>
                    <a:lnTo>
                      <a:pt x="1110" y="616"/>
                    </a:lnTo>
                    <a:lnTo>
                      <a:pt x="1106" y="592"/>
                    </a:lnTo>
                    <a:lnTo>
                      <a:pt x="1082" y="574"/>
                    </a:lnTo>
                    <a:lnTo>
                      <a:pt x="1064" y="568"/>
                    </a:lnTo>
                    <a:lnTo>
                      <a:pt x="1030" y="570"/>
                    </a:lnTo>
                    <a:lnTo>
                      <a:pt x="1016" y="546"/>
                    </a:lnTo>
                    <a:lnTo>
                      <a:pt x="1000" y="538"/>
                    </a:lnTo>
                    <a:lnTo>
                      <a:pt x="998" y="518"/>
                    </a:lnTo>
                    <a:lnTo>
                      <a:pt x="1012" y="514"/>
                    </a:lnTo>
                    <a:lnTo>
                      <a:pt x="1018" y="486"/>
                    </a:lnTo>
                    <a:lnTo>
                      <a:pt x="1032" y="46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111" name="Freeform 20"/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3289301" y="3865563"/>
                <a:ext cx="1577975" cy="1155700"/>
              </a:xfrm>
              <a:custGeom>
                <a:avLst/>
                <a:gdLst>
                  <a:gd name="T0" fmla="*/ 2147483647 w 963"/>
                  <a:gd name="T1" fmla="*/ 2147483647 h 735"/>
                  <a:gd name="T2" fmla="*/ 2147483647 w 963"/>
                  <a:gd name="T3" fmla="*/ 2147483647 h 735"/>
                  <a:gd name="T4" fmla="*/ 2147483647 w 963"/>
                  <a:gd name="T5" fmla="*/ 2147483647 h 735"/>
                  <a:gd name="T6" fmla="*/ 2147483647 w 963"/>
                  <a:gd name="T7" fmla="*/ 2147483647 h 735"/>
                  <a:gd name="T8" fmla="*/ 2147483647 w 963"/>
                  <a:gd name="T9" fmla="*/ 2147483647 h 735"/>
                  <a:gd name="T10" fmla="*/ 2147483647 w 963"/>
                  <a:gd name="T11" fmla="*/ 2147483647 h 735"/>
                  <a:gd name="T12" fmla="*/ 2147483647 w 963"/>
                  <a:gd name="T13" fmla="*/ 2147483647 h 735"/>
                  <a:gd name="T14" fmla="*/ 2147483647 w 963"/>
                  <a:gd name="T15" fmla="*/ 2147483647 h 735"/>
                  <a:gd name="T16" fmla="*/ 2147483647 w 963"/>
                  <a:gd name="T17" fmla="*/ 2147483647 h 735"/>
                  <a:gd name="T18" fmla="*/ 2147483647 w 963"/>
                  <a:gd name="T19" fmla="*/ 2147483647 h 735"/>
                  <a:gd name="T20" fmla="*/ 2147483647 w 963"/>
                  <a:gd name="T21" fmla="*/ 2147483647 h 735"/>
                  <a:gd name="T22" fmla="*/ 2147483647 w 963"/>
                  <a:gd name="T23" fmla="*/ 2147483647 h 735"/>
                  <a:gd name="T24" fmla="*/ 2147483647 w 963"/>
                  <a:gd name="T25" fmla="*/ 2147483647 h 735"/>
                  <a:gd name="T26" fmla="*/ 2147483647 w 963"/>
                  <a:gd name="T27" fmla="*/ 2147483647 h 735"/>
                  <a:gd name="T28" fmla="*/ 2147483647 w 963"/>
                  <a:gd name="T29" fmla="*/ 2147483647 h 735"/>
                  <a:gd name="T30" fmla="*/ 2147483647 w 963"/>
                  <a:gd name="T31" fmla="*/ 2147483647 h 735"/>
                  <a:gd name="T32" fmla="*/ 2147483647 w 963"/>
                  <a:gd name="T33" fmla="*/ 2147483647 h 735"/>
                  <a:gd name="T34" fmla="*/ 2147483647 w 963"/>
                  <a:gd name="T35" fmla="*/ 2147483647 h 735"/>
                  <a:gd name="T36" fmla="*/ 2147483647 w 963"/>
                  <a:gd name="T37" fmla="*/ 2147483647 h 735"/>
                  <a:gd name="T38" fmla="*/ 2147483647 w 963"/>
                  <a:gd name="T39" fmla="*/ 2147483647 h 735"/>
                  <a:gd name="T40" fmla="*/ 2147483647 w 963"/>
                  <a:gd name="T41" fmla="*/ 2147483647 h 735"/>
                  <a:gd name="T42" fmla="*/ 2147483647 w 963"/>
                  <a:gd name="T43" fmla="*/ 2147483647 h 735"/>
                  <a:gd name="T44" fmla="*/ 2147483647 w 963"/>
                  <a:gd name="T45" fmla="*/ 2147483647 h 735"/>
                  <a:gd name="T46" fmla="*/ 2147483647 w 963"/>
                  <a:gd name="T47" fmla="*/ 2147483647 h 735"/>
                  <a:gd name="T48" fmla="*/ 2147483647 w 963"/>
                  <a:gd name="T49" fmla="*/ 2147483647 h 735"/>
                  <a:gd name="T50" fmla="*/ 2147483647 w 963"/>
                  <a:gd name="T51" fmla="*/ 2147483647 h 735"/>
                  <a:gd name="T52" fmla="*/ 2147483647 w 963"/>
                  <a:gd name="T53" fmla="*/ 2147483647 h 735"/>
                  <a:gd name="T54" fmla="*/ 2147483647 w 963"/>
                  <a:gd name="T55" fmla="*/ 2147483647 h 735"/>
                  <a:gd name="T56" fmla="*/ 2147483647 w 963"/>
                  <a:gd name="T57" fmla="*/ 2147483647 h 735"/>
                  <a:gd name="T58" fmla="*/ 2147483647 w 963"/>
                  <a:gd name="T59" fmla="*/ 2147483647 h 735"/>
                  <a:gd name="T60" fmla="*/ 2147483647 w 963"/>
                  <a:gd name="T61" fmla="*/ 2147483647 h 735"/>
                  <a:gd name="T62" fmla="*/ 2147483647 w 963"/>
                  <a:gd name="T63" fmla="*/ 2147483647 h 735"/>
                  <a:gd name="T64" fmla="*/ 2147483647 w 963"/>
                  <a:gd name="T65" fmla="*/ 2147483647 h 735"/>
                  <a:gd name="T66" fmla="*/ 2147483647 w 963"/>
                  <a:gd name="T67" fmla="*/ 2147483647 h 735"/>
                  <a:gd name="T68" fmla="*/ 2147483647 w 963"/>
                  <a:gd name="T69" fmla="*/ 2147483647 h 735"/>
                  <a:gd name="T70" fmla="*/ 2147483647 w 963"/>
                  <a:gd name="T71" fmla="*/ 2147483647 h 735"/>
                  <a:gd name="T72" fmla="*/ 2147483647 w 963"/>
                  <a:gd name="T73" fmla="*/ 2147483647 h 735"/>
                  <a:gd name="T74" fmla="*/ 2147483647 w 963"/>
                  <a:gd name="T75" fmla="*/ 2147483647 h 735"/>
                  <a:gd name="T76" fmla="*/ 2147483647 w 963"/>
                  <a:gd name="T77" fmla="*/ 2147483647 h 735"/>
                  <a:gd name="T78" fmla="*/ 2147483647 w 963"/>
                  <a:gd name="T79" fmla="*/ 2147483647 h 735"/>
                  <a:gd name="T80" fmla="*/ 2147483647 w 963"/>
                  <a:gd name="T81" fmla="*/ 2147483647 h 735"/>
                  <a:gd name="T82" fmla="*/ 2147483647 w 963"/>
                  <a:gd name="T83" fmla="*/ 2147483647 h 735"/>
                  <a:gd name="T84" fmla="*/ 2147483647 w 963"/>
                  <a:gd name="T85" fmla="*/ 2147483647 h 735"/>
                  <a:gd name="T86" fmla="*/ 2147483647 w 963"/>
                  <a:gd name="T87" fmla="*/ 2147483647 h 735"/>
                  <a:gd name="T88" fmla="*/ 2147483647 w 963"/>
                  <a:gd name="T89" fmla="*/ 2147483647 h 735"/>
                  <a:gd name="T90" fmla="*/ 2147483647 w 963"/>
                  <a:gd name="T91" fmla="*/ 0 h 73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963"/>
                  <a:gd name="T139" fmla="*/ 0 h 735"/>
                  <a:gd name="T140" fmla="*/ 963 w 963"/>
                  <a:gd name="T141" fmla="*/ 735 h 735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963" h="735">
                    <a:moveTo>
                      <a:pt x="362" y="50"/>
                    </a:moveTo>
                    <a:lnTo>
                      <a:pt x="370" y="82"/>
                    </a:lnTo>
                    <a:lnTo>
                      <a:pt x="356" y="92"/>
                    </a:lnTo>
                    <a:lnTo>
                      <a:pt x="312" y="90"/>
                    </a:lnTo>
                    <a:lnTo>
                      <a:pt x="282" y="96"/>
                    </a:lnTo>
                    <a:lnTo>
                      <a:pt x="274" y="116"/>
                    </a:lnTo>
                    <a:lnTo>
                      <a:pt x="260" y="138"/>
                    </a:lnTo>
                    <a:lnTo>
                      <a:pt x="226" y="142"/>
                    </a:lnTo>
                    <a:lnTo>
                      <a:pt x="212" y="128"/>
                    </a:lnTo>
                    <a:lnTo>
                      <a:pt x="164" y="126"/>
                    </a:lnTo>
                    <a:lnTo>
                      <a:pt x="144" y="124"/>
                    </a:lnTo>
                    <a:lnTo>
                      <a:pt x="116" y="84"/>
                    </a:lnTo>
                    <a:lnTo>
                      <a:pt x="100" y="70"/>
                    </a:lnTo>
                    <a:lnTo>
                      <a:pt x="88" y="38"/>
                    </a:lnTo>
                    <a:lnTo>
                      <a:pt x="86" y="22"/>
                    </a:lnTo>
                    <a:lnTo>
                      <a:pt x="56" y="22"/>
                    </a:lnTo>
                    <a:lnTo>
                      <a:pt x="22" y="10"/>
                    </a:lnTo>
                    <a:lnTo>
                      <a:pt x="8" y="4"/>
                    </a:lnTo>
                    <a:lnTo>
                      <a:pt x="0" y="16"/>
                    </a:lnTo>
                    <a:lnTo>
                      <a:pt x="6" y="36"/>
                    </a:lnTo>
                    <a:lnTo>
                      <a:pt x="20" y="54"/>
                    </a:lnTo>
                    <a:lnTo>
                      <a:pt x="16" y="74"/>
                    </a:lnTo>
                    <a:lnTo>
                      <a:pt x="8" y="94"/>
                    </a:lnTo>
                    <a:lnTo>
                      <a:pt x="6" y="118"/>
                    </a:lnTo>
                    <a:lnTo>
                      <a:pt x="20" y="142"/>
                    </a:lnTo>
                    <a:lnTo>
                      <a:pt x="40" y="172"/>
                    </a:lnTo>
                    <a:lnTo>
                      <a:pt x="60" y="212"/>
                    </a:lnTo>
                    <a:lnTo>
                      <a:pt x="84" y="248"/>
                    </a:lnTo>
                    <a:lnTo>
                      <a:pt x="80" y="282"/>
                    </a:lnTo>
                    <a:lnTo>
                      <a:pt x="86" y="320"/>
                    </a:lnTo>
                    <a:lnTo>
                      <a:pt x="90" y="340"/>
                    </a:lnTo>
                    <a:lnTo>
                      <a:pt x="100" y="366"/>
                    </a:lnTo>
                    <a:lnTo>
                      <a:pt x="98" y="436"/>
                    </a:lnTo>
                    <a:lnTo>
                      <a:pt x="112" y="444"/>
                    </a:lnTo>
                    <a:lnTo>
                      <a:pt x="108" y="488"/>
                    </a:lnTo>
                    <a:lnTo>
                      <a:pt x="118" y="514"/>
                    </a:lnTo>
                    <a:lnTo>
                      <a:pt x="136" y="510"/>
                    </a:lnTo>
                    <a:lnTo>
                      <a:pt x="146" y="488"/>
                    </a:lnTo>
                    <a:lnTo>
                      <a:pt x="168" y="492"/>
                    </a:lnTo>
                    <a:lnTo>
                      <a:pt x="194" y="510"/>
                    </a:lnTo>
                    <a:lnTo>
                      <a:pt x="192" y="542"/>
                    </a:lnTo>
                    <a:lnTo>
                      <a:pt x="212" y="560"/>
                    </a:lnTo>
                    <a:lnTo>
                      <a:pt x="240" y="568"/>
                    </a:lnTo>
                    <a:lnTo>
                      <a:pt x="238" y="596"/>
                    </a:lnTo>
                    <a:lnTo>
                      <a:pt x="254" y="628"/>
                    </a:lnTo>
                    <a:lnTo>
                      <a:pt x="272" y="632"/>
                    </a:lnTo>
                    <a:lnTo>
                      <a:pt x="274" y="666"/>
                    </a:lnTo>
                    <a:lnTo>
                      <a:pt x="302" y="692"/>
                    </a:lnTo>
                    <a:lnTo>
                      <a:pt x="308" y="722"/>
                    </a:lnTo>
                    <a:lnTo>
                      <a:pt x="328" y="734"/>
                    </a:lnTo>
                    <a:lnTo>
                      <a:pt x="346" y="726"/>
                    </a:lnTo>
                    <a:lnTo>
                      <a:pt x="370" y="724"/>
                    </a:lnTo>
                    <a:lnTo>
                      <a:pt x="388" y="706"/>
                    </a:lnTo>
                    <a:lnTo>
                      <a:pt x="404" y="678"/>
                    </a:lnTo>
                    <a:lnTo>
                      <a:pt x="392" y="670"/>
                    </a:lnTo>
                    <a:lnTo>
                      <a:pt x="386" y="636"/>
                    </a:lnTo>
                    <a:lnTo>
                      <a:pt x="406" y="618"/>
                    </a:lnTo>
                    <a:lnTo>
                      <a:pt x="412" y="594"/>
                    </a:lnTo>
                    <a:lnTo>
                      <a:pt x="432" y="578"/>
                    </a:lnTo>
                    <a:lnTo>
                      <a:pt x="438" y="542"/>
                    </a:lnTo>
                    <a:lnTo>
                      <a:pt x="468" y="540"/>
                    </a:lnTo>
                    <a:lnTo>
                      <a:pt x="474" y="516"/>
                    </a:lnTo>
                    <a:lnTo>
                      <a:pt x="490" y="512"/>
                    </a:lnTo>
                    <a:lnTo>
                      <a:pt x="502" y="546"/>
                    </a:lnTo>
                    <a:lnTo>
                      <a:pt x="516" y="572"/>
                    </a:lnTo>
                    <a:lnTo>
                      <a:pt x="536" y="560"/>
                    </a:lnTo>
                    <a:lnTo>
                      <a:pt x="566" y="564"/>
                    </a:lnTo>
                    <a:lnTo>
                      <a:pt x="572" y="582"/>
                    </a:lnTo>
                    <a:lnTo>
                      <a:pt x="600" y="604"/>
                    </a:lnTo>
                    <a:lnTo>
                      <a:pt x="616" y="592"/>
                    </a:lnTo>
                    <a:lnTo>
                      <a:pt x="646" y="588"/>
                    </a:lnTo>
                    <a:lnTo>
                      <a:pt x="664" y="570"/>
                    </a:lnTo>
                    <a:lnTo>
                      <a:pt x="650" y="554"/>
                    </a:lnTo>
                    <a:lnTo>
                      <a:pt x="628" y="546"/>
                    </a:lnTo>
                    <a:lnTo>
                      <a:pt x="626" y="524"/>
                    </a:lnTo>
                    <a:lnTo>
                      <a:pt x="668" y="518"/>
                    </a:lnTo>
                    <a:lnTo>
                      <a:pt x="704" y="508"/>
                    </a:lnTo>
                    <a:lnTo>
                      <a:pt x="718" y="488"/>
                    </a:lnTo>
                    <a:lnTo>
                      <a:pt x="748" y="488"/>
                    </a:lnTo>
                    <a:lnTo>
                      <a:pt x="742" y="446"/>
                    </a:lnTo>
                    <a:lnTo>
                      <a:pt x="770" y="446"/>
                    </a:lnTo>
                    <a:lnTo>
                      <a:pt x="788" y="468"/>
                    </a:lnTo>
                    <a:lnTo>
                      <a:pt x="816" y="464"/>
                    </a:lnTo>
                    <a:lnTo>
                      <a:pt x="822" y="494"/>
                    </a:lnTo>
                    <a:lnTo>
                      <a:pt x="850" y="508"/>
                    </a:lnTo>
                    <a:lnTo>
                      <a:pt x="860" y="526"/>
                    </a:lnTo>
                    <a:lnTo>
                      <a:pt x="870" y="530"/>
                    </a:lnTo>
                    <a:lnTo>
                      <a:pt x="890" y="524"/>
                    </a:lnTo>
                    <a:lnTo>
                      <a:pt x="900" y="514"/>
                    </a:lnTo>
                    <a:lnTo>
                      <a:pt x="900" y="466"/>
                    </a:lnTo>
                    <a:lnTo>
                      <a:pt x="900" y="444"/>
                    </a:lnTo>
                    <a:lnTo>
                      <a:pt x="872" y="432"/>
                    </a:lnTo>
                    <a:lnTo>
                      <a:pt x="858" y="412"/>
                    </a:lnTo>
                    <a:lnTo>
                      <a:pt x="842" y="386"/>
                    </a:lnTo>
                    <a:lnTo>
                      <a:pt x="836" y="370"/>
                    </a:lnTo>
                    <a:lnTo>
                      <a:pt x="842" y="354"/>
                    </a:lnTo>
                    <a:lnTo>
                      <a:pt x="850" y="334"/>
                    </a:lnTo>
                    <a:lnTo>
                      <a:pt x="884" y="334"/>
                    </a:lnTo>
                    <a:lnTo>
                      <a:pt x="902" y="314"/>
                    </a:lnTo>
                    <a:lnTo>
                      <a:pt x="924" y="306"/>
                    </a:lnTo>
                    <a:lnTo>
                      <a:pt x="940" y="294"/>
                    </a:lnTo>
                    <a:lnTo>
                      <a:pt x="952" y="286"/>
                    </a:lnTo>
                    <a:lnTo>
                      <a:pt x="962" y="268"/>
                    </a:lnTo>
                    <a:lnTo>
                      <a:pt x="952" y="240"/>
                    </a:lnTo>
                    <a:lnTo>
                      <a:pt x="954" y="208"/>
                    </a:lnTo>
                    <a:lnTo>
                      <a:pt x="950" y="204"/>
                    </a:lnTo>
                    <a:lnTo>
                      <a:pt x="914" y="206"/>
                    </a:lnTo>
                    <a:lnTo>
                      <a:pt x="904" y="214"/>
                    </a:lnTo>
                    <a:lnTo>
                      <a:pt x="866" y="210"/>
                    </a:lnTo>
                    <a:lnTo>
                      <a:pt x="866" y="198"/>
                    </a:lnTo>
                    <a:lnTo>
                      <a:pt x="842" y="184"/>
                    </a:lnTo>
                    <a:lnTo>
                      <a:pt x="804" y="190"/>
                    </a:lnTo>
                    <a:lnTo>
                      <a:pt x="786" y="182"/>
                    </a:lnTo>
                    <a:lnTo>
                      <a:pt x="770" y="156"/>
                    </a:lnTo>
                    <a:lnTo>
                      <a:pt x="734" y="156"/>
                    </a:lnTo>
                    <a:lnTo>
                      <a:pt x="708" y="156"/>
                    </a:lnTo>
                    <a:lnTo>
                      <a:pt x="706" y="136"/>
                    </a:lnTo>
                    <a:lnTo>
                      <a:pt x="692" y="130"/>
                    </a:lnTo>
                    <a:lnTo>
                      <a:pt x="678" y="134"/>
                    </a:lnTo>
                    <a:lnTo>
                      <a:pt x="662" y="144"/>
                    </a:lnTo>
                    <a:lnTo>
                      <a:pt x="656" y="152"/>
                    </a:lnTo>
                    <a:lnTo>
                      <a:pt x="636" y="136"/>
                    </a:lnTo>
                    <a:lnTo>
                      <a:pt x="632" y="122"/>
                    </a:lnTo>
                    <a:lnTo>
                      <a:pt x="616" y="130"/>
                    </a:lnTo>
                    <a:lnTo>
                      <a:pt x="590" y="132"/>
                    </a:lnTo>
                    <a:lnTo>
                      <a:pt x="584" y="142"/>
                    </a:lnTo>
                    <a:lnTo>
                      <a:pt x="576" y="162"/>
                    </a:lnTo>
                    <a:lnTo>
                      <a:pt x="548" y="166"/>
                    </a:lnTo>
                    <a:lnTo>
                      <a:pt x="534" y="156"/>
                    </a:lnTo>
                    <a:lnTo>
                      <a:pt x="520" y="120"/>
                    </a:lnTo>
                    <a:lnTo>
                      <a:pt x="518" y="88"/>
                    </a:lnTo>
                    <a:lnTo>
                      <a:pt x="500" y="82"/>
                    </a:lnTo>
                    <a:lnTo>
                      <a:pt x="476" y="50"/>
                    </a:lnTo>
                    <a:lnTo>
                      <a:pt x="438" y="48"/>
                    </a:lnTo>
                    <a:lnTo>
                      <a:pt x="432" y="32"/>
                    </a:lnTo>
                    <a:lnTo>
                      <a:pt x="408" y="22"/>
                    </a:lnTo>
                    <a:lnTo>
                      <a:pt x="408" y="6"/>
                    </a:lnTo>
                    <a:lnTo>
                      <a:pt x="388" y="0"/>
                    </a:lnTo>
                    <a:lnTo>
                      <a:pt x="368" y="10"/>
                    </a:lnTo>
                    <a:lnTo>
                      <a:pt x="362" y="5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112" name="Freeform 21"/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4029076" y="4565650"/>
                <a:ext cx="771525" cy="655638"/>
              </a:xfrm>
              <a:custGeom>
                <a:avLst/>
                <a:gdLst>
                  <a:gd name="T0" fmla="*/ 2147483647 w 471"/>
                  <a:gd name="T1" fmla="*/ 2147483647 h 417"/>
                  <a:gd name="T2" fmla="*/ 2147483647 w 471"/>
                  <a:gd name="T3" fmla="*/ 2147483647 h 417"/>
                  <a:gd name="T4" fmla="*/ 2147483647 w 471"/>
                  <a:gd name="T5" fmla="*/ 2147483647 h 417"/>
                  <a:gd name="T6" fmla="*/ 0 w 471"/>
                  <a:gd name="T7" fmla="*/ 2147483647 h 417"/>
                  <a:gd name="T8" fmla="*/ 2147483647 w 471"/>
                  <a:gd name="T9" fmla="*/ 2147483647 h 417"/>
                  <a:gd name="T10" fmla="*/ 2147483647 w 471"/>
                  <a:gd name="T11" fmla="*/ 2147483647 h 417"/>
                  <a:gd name="T12" fmla="*/ 2147483647 w 471"/>
                  <a:gd name="T13" fmla="*/ 2147483647 h 417"/>
                  <a:gd name="T14" fmla="*/ 2147483647 w 471"/>
                  <a:gd name="T15" fmla="*/ 2147483647 h 417"/>
                  <a:gd name="T16" fmla="*/ 2147483647 w 471"/>
                  <a:gd name="T17" fmla="*/ 2147483647 h 417"/>
                  <a:gd name="T18" fmla="*/ 2147483647 w 471"/>
                  <a:gd name="T19" fmla="*/ 2147483647 h 417"/>
                  <a:gd name="T20" fmla="*/ 2147483647 w 471"/>
                  <a:gd name="T21" fmla="*/ 2147483647 h 417"/>
                  <a:gd name="T22" fmla="*/ 2147483647 w 471"/>
                  <a:gd name="T23" fmla="*/ 2147483647 h 417"/>
                  <a:gd name="T24" fmla="*/ 2147483647 w 471"/>
                  <a:gd name="T25" fmla="*/ 2147483647 h 417"/>
                  <a:gd name="T26" fmla="*/ 2147483647 w 471"/>
                  <a:gd name="T27" fmla="*/ 2147483647 h 417"/>
                  <a:gd name="T28" fmla="*/ 2147483647 w 471"/>
                  <a:gd name="T29" fmla="*/ 2147483647 h 417"/>
                  <a:gd name="T30" fmla="*/ 2147483647 w 471"/>
                  <a:gd name="T31" fmla="*/ 2147483647 h 417"/>
                  <a:gd name="T32" fmla="*/ 2147483647 w 471"/>
                  <a:gd name="T33" fmla="*/ 2147483647 h 417"/>
                  <a:gd name="T34" fmla="*/ 2147483647 w 471"/>
                  <a:gd name="T35" fmla="*/ 2147483647 h 417"/>
                  <a:gd name="T36" fmla="*/ 2147483647 w 471"/>
                  <a:gd name="T37" fmla="*/ 2147483647 h 417"/>
                  <a:gd name="T38" fmla="*/ 2147483647 w 471"/>
                  <a:gd name="T39" fmla="*/ 2147483647 h 417"/>
                  <a:gd name="T40" fmla="*/ 2147483647 w 471"/>
                  <a:gd name="T41" fmla="*/ 2147483647 h 417"/>
                  <a:gd name="T42" fmla="*/ 2147483647 w 471"/>
                  <a:gd name="T43" fmla="*/ 2147483647 h 417"/>
                  <a:gd name="T44" fmla="*/ 2147483647 w 471"/>
                  <a:gd name="T45" fmla="*/ 2147483647 h 417"/>
                  <a:gd name="T46" fmla="*/ 2147483647 w 471"/>
                  <a:gd name="T47" fmla="*/ 2147483647 h 417"/>
                  <a:gd name="T48" fmla="*/ 2147483647 w 471"/>
                  <a:gd name="T49" fmla="*/ 2147483647 h 417"/>
                  <a:gd name="T50" fmla="*/ 2147483647 w 471"/>
                  <a:gd name="T51" fmla="*/ 2147483647 h 417"/>
                  <a:gd name="T52" fmla="*/ 2147483647 w 471"/>
                  <a:gd name="T53" fmla="*/ 2147483647 h 417"/>
                  <a:gd name="T54" fmla="*/ 2147483647 w 471"/>
                  <a:gd name="T55" fmla="*/ 2147483647 h 417"/>
                  <a:gd name="T56" fmla="*/ 2147483647 w 471"/>
                  <a:gd name="T57" fmla="*/ 0 h 417"/>
                  <a:gd name="T58" fmla="*/ 2147483647 w 471"/>
                  <a:gd name="T59" fmla="*/ 2147483647 h 417"/>
                  <a:gd name="T60" fmla="*/ 2147483647 w 471"/>
                  <a:gd name="T61" fmla="*/ 2147483647 h 417"/>
                  <a:gd name="T62" fmla="*/ 2147483647 w 471"/>
                  <a:gd name="T63" fmla="*/ 2147483647 h 417"/>
                  <a:gd name="T64" fmla="*/ 2147483647 w 471"/>
                  <a:gd name="T65" fmla="*/ 2147483647 h 417"/>
                  <a:gd name="T66" fmla="*/ 2147483647 w 471"/>
                  <a:gd name="T67" fmla="*/ 2147483647 h 417"/>
                  <a:gd name="T68" fmla="*/ 2147483647 w 471"/>
                  <a:gd name="T69" fmla="*/ 2147483647 h 417"/>
                  <a:gd name="T70" fmla="*/ 2147483647 w 471"/>
                  <a:gd name="T71" fmla="*/ 2147483647 h 417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71"/>
                  <a:gd name="T109" fmla="*/ 0 h 417"/>
                  <a:gd name="T110" fmla="*/ 471 w 471"/>
                  <a:gd name="T111" fmla="*/ 417 h 417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71" h="417">
                    <a:moveTo>
                      <a:pt x="138" y="146"/>
                    </a:moveTo>
                    <a:lnTo>
                      <a:pt x="138" y="164"/>
                    </a:lnTo>
                    <a:lnTo>
                      <a:pt x="108" y="180"/>
                    </a:lnTo>
                    <a:lnTo>
                      <a:pt x="64" y="178"/>
                    </a:lnTo>
                    <a:lnTo>
                      <a:pt x="44" y="176"/>
                    </a:lnTo>
                    <a:lnTo>
                      <a:pt x="16" y="180"/>
                    </a:lnTo>
                    <a:lnTo>
                      <a:pt x="2" y="200"/>
                    </a:lnTo>
                    <a:lnTo>
                      <a:pt x="0" y="246"/>
                    </a:lnTo>
                    <a:lnTo>
                      <a:pt x="12" y="268"/>
                    </a:lnTo>
                    <a:lnTo>
                      <a:pt x="26" y="260"/>
                    </a:lnTo>
                    <a:lnTo>
                      <a:pt x="24" y="244"/>
                    </a:lnTo>
                    <a:lnTo>
                      <a:pt x="48" y="242"/>
                    </a:lnTo>
                    <a:lnTo>
                      <a:pt x="64" y="248"/>
                    </a:lnTo>
                    <a:lnTo>
                      <a:pt x="76" y="274"/>
                    </a:lnTo>
                    <a:lnTo>
                      <a:pt x="68" y="294"/>
                    </a:lnTo>
                    <a:lnTo>
                      <a:pt x="62" y="316"/>
                    </a:lnTo>
                    <a:lnTo>
                      <a:pt x="68" y="342"/>
                    </a:lnTo>
                    <a:lnTo>
                      <a:pt x="70" y="412"/>
                    </a:lnTo>
                    <a:lnTo>
                      <a:pt x="96" y="416"/>
                    </a:lnTo>
                    <a:lnTo>
                      <a:pt x="96" y="398"/>
                    </a:lnTo>
                    <a:lnTo>
                      <a:pt x="122" y="394"/>
                    </a:lnTo>
                    <a:lnTo>
                      <a:pt x="148" y="392"/>
                    </a:lnTo>
                    <a:lnTo>
                      <a:pt x="152" y="414"/>
                    </a:lnTo>
                    <a:lnTo>
                      <a:pt x="198" y="416"/>
                    </a:lnTo>
                    <a:lnTo>
                      <a:pt x="202" y="390"/>
                    </a:lnTo>
                    <a:lnTo>
                      <a:pt x="218" y="376"/>
                    </a:lnTo>
                    <a:lnTo>
                      <a:pt x="240" y="378"/>
                    </a:lnTo>
                    <a:lnTo>
                      <a:pt x="268" y="360"/>
                    </a:lnTo>
                    <a:lnTo>
                      <a:pt x="272" y="344"/>
                    </a:lnTo>
                    <a:lnTo>
                      <a:pt x="290" y="344"/>
                    </a:lnTo>
                    <a:lnTo>
                      <a:pt x="300" y="368"/>
                    </a:lnTo>
                    <a:lnTo>
                      <a:pt x="334" y="368"/>
                    </a:lnTo>
                    <a:lnTo>
                      <a:pt x="344" y="384"/>
                    </a:lnTo>
                    <a:lnTo>
                      <a:pt x="358" y="378"/>
                    </a:lnTo>
                    <a:lnTo>
                      <a:pt x="374" y="354"/>
                    </a:lnTo>
                    <a:lnTo>
                      <a:pt x="378" y="342"/>
                    </a:lnTo>
                    <a:lnTo>
                      <a:pt x="410" y="346"/>
                    </a:lnTo>
                    <a:lnTo>
                      <a:pt x="418" y="334"/>
                    </a:lnTo>
                    <a:lnTo>
                      <a:pt x="438" y="328"/>
                    </a:lnTo>
                    <a:lnTo>
                      <a:pt x="440" y="306"/>
                    </a:lnTo>
                    <a:lnTo>
                      <a:pt x="470" y="296"/>
                    </a:lnTo>
                    <a:lnTo>
                      <a:pt x="466" y="276"/>
                    </a:lnTo>
                    <a:lnTo>
                      <a:pt x="456" y="270"/>
                    </a:lnTo>
                    <a:lnTo>
                      <a:pt x="462" y="236"/>
                    </a:lnTo>
                    <a:lnTo>
                      <a:pt x="468" y="212"/>
                    </a:lnTo>
                    <a:lnTo>
                      <a:pt x="448" y="208"/>
                    </a:lnTo>
                    <a:lnTo>
                      <a:pt x="434" y="206"/>
                    </a:lnTo>
                    <a:lnTo>
                      <a:pt x="430" y="184"/>
                    </a:lnTo>
                    <a:lnTo>
                      <a:pt x="458" y="170"/>
                    </a:lnTo>
                    <a:lnTo>
                      <a:pt x="456" y="118"/>
                    </a:lnTo>
                    <a:lnTo>
                      <a:pt x="454" y="96"/>
                    </a:lnTo>
                    <a:lnTo>
                      <a:pt x="434" y="74"/>
                    </a:lnTo>
                    <a:lnTo>
                      <a:pt x="412" y="80"/>
                    </a:lnTo>
                    <a:lnTo>
                      <a:pt x="402" y="62"/>
                    </a:lnTo>
                    <a:lnTo>
                      <a:pt x="376" y="50"/>
                    </a:lnTo>
                    <a:lnTo>
                      <a:pt x="370" y="14"/>
                    </a:lnTo>
                    <a:lnTo>
                      <a:pt x="340" y="20"/>
                    </a:lnTo>
                    <a:lnTo>
                      <a:pt x="322" y="0"/>
                    </a:lnTo>
                    <a:lnTo>
                      <a:pt x="286" y="0"/>
                    </a:lnTo>
                    <a:lnTo>
                      <a:pt x="294" y="40"/>
                    </a:lnTo>
                    <a:lnTo>
                      <a:pt x="264" y="40"/>
                    </a:lnTo>
                    <a:lnTo>
                      <a:pt x="246" y="64"/>
                    </a:lnTo>
                    <a:lnTo>
                      <a:pt x="196" y="72"/>
                    </a:lnTo>
                    <a:lnTo>
                      <a:pt x="176" y="76"/>
                    </a:lnTo>
                    <a:lnTo>
                      <a:pt x="174" y="102"/>
                    </a:lnTo>
                    <a:lnTo>
                      <a:pt x="188" y="114"/>
                    </a:lnTo>
                    <a:lnTo>
                      <a:pt x="200" y="116"/>
                    </a:lnTo>
                    <a:lnTo>
                      <a:pt x="206" y="126"/>
                    </a:lnTo>
                    <a:lnTo>
                      <a:pt x="188" y="140"/>
                    </a:lnTo>
                    <a:lnTo>
                      <a:pt x="164" y="140"/>
                    </a:lnTo>
                    <a:lnTo>
                      <a:pt x="152" y="152"/>
                    </a:lnTo>
                    <a:lnTo>
                      <a:pt x="138" y="14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113" name="Freeform 22"/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3198814" y="4576763"/>
                <a:ext cx="1166812" cy="1135062"/>
              </a:xfrm>
              <a:custGeom>
                <a:avLst/>
                <a:gdLst>
                  <a:gd name="T0" fmla="*/ 2147483647 w 709"/>
                  <a:gd name="T1" fmla="*/ 2147483647 h 721"/>
                  <a:gd name="T2" fmla="*/ 2147483647 w 709"/>
                  <a:gd name="T3" fmla="*/ 2147483647 h 721"/>
                  <a:gd name="T4" fmla="*/ 2147483647 w 709"/>
                  <a:gd name="T5" fmla="*/ 2147483647 h 721"/>
                  <a:gd name="T6" fmla="*/ 2147483647 w 709"/>
                  <a:gd name="T7" fmla="*/ 2147483647 h 721"/>
                  <a:gd name="T8" fmla="*/ 2147483647 w 709"/>
                  <a:gd name="T9" fmla="*/ 2147483647 h 721"/>
                  <a:gd name="T10" fmla="*/ 2147483647 w 709"/>
                  <a:gd name="T11" fmla="*/ 2147483647 h 721"/>
                  <a:gd name="T12" fmla="*/ 2147483647 w 709"/>
                  <a:gd name="T13" fmla="*/ 2147483647 h 721"/>
                  <a:gd name="T14" fmla="*/ 2147483647 w 709"/>
                  <a:gd name="T15" fmla="*/ 2147483647 h 721"/>
                  <a:gd name="T16" fmla="*/ 2147483647 w 709"/>
                  <a:gd name="T17" fmla="*/ 2147483647 h 721"/>
                  <a:gd name="T18" fmla="*/ 2147483647 w 709"/>
                  <a:gd name="T19" fmla="*/ 2147483647 h 721"/>
                  <a:gd name="T20" fmla="*/ 2147483647 w 709"/>
                  <a:gd name="T21" fmla="*/ 2147483647 h 721"/>
                  <a:gd name="T22" fmla="*/ 2147483647 w 709"/>
                  <a:gd name="T23" fmla="*/ 2147483647 h 721"/>
                  <a:gd name="T24" fmla="*/ 2147483647 w 709"/>
                  <a:gd name="T25" fmla="*/ 2147483647 h 721"/>
                  <a:gd name="T26" fmla="*/ 2147483647 w 709"/>
                  <a:gd name="T27" fmla="*/ 2147483647 h 721"/>
                  <a:gd name="T28" fmla="*/ 2147483647 w 709"/>
                  <a:gd name="T29" fmla="*/ 2147483647 h 721"/>
                  <a:gd name="T30" fmla="*/ 2147483647 w 709"/>
                  <a:gd name="T31" fmla="*/ 2147483647 h 721"/>
                  <a:gd name="T32" fmla="*/ 2147483647 w 709"/>
                  <a:gd name="T33" fmla="*/ 2147483647 h 721"/>
                  <a:gd name="T34" fmla="*/ 2147483647 w 709"/>
                  <a:gd name="T35" fmla="*/ 2147483647 h 721"/>
                  <a:gd name="T36" fmla="*/ 2147483647 w 709"/>
                  <a:gd name="T37" fmla="*/ 2147483647 h 721"/>
                  <a:gd name="T38" fmla="*/ 2147483647 w 709"/>
                  <a:gd name="T39" fmla="*/ 2147483647 h 721"/>
                  <a:gd name="T40" fmla="*/ 2147483647 w 709"/>
                  <a:gd name="T41" fmla="*/ 2147483647 h 721"/>
                  <a:gd name="T42" fmla="*/ 2147483647 w 709"/>
                  <a:gd name="T43" fmla="*/ 2147483647 h 721"/>
                  <a:gd name="T44" fmla="*/ 2147483647 w 709"/>
                  <a:gd name="T45" fmla="*/ 2147483647 h 721"/>
                  <a:gd name="T46" fmla="*/ 2147483647 w 709"/>
                  <a:gd name="T47" fmla="*/ 2147483647 h 721"/>
                  <a:gd name="T48" fmla="*/ 2147483647 w 709"/>
                  <a:gd name="T49" fmla="*/ 2147483647 h 721"/>
                  <a:gd name="T50" fmla="*/ 2147483647 w 709"/>
                  <a:gd name="T51" fmla="*/ 2147483647 h 721"/>
                  <a:gd name="T52" fmla="*/ 2147483647 w 709"/>
                  <a:gd name="T53" fmla="*/ 2147483647 h 721"/>
                  <a:gd name="T54" fmla="*/ 2147483647 w 709"/>
                  <a:gd name="T55" fmla="*/ 2147483647 h 721"/>
                  <a:gd name="T56" fmla="*/ 2147483647 w 709"/>
                  <a:gd name="T57" fmla="*/ 2147483647 h 721"/>
                  <a:gd name="T58" fmla="*/ 2147483647 w 709"/>
                  <a:gd name="T59" fmla="*/ 2147483647 h 721"/>
                  <a:gd name="T60" fmla="*/ 2147483647 w 709"/>
                  <a:gd name="T61" fmla="*/ 2147483647 h 721"/>
                  <a:gd name="T62" fmla="*/ 2147483647 w 709"/>
                  <a:gd name="T63" fmla="*/ 2147483647 h 721"/>
                  <a:gd name="T64" fmla="*/ 2147483647 w 709"/>
                  <a:gd name="T65" fmla="*/ 2147483647 h 721"/>
                  <a:gd name="T66" fmla="*/ 2147483647 w 709"/>
                  <a:gd name="T67" fmla="*/ 2147483647 h 721"/>
                  <a:gd name="T68" fmla="*/ 2147483647 w 709"/>
                  <a:gd name="T69" fmla="*/ 2147483647 h 721"/>
                  <a:gd name="T70" fmla="*/ 2147483647 w 709"/>
                  <a:gd name="T71" fmla="*/ 2147483647 h 721"/>
                  <a:gd name="T72" fmla="*/ 2147483647 w 709"/>
                  <a:gd name="T73" fmla="*/ 2147483647 h 721"/>
                  <a:gd name="T74" fmla="*/ 2147483647 w 709"/>
                  <a:gd name="T75" fmla="*/ 2147483647 h 721"/>
                  <a:gd name="T76" fmla="*/ 2147483647 w 709"/>
                  <a:gd name="T77" fmla="*/ 2147483647 h 721"/>
                  <a:gd name="T78" fmla="*/ 2147483647 w 709"/>
                  <a:gd name="T79" fmla="*/ 2147483647 h 721"/>
                  <a:gd name="T80" fmla="*/ 2147483647 w 709"/>
                  <a:gd name="T81" fmla="*/ 2147483647 h 721"/>
                  <a:gd name="T82" fmla="*/ 2147483647 w 709"/>
                  <a:gd name="T83" fmla="*/ 2147483647 h 721"/>
                  <a:gd name="T84" fmla="*/ 2147483647 w 709"/>
                  <a:gd name="T85" fmla="*/ 0 h 721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09"/>
                  <a:gd name="T130" fmla="*/ 0 h 721"/>
                  <a:gd name="T131" fmla="*/ 709 w 709"/>
                  <a:gd name="T132" fmla="*/ 721 h 721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09" h="721">
                    <a:moveTo>
                      <a:pt x="170" y="0"/>
                    </a:moveTo>
                    <a:lnTo>
                      <a:pt x="138" y="4"/>
                    </a:lnTo>
                    <a:lnTo>
                      <a:pt x="124" y="14"/>
                    </a:lnTo>
                    <a:lnTo>
                      <a:pt x="120" y="66"/>
                    </a:lnTo>
                    <a:lnTo>
                      <a:pt x="88" y="74"/>
                    </a:lnTo>
                    <a:lnTo>
                      <a:pt x="78" y="130"/>
                    </a:lnTo>
                    <a:lnTo>
                      <a:pt x="98" y="142"/>
                    </a:lnTo>
                    <a:lnTo>
                      <a:pt x="124" y="160"/>
                    </a:lnTo>
                    <a:lnTo>
                      <a:pt x="120" y="230"/>
                    </a:lnTo>
                    <a:lnTo>
                      <a:pt x="118" y="270"/>
                    </a:lnTo>
                    <a:lnTo>
                      <a:pt x="98" y="290"/>
                    </a:lnTo>
                    <a:lnTo>
                      <a:pt x="76" y="298"/>
                    </a:lnTo>
                    <a:lnTo>
                      <a:pt x="54" y="308"/>
                    </a:lnTo>
                    <a:lnTo>
                      <a:pt x="44" y="332"/>
                    </a:lnTo>
                    <a:lnTo>
                      <a:pt x="40" y="358"/>
                    </a:lnTo>
                    <a:lnTo>
                      <a:pt x="0" y="384"/>
                    </a:lnTo>
                    <a:lnTo>
                      <a:pt x="0" y="406"/>
                    </a:lnTo>
                    <a:lnTo>
                      <a:pt x="18" y="432"/>
                    </a:lnTo>
                    <a:lnTo>
                      <a:pt x="10" y="446"/>
                    </a:lnTo>
                    <a:lnTo>
                      <a:pt x="10" y="462"/>
                    </a:lnTo>
                    <a:lnTo>
                      <a:pt x="20" y="470"/>
                    </a:lnTo>
                    <a:lnTo>
                      <a:pt x="38" y="468"/>
                    </a:lnTo>
                    <a:lnTo>
                      <a:pt x="42" y="458"/>
                    </a:lnTo>
                    <a:lnTo>
                      <a:pt x="64" y="456"/>
                    </a:lnTo>
                    <a:lnTo>
                      <a:pt x="72" y="442"/>
                    </a:lnTo>
                    <a:lnTo>
                      <a:pt x="86" y="452"/>
                    </a:lnTo>
                    <a:lnTo>
                      <a:pt x="100" y="478"/>
                    </a:lnTo>
                    <a:lnTo>
                      <a:pt x="122" y="524"/>
                    </a:lnTo>
                    <a:lnTo>
                      <a:pt x="134" y="554"/>
                    </a:lnTo>
                    <a:lnTo>
                      <a:pt x="162" y="558"/>
                    </a:lnTo>
                    <a:lnTo>
                      <a:pt x="166" y="578"/>
                    </a:lnTo>
                    <a:lnTo>
                      <a:pt x="156" y="588"/>
                    </a:lnTo>
                    <a:lnTo>
                      <a:pt x="150" y="614"/>
                    </a:lnTo>
                    <a:lnTo>
                      <a:pt x="160" y="636"/>
                    </a:lnTo>
                    <a:lnTo>
                      <a:pt x="196" y="646"/>
                    </a:lnTo>
                    <a:lnTo>
                      <a:pt x="216" y="650"/>
                    </a:lnTo>
                    <a:lnTo>
                      <a:pt x="220" y="670"/>
                    </a:lnTo>
                    <a:lnTo>
                      <a:pt x="230" y="686"/>
                    </a:lnTo>
                    <a:lnTo>
                      <a:pt x="252" y="684"/>
                    </a:lnTo>
                    <a:lnTo>
                      <a:pt x="254" y="668"/>
                    </a:lnTo>
                    <a:lnTo>
                      <a:pt x="288" y="668"/>
                    </a:lnTo>
                    <a:lnTo>
                      <a:pt x="310" y="694"/>
                    </a:lnTo>
                    <a:lnTo>
                      <a:pt x="320" y="710"/>
                    </a:lnTo>
                    <a:lnTo>
                      <a:pt x="336" y="720"/>
                    </a:lnTo>
                    <a:lnTo>
                      <a:pt x="348" y="710"/>
                    </a:lnTo>
                    <a:lnTo>
                      <a:pt x="364" y="690"/>
                    </a:lnTo>
                    <a:lnTo>
                      <a:pt x="358" y="664"/>
                    </a:lnTo>
                    <a:lnTo>
                      <a:pt x="338" y="642"/>
                    </a:lnTo>
                    <a:lnTo>
                      <a:pt x="344" y="618"/>
                    </a:lnTo>
                    <a:lnTo>
                      <a:pt x="358" y="604"/>
                    </a:lnTo>
                    <a:lnTo>
                      <a:pt x="414" y="600"/>
                    </a:lnTo>
                    <a:lnTo>
                      <a:pt x="426" y="584"/>
                    </a:lnTo>
                    <a:lnTo>
                      <a:pt x="472" y="584"/>
                    </a:lnTo>
                    <a:lnTo>
                      <a:pt x="500" y="596"/>
                    </a:lnTo>
                    <a:lnTo>
                      <a:pt x="544" y="592"/>
                    </a:lnTo>
                    <a:lnTo>
                      <a:pt x="552" y="576"/>
                    </a:lnTo>
                    <a:lnTo>
                      <a:pt x="590" y="576"/>
                    </a:lnTo>
                    <a:lnTo>
                      <a:pt x="620" y="546"/>
                    </a:lnTo>
                    <a:lnTo>
                      <a:pt x="630" y="534"/>
                    </a:lnTo>
                    <a:lnTo>
                      <a:pt x="658" y="534"/>
                    </a:lnTo>
                    <a:lnTo>
                      <a:pt x="672" y="516"/>
                    </a:lnTo>
                    <a:lnTo>
                      <a:pt x="688" y="514"/>
                    </a:lnTo>
                    <a:lnTo>
                      <a:pt x="706" y="506"/>
                    </a:lnTo>
                    <a:lnTo>
                      <a:pt x="708" y="478"/>
                    </a:lnTo>
                    <a:lnTo>
                      <a:pt x="698" y="468"/>
                    </a:lnTo>
                    <a:lnTo>
                      <a:pt x="644" y="466"/>
                    </a:lnTo>
                    <a:lnTo>
                      <a:pt x="628" y="458"/>
                    </a:lnTo>
                    <a:lnTo>
                      <a:pt x="628" y="442"/>
                    </a:lnTo>
                    <a:lnTo>
                      <a:pt x="606" y="436"/>
                    </a:lnTo>
                    <a:lnTo>
                      <a:pt x="580" y="440"/>
                    </a:lnTo>
                    <a:lnTo>
                      <a:pt x="574" y="418"/>
                    </a:lnTo>
                    <a:lnTo>
                      <a:pt x="576" y="380"/>
                    </a:lnTo>
                    <a:lnTo>
                      <a:pt x="574" y="330"/>
                    </a:lnTo>
                    <a:lnTo>
                      <a:pt x="568" y="310"/>
                    </a:lnTo>
                    <a:lnTo>
                      <a:pt x="584" y="264"/>
                    </a:lnTo>
                    <a:lnTo>
                      <a:pt x="570" y="236"/>
                    </a:lnTo>
                    <a:lnTo>
                      <a:pt x="548" y="228"/>
                    </a:lnTo>
                    <a:lnTo>
                      <a:pt x="528" y="230"/>
                    </a:lnTo>
                    <a:lnTo>
                      <a:pt x="522" y="234"/>
                    </a:lnTo>
                    <a:lnTo>
                      <a:pt x="526" y="254"/>
                    </a:lnTo>
                    <a:lnTo>
                      <a:pt x="514" y="252"/>
                    </a:lnTo>
                    <a:lnTo>
                      <a:pt x="502" y="224"/>
                    </a:lnTo>
                    <a:lnTo>
                      <a:pt x="508" y="214"/>
                    </a:lnTo>
                    <a:lnTo>
                      <a:pt x="510" y="184"/>
                    </a:lnTo>
                    <a:lnTo>
                      <a:pt x="526" y="174"/>
                    </a:lnTo>
                    <a:lnTo>
                      <a:pt x="554" y="170"/>
                    </a:lnTo>
                    <a:lnTo>
                      <a:pt x="590" y="174"/>
                    </a:lnTo>
                    <a:lnTo>
                      <a:pt x="616" y="178"/>
                    </a:lnTo>
                    <a:lnTo>
                      <a:pt x="646" y="158"/>
                    </a:lnTo>
                    <a:lnTo>
                      <a:pt x="646" y="142"/>
                    </a:lnTo>
                    <a:lnTo>
                      <a:pt x="634" y="134"/>
                    </a:lnTo>
                    <a:lnTo>
                      <a:pt x="624" y="108"/>
                    </a:lnTo>
                    <a:lnTo>
                      <a:pt x="584" y="102"/>
                    </a:lnTo>
                    <a:lnTo>
                      <a:pt x="572" y="114"/>
                    </a:lnTo>
                    <a:lnTo>
                      <a:pt x="544" y="56"/>
                    </a:lnTo>
                    <a:lnTo>
                      <a:pt x="532" y="56"/>
                    </a:lnTo>
                    <a:lnTo>
                      <a:pt x="524" y="68"/>
                    </a:lnTo>
                    <a:lnTo>
                      <a:pt x="518" y="84"/>
                    </a:lnTo>
                    <a:lnTo>
                      <a:pt x="484" y="88"/>
                    </a:lnTo>
                    <a:lnTo>
                      <a:pt x="484" y="116"/>
                    </a:lnTo>
                    <a:lnTo>
                      <a:pt x="460" y="142"/>
                    </a:lnTo>
                    <a:lnTo>
                      <a:pt x="456" y="164"/>
                    </a:lnTo>
                    <a:lnTo>
                      <a:pt x="438" y="180"/>
                    </a:lnTo>
                    <a:lnTo>
                      <a:pt x="440" y="208"/>
                    </a:lnTo>
                    <a:lnTo>
                      <a:pt x="448" y="228"/>
                    </a:lnTo>
                    <a:lnTo>
                      <a:pt x="446" y="236"/>
                    </a:lnTo>
                    <a:lnTo>
                      <a:pt x="428" y="262"/>
                    </a:lnTo>
                    <a:lnTo>
                      <a:pt x="412" y="268"/>
                    </a:lnTo>
                    <a:lnTo>
                      <a:pt x="396" y="270"/>
                    </a:lnTo>
                    <a:lnTo>
                      <a:pt x="376" y="276"/>
                    </a:lnTo>
                    <a:lnTo>
                      <a:pt x="362" y="262"/>
                    </a:lnTo>
                    <a:lnTo>
                      <a:pt x="362" y="238"/>
                    </a:lnTo>
                    <a:lnTo>
                      <a:pt x="330" y="210"/>
                    </a:lnTo>
                    <a:lnTo>
                      <a:pt x="328" y="180"/>
                    </a:lnTo>
                    <a:lnTo>
                      <a:pt x="324" y="174"/>
                    </a:lnTo>
                    <a:lnTo>
                      <a:pt x="312" y="174"/>
                    </a:lnTo>
                    <a:lnTo>
                      <a:pt x="292" y="136"/>
                    </a:lnTo>
                    <a:lnTo>
                      <a:pt x="296" y="112"/>
                    </a:lnTo>
                    <a:lnTo>
                      <a:pt x="264" y="102"/>
                    </a:lnTo>
                    <a:lnTo>
                      <a:pt x="248" y="88"/>
                    </a:lnTo>
                    <a:lnTo>
                      <a:pt x="250" y="80"/>
                    </a:lnTo>
                    <a:lnTo>
                      <a:pt x="252" y="56"/>
                    </a:lnTo>
                    <a:lnTo>
                      <a:pt x="226" y="38"/>
                    </a:lnTo>
                    <a:lnTo>
                      <a:pt x="196" y="32"/>
                    </a:lnTo>
                    <a:lnTo>
                      <a:pt x="184" y="54"/>
                    </a:lnTo>
                    <a:lnTo>
                      <a:pt x="176" y="52"/>
                    </a:lnTo>
                    <a:lnTo>
                      <a:pt x="172" y="54"/>
                    </a:lnTo>
                    <a:lnTo>
                      <a:pt x="164" y="28"/>
                    </a:lnTo>
                    <a:lnTo>
                      <a:pt x="170" y="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114" name="Freeform 23"/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4137026" y="4968877"/>
                <a:ext cx="1014413" cy="701675"/>
              </a:xfrm>
              <a:custGeom>
                <a:avLst/>
                <a:gdLst>
                  <a:gd name="T0" fmla="*/ 2147483647 w 619"/>
                  <a:gd name="T1" fmla="*/ 2147483647 h 445"/>
                  <a:gd name="T2" fmla="*/ 2147483647 w 619"/>
                  <a:gd name="T3" fmla="*/ 2147483647 h 445"/>
                  <a:gd name="T4" fmla="*/ 2147483647 w 619"/>
                  <a:gd name="T5" fmla="*/ 2147483647 h 445"/>
                  <a:gd name="T6" fmla="*/ 2147483647 w 619"/>
                  <a:gd name="T7" fmla="*/ 2147483647 h 445"/>
                  <a:gd name="T8" fmla="*/ 2147483647 w 619"/>
                  <a:gd name="T9" fmla="*/ 2147483647 h 445"/>
                  <a:gd name="T10" fmla="*/ 2147483647 w 619"/>
                  <a:gd name="T11" fmla="*/ 2147483647 h 445"/>
                  <a:gd name="T12" fmla="*/ 2147483647 w 619"/>
                  <a:gd name="T13" fmla="*/ 2147483647 h 445"/>
                  <a:gd name="T14" fmla="*/ 2147483647 w 619"/>
                  <a:gd name="T15" fmla="*/ 2147483647 h 445"/>
                  <a:gd name="T16" fmla="*/ 2147483647 w 619"/>
                  <a:gd name="T17" fmla="*/ 2147483647 h 445"/>
                  <a:gd name="T18" fmla="*/ 2147483647 w 619"/>
                  <a:gd name="T19" fmla="*/ 2147483647 h 445"/>
                  <a:gd name="T20" fmla="*/ 2147483647 w 619"/>
                  <a:gd name="T21" fmla="*/ 2147483647 h 445"/>
                  <a:gd name="T22" fmla="*/ 2147483647 w 619"/>
                  <a:gd name="T23" fmla="*/ 2147483647 h 445"/>
                  <a:gd name="T24" fmla="*/ 2147483647 w 619"/>
                  <a:gd name="T25" fmla="*/ 2147483647 h 445"/>
                  <a:gd name="T26" fmla="*/ 2147483647 w 619"/>
                  <a:gd name="T27" fmla="*/ 2147483647 h 445"/>
                  <a:gd name="T28" fmla="*/ 2147483647 w 619"/>
                  <a:gd name="T29" fmla="*/ 2147483647 h 445"/>
                  <a:gd name="T30" fmla="*/ 2147483647 w 619"/>
                  <a:gd name="T31" fmla="*/ 2147483647 h 445"/>
                  <a:gd name="T32" fmla="*/ 2147483647 w 619"/>
                  <a:gd name="T33" fmla="*/ 2147483647 h 445"/>
                  <a:gd name="T34" fmla="*/ 2147483647 w 619"/>
                  <a:gd name="T35" fmla="*/ 2147483647 h 445"/>
                  <a:gd name="T36" fmla="*/ 2147483647 w 619"/>
                  <a:gd name="T37" fmla="*/ 2147483647 h 445"/>
                  <a:gd name="T38" fmla="*/ 2147483647 w 619"/>
                  <a:gd name="T39" fmla="*/ 2147483647 h 445"/>
                  <a:gd name="T40" fmla="*/ 2147483647 w 619"/>
                  <a:gd name="T41" fmla="*/ 0 h 445"/>
                  <a:gd name="T42" fmla="*/ 2147483647 w 619"/>
                  <a:gd name="T43" fmla="*/ 2147483647 h 445"/>
                  <a:gd name="T44" fmla="*/ 2147483647 w 619"/>
                  <a:gd name="T45" fmla="*/ 2147483647 h 445"/>
                  <a:gd name="T46" fmla="*/ 2147483647 w 619"/>
                  <a:gd name="T47" fmla="*/ 2147483647 h 445"/>
                  <a:gd name="T48" fmla="*/ 2147483647 w 619"/>
                  <a:gd name="T49" fmla="*/ 2147483647 h 445"/>
                  <a:gd name="T50" fmla="*/ 2147483647 w 619"/>
                  <a:gd name="T51" fmla="*/ 2147483647 h 445"/>
                  <a:gd name="T52" fmla="*/ 2147483647 w 619"/>
                  <a:gd name="T53" fmla="*/ 2147483647 h 445"/>
                  <a:gd name="T54" fmla="*/ 2147483647 w 619"/>
                  <a:gd name="T55" fmla="*/ 2147483647 h 445"/>
                  <a:gd name="T56" fmla="*/ 2147483647 w 619"/>
                  <a:gd name="T57" fmla="*/ 2147483647 h 445"/>
                  <a:gd name="T58" fmla="*/ 2147483647 w 619"/>
                  <a:gd name="T59" fmla="*/ 2147483647 h 445"/>
                  <a:gd name="T60" fmla="*/ 2147483647 w 619"/>
                  <a:gd name="T61" fmla="*/ 2147483647 h 445"/>
                  <a:gd name="T62" fmla="*/ 2147483647 w 619"/>
                  <a:gd name="T63" fmla="*/ 2147483647 h 445"/>
                  <a:gd name="T64" fmla="*/ 2147483647 w 619"/>
                  <a:gd name="T65" fmla="*/ 2147483647 h 445"/>
                  <a:gd name="T66" fmla="*/ 2147483647 w 619"/>
                  <a:gd name="T67" fmla="*/ 2147483647 h 445"/>
                  <a:gd name="T68" fmla="*/ 2147483647 w 619"/>
                  <a:gd name="T69" fmla="*/ 2147483647 h 445"/>
                  <a:gd name="T70" fmla="*/ 2147483647 w 619"/>
                  <a:gd name="T71" fmla="*/ 2147483647 h 445"/>
                  <a:gd name="T72" fmla="*/ 0 w 619"/>
                  <a:gd name="T73" fmla="*/ 2147483647 h 445"/>
                  <a:gd name="T74" fmla="*/ 2147483647 w 619"/>
                  <a:gd name="T75" fmla="*/ 2147483647 h 445"/>
                  <a:gd name="T76" fmla="*/ 2147483647 w 619"/>
                  <a:gd name="T77" fmla="*/ 2147483647 h 445"/>
                  <a:gd name="T78" fmla="*/ 2147483647 w 619"/>
                  <a:gd name="T79" fmla="*/ 2147483647 h 445"/>
                  <a:gd name="T80" fmla="*/ 2147483647 w 619"/>
                  <a:gd name="T81" fmla="*/ 2147483647 h 445"/>
                  <a:gd name="T82" fmla="*/ 2147483647 w 619"/>
                  <a:gd name="T83" fmla="*/ 2147483647 h 445"/>
                  <a:gd name="T84" fmla="*/ 2147483647 w 619"/>
                  <a:gd name="T85" fmla="*/ 2147483647 h 44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619"/>
                  <a:gd name="T130" fmla="*/ 0 h 445"/>
                  <a:gd name="T131" fmla="*/ 619 w 619"/>
                  <a:gd name="T132" fmla="*/ 445 h 445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619" h="445">
                    <a:moveTo>
                      <a:pt x="84" y="282"/>
                    </a:moveTo>
                    <a:lnTo>
                      <a:pt x="98" y="304"/>
                    </a:lnTo>
                    <a:lnTo>
                      <a:pt x="118" y="312"/>
                    </a:lnTo>
                    <a:lnTo>
                      <a:pt x="134" y="314"/>
                    </a:lnTo>
                    <a:lnTo>
                      <a:pt x="136" y="324"/>
                    </a:lnTo>
                    <a:lnTo>
                      <a:pt x="168" y="324"/>
                    </a:lnTo>
                    <a:lnTo>
                      <a:pt x="178" y="348"/>
                    </a:lnTo>
                    <a:lnTo>
                      <a:pt x="178" y="390"/>
                    </a:lnTo>
                    <a:lnTo>
                      <a:pt x="208" y="402"/>
                    </a:lnTo>
                    <a:lnTo>
                      <a:pt x="218" y="418"/>
                    </a:lnTo>
                    <a:lnTo>
                      <a:pt x="252" y="416"/>
                    </a:lnTo>
                    <a:lnTo>
                      <a:pt x="268" y="430"/>
                    </a:lnTo>
                    <a:lnTo>
                      <a:pt x="290" y="442"/>
                    </a:lnTo>
                    <a:lnTo>
                      <a:pt x="306" y="436"/>
                    </a:lnTo>
                    <a:lnTo>
                      <a:pt x="318" y="418"/>
                    </a:lnTo>
                    <a:lnTo>
                      <a:pt x="330" y="406"/>
                    </a:lnTo>
                    <a:lnTo>
                      <a:pt x="360" y="410"/>
                    </a:lnTo>
                    <a:lnTo>
                      <a:pt x="378" y="430"/>
                    </a:lnTo>
                    <a:lnTo>
                      <a:pt x="392" y="442"/>
                    </a:lnTo>
                    <a:lnTo>
                      <a:pt x="412" y="444"/>
                    </a:lnTo>
                    <a:lnTo>
                      <a:pt x="434" y="422"/>
                    </a:lnTo>
                    <a:lnTo>
                      <a:pt x="452" y="410"/>
                    </a:lnTo>
                    <a:lnTo>
                      <a:pt x="470" y="398"/>
                    </a:lnTo>
                    <a:lnTo>
                      <a:pt x="482" y="372"/>
                    </a:lnTo>
                    <a:lnTo>
                      <a:pt x="518" y="350"/>
                    </a:lnTo>
                    <a:lnTo>
                      <a:pt x="518" y="324"/>
                    </a:lnTo>
                    <a:lnTo>
                      <a:pt x="546" y="318"/>
                    </a:lnTo>
                    <a:lnTo>
                      <a:pt x="560" y="306"/>
                    </a:lnTo>
                    <a:lnTo>
                      <a:pt x="558" y="286"/>
                    </a:lnTo>
                    <a:lnTo>
                      <a:pt x="564" y="266"/>
                    </a:lnTo>
                    <a:lnTo>
                      <a:pt x="578" y="256"/>
                    </a:lnTo>
                    <a:lnTo>
                      <a:pt x="588" y="226"/>
                    </a:lnTo>
                    <a:lnTo>
                      <a:pt x="616" y="196"/>
                    </a:lnTo>
                    <a:lnTo>
                      <a:pt x="618" y="172"/>
                    </a:lnTo>
                    <a:lnTo>
                      <a:pt x="604" y="144"/>
                    </a:lnTo>
                    <a:lnTo>
                      <a:pt x="572" y="144"/>
                    </a:lnTo>
                    <a:lnTo>
                      <a:pt x="564" y="120"/>
                    </a:lnTo>
                    <a:lnTo>
                      <a:pt x="532" y="120"/>
                    </a:lnTo>
                    <a:lnTo>
                      <a:pt x="538" y="92"/>
                    </a:lnTo>
                    <a:lnTo>
                      <a:pt x="560" y="68"/>
                    </a:lnTo>
                    <a:lnTo>
                      <a:pt x="556" y="38"/>
                    </a:lnTo>
                    <a:lnTo>
                      <a:pt x="540" y="0"/>
                    </a:lnTo>
                    <a:lnTo>
                      <a:pt x="518" y="6"/>
                    </a:lnTo>
                    <a:lnTo>
                      <a:pt x="498" y="20"/>
                    </a:lnTo>
                    <a:lnTo>
                      <a:pt x="484" y="24"/>
                    </a:lnTo>
                    <a:lnTo>
                      <a:pt x="450" y="32"/>
                    </a:lnTo>
                    <a:lnTo>
                      <a:pt x="422" y="44"/>
                    </a:lnTo>
                    <a:lnTo>
                      <a:pt x="396" y="32"/>
                    </a:lnTo>
                    <a:lnTo>
                      <a:pt x="378" y="42"/>
                    </a:lnTo>
                    <a:lnTo>
                      <a:pt x="372" y="44"/>
                    </a:lnTo>
                    <a:lnTo>
                      <a:pt x="370" y="66"/>
                    </a:lnTo>
                    <a:lnTo>
                      <a:pt x="344" y="70"/>
                    </a:lnTo>
                    <a:lnTo>
                      <a:pt x="338" y="82"/>
                    </a:lnTo>
                    <a:lnTo>
                      <a:pt x="308" y="78"/>
                    </a:lnTo>
                    <a:lnTo>
                      <a:pt x="300" y="100"/>
                    </a:lnTo>
                    <a:lnTo>
                      <a:pt x="282" y="122"/>
                    </a:lnTo>
                    <a:lnTo>
                      <a:pt x="270" y="106"/>
                    </a:lnTo>
                    <a:lnTo>
                      <a:pt x="238" y="104"/>
                    </a:lnTo>
                    <a:lnTo>
                      <a:pt x="232" y="94"/>
                    </a:lnTo>
                    <a:lnTo>
                      <a:pt x="226" y="82"/>
                    </a:lnTo>
                    <a:lnTo>
                      <a:pt x="202" y="82"/>
                    </a:lnTo>
                    <a:lnTo>
                      <a:pt x="198" y="100"/>
                    </a:lnTo>
                    <a:lnTo>
                      <a:pt x="174" y="112"/>
                    </a:lnTo>
                    <a:lnTo>
                      <a:pt x="160" y="114"/>
                    </a:lnTo>
                    <a:lnTo>
                      <a:pt x="144" y="114"/>
                    </a:lnTo>
                    <a:lnTo>
                      <a:pt x="126" y="136"/>
                    </a:lnTo>
                    <a:lnTo>
                      <a:pt x="128" y="152"/>
                    </a:lnTo>
                    <a:lnTo>
                      <a:pt x="94" y="150"/>
                    </a:lnTo>
                    <a:lnTo>
                      <a:pt x="90" y="150"/>
                    </a:lnTo>
                    <a:lnTo>
                      <a:pt x="82" y="130"/>
                    </a:lnTo>
                    <a:lnTo>
                      <a:pt x="22" y="136"/>
                    </a:lnTo>
                    <a:lnTo>
                      <a:pt x="26" y="154"/>
                    </a:lnTo>
                    <a:lnTo>
                      <a:pt x="2" y="146"/>
                    </a:lnTo>
                    <a:lnTo>
                      <a:pt x="0" y="170"/>
                    </a:lnTo>
                    <a:lnTo>
                      <a:pt x="6" y="192"/>
                    </a:lnTo>
                    <a:lnTo>
                      <a:pt x="34" y="190"/>
                    </a:lnTo>
                    <a:lnTo>
                      <a:pt x="52" y="194"/>
                    </a:lnTo>
                    <a:lnTo>
                      <a:pt x="56" y="206"/>
                    </a:lnTo>
                    <a:lnTo>
                      <a:pt x="64" y="218"/>
                    </a:lnTo>
                    <a:lnTo>
                      <a:pt x="100" y="220"/>
                    </a:lnTo>
                    <a:lnTo>
                      <a:pt x="128" y="222"/>
                    </a:lnTo>
                    <a:lnTo>
                      <a:pt x="134" y="236"/>
                    </a:lnTo>
                    <a:lnTo>
                      <a:pt x="130" y="256"/>
                    </a:lnTo>
                    <a:lnTo>
                      <a:pt x="108" y="262"/>
                    </a:lnTo>
                    <a:lnTo>
                      <a:pt x="94" y="264"/>
                    </a:lnTo>
                    <a:lnTo>
                      <a:pt x="84" y="282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115" name="Freeform 29"/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4724401" y="4422775"/>
                <a:ext cx="715963" cy="781050"/>
              </a:xfrm>
              <a:custGeom>
                <a:avLst/>
                <a:gdLst>
                  <a:gd name="T0" fmla="*/ 2147483647 w 437"/>
                  <a:gd name="T1" fmla="*/ 2147483647 h 497"/>
                  <a:gd name="T2" fmla="*/ 2147483647 w 437"/>
                  <a:gd name="T3" fmla="*/ 2147483647 h 497"/>
                  <a:gd name="T4" fmla="*/ 2147483647 w 437"/>
                  <a:gd name="T5" fmla="*/ 2147483647 h 497"/>
                  <a:gd name="T6" fmla="*/ 0 w 437"/>
                  <a:gd name="T7" fmla="*/ 2147483647 h 497"/>
                  <a:gd name="T8" fmla="*/ 2147483647 w 437"/>
                  <a:gd name="T9" fmla="*/ 2147483647 h 497"/>
                  <a:gd name="T10" fmla="*/ 2147483647 w 437"/>
                  <a:gd name="T11" fmla="*/ 2147483647 h 497"/>
                  <a:gd name="T12" fmla="*/ 2147483647 w 437"/>
                  <a:gd name="T13" fmla="*/ 2147483647 h 497"/>
                  <a:gd name="T14" fmla="*/ 2147483647 w 437"/>
                  <a:gd name="T15" fmla="*/ 2147483647 h 497"/>
                  <a:gd name="T16" fmla="*/ 2147483647 w 437"/>
                  <a:gd name="T17" fmla="*/ 2147483647 h 497"/>
                  <a:gd name="T18" fmla="*/ 2147483647 w 437"/>
                  <a:gd name="T19" fmla="*/ 2147483647 h 497"/>
                  <a:gd name="T20" fmla="*/ 2147483647 w 437"/>
                  <a:gd name="T21" fmla="*/ 2147483647 h 497"/>
                  <a:gd name="T22" fmla="*/ 2147483647 w 437"/>
                  <a:gd name="T23" fmla="*/ 0 h 497"/>
                  <a:gd name="T24" fmla="*/ 2147483647 w 437"/>
                  <a:gd name="T25" fmla="*/ 2147483647 h 497"/>
                  <a:gd name="T26" fmla="*/ 2147483647 w 437"/>
                  <a:gd name="T27" fmla="*/ 2147483647 h 497"/>
                  <a:gd name="T28" fmla="*/ 2147483647 w 437"/>
                  <a:gd name="T29" fmla="*/ 2147483647 h 497"/>
                  <a:gd name="T30" fmla="*/ 2147483647 w 437"/>
                  <a:gd name="T31" fmla="*/ 2147483647 h 497"/>
                  <a:gd name="T32" fmla="*/ 2147483647 w 437"/>
                  <a:gd name="T33" fmla="*/ 2147483647 h 497"/>
                  <a:gd name="T34" fmla="*/ 2147483647 w 437"/>
                  <a:gd name="T35" fmla="*/ 2147483647 h 497"/>
                  <a:gd name="T36" fmla="*/ 2147483647 w 437"/>
                  <a:gd name="T37" fmla="*/ 2147483647 h 497"/>
                  <a:gd name="T38" fmla="*/ 2147483647 w 437"/>
                  <a:gd name="T39" fmla="*/ 2147483647 h 497"/>
                  <a:gd name="T40" fmla="*/ 2147483647 w 437"/>
                  <a:gd name="T41" fmla="*/ 2147483647 h 497"/>
                  <a:gd name="T42" fmla="*/ 2147483647 w 437"/>
                  <a:gd name="T43" fmla="*/ 2147483647 h 497"/>
                  <a:gd name="T44" fmla="*/ 2147483647 w 437"/>
                  <a:gd name="T45" fmla="*/ 2147483647 h 497"/>
                  <a:gd name="T46" fmla="*/ 2147483647 w 437"/>
                  <a:gd name="T47" fmla="*/ 2147483647 h 497"/>
                  <a:gd name="T48" fmla="*/ 2147483647 w 437"/>
                  <a:gd name="T49" fmla="*/ 2147483647 h 497"/>
                  <a:gd name="T50" fmla="*/ 2147483647 w 437"/>
                  <a:gd name="T51" fmla="*/ 2147483647 h 497"/>
                  <a:gd name="T52" fmla="*/ 2147483647 w 437"/>
                  <a:gd name="T53" fmla="*/ 2147483647 h 497"/>
                  <a:gd name="T54" fmla="*/ 2147483647 w 437"/>
                  <a:gd name="T55" fmla="*/ 2147483647 h 497"/>
                  <a:gd name="T56" fmla="*/ 2147483647 w 437"/>
                  <a:gd name="T57" fmla="*/ 2147483647 h 497"/>
                  <a:gd name="T58" fmla="*/ 2147483647 w 437"/>
                  <a:gd name="T59" fmla="*/ 2147483647 h 497"/>
                  <a:gd name="T60" fmla="*/ 2147483647 w 437"/>
                  <a:gd name="T61" fmla="*/ 2147483647 h 497"/>
                  <a:gd name="T62" fmla="*/ 2147483647 w 437"/>
                  <a:gd name="T63" fmla="*/ 2147483647 h 497"/>
                  <a:gd name="T64" fmla="*/ 2147483647 w 437"/>
                  <a:gd name="T65" fmla="*/ 2147483647 h 497"/>
                  <a:gd name="T66" fmla="*/ 2147483647 w 437"/>
                  <a:gd name="T67" fmla="*/ 2147483647 h 497"/>
                  <a:gd name="T68" fmla="*/ 2147483647 w 437"/>
                  <a:gd name="T69" fmla="*/ 2147483647 h 497"/>
                  <a:gd name="T70" fmla="*/ 2147483647 w 437"/>
                  <a:gd name="T71" fmla="*/ 2147483647 h 497"/>
                  <a:gd name="T72" fmla="*/ 2147483647 w 437"/>
                  <a:gd name="T73" fmla="*/ 2147483647 h 497"/>
                  <a:gd name="T74" fmla="*/ 2147483647 w 437"/>
                  <a:gd name="T75" fmla="*/ 2147483647 h 497"/>
                  <a:gd name="T76" fmla="*/ 2147483647 w 437"/>
                  <a:gd name="T77" fmla="*/ 2147483647 h 497"/>
                  <a:gd name="T78" fmla="*/ 2147483647 w 437"/>
                  <a:gd name="T79" fmla="*/ 2147483647 h 497"/>
                  <a:gd name="T80" fmla="*/ 2147483647 w 437"/>
                  <a:gd name="T81" fmla="*/ 2147483647 h 497"/>
                  <a:gd name="T82" fmla="*/ 2147483647 w 437"/>
                  <a:gd name="T83" fmla="*/ 2147483647 h 497"/>
                  <a:gd name="T84" fmla="*/ 2147483647 w 437"/>
                  <a:gd name="T85" fmla="*/ 2147483647 h 49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437"/>
                  <a:gd name="T130" fmla="*/ 0 h 497"/>
                  <a:gd name="T131" fmla="*/ 437 w 437"/>
                  <a:gd name="T132" fmla="*/ 497 h 49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437" h="497">
                    <a:moveTo>
                      <a:pt x="40" y="382"/>
                    </a:moveTo>
                    <a:lnTo>
                      <a:pt x="42" y="374"/>
                    </a:lnTo>
                    <a:lnTo>
                      <a:pt x="28" y="360"/>
                    </a:lnTo>
                    <a:lnTo>
                      <a:pt x="32" y="328"/>
                    </a:lnTo>
                    <a:lnTo>
                      <a:pt x="40" y="310"/>
                    </a:lnTo>
                    <a:lnTo>
                      <a:pt x="32" y="302"/>
                    </a:lnTo>
                    <a:lnTo>
                      <a:pt x="6" y="298"/>
                    </a:lnTo>
                    <a:lnTo>
                      <a:pt x="0" y="270"/>
                    </a:lnTo>
                    <a:lnTo>
                      <a:pt x="32" y="258"/>
                    </a:lnTo>
                    <a:lnTo>
                      <a:pt x="28" y="230"/>
                    </a:lnTo>
                    <a:lnTo>
                      <a:pt x="28" y="196"/>
                    </a:lnTo>
                    <a:lnTo>
                      <a:pt x="24" y="182"/>
                    </a:lnTo>
                    <a:lnTo>
                      <a:pt x="6" y="164"/>
                    </a:lnTo>
                    <a:lnTo>
                      <a:pt x="18" y="160"/>
                    </a:lnTo>
                    <a:lnTo>
                      <a:pt x="26" y="148"/>
                    </a:lnTo>
                    <a:lnTo>
                      <a:pt x="26" y="92"/>
                    </a:lnTo>
                    <a:lnTo>
                      <a:pt x="34" y="84"/>
                    </a:lnTo>
                    <a:lnTo>
                      <a:pt x="36" y="64"/>
                    </a:lnTo>
                    <a:lnTo>
                      <a:pt x="58" y="56"/>
                    </a:lnTo>
                    <a:lnTo>
                      <a:pt x="64" y="48"/>
                    </a:lnTo>
                    <a:lnTo>
                      <a:pt x="114" y="46"/>
                    </a:lnTo>
                    <a:lnTo>
                      <a:pt x="116" y="30"/>
                    </a:lnTo>
                    <a:lnTo>
                      <a:pt x="94" y="14"/>
                    </a:lnTo>
                    <a:lnTo>
                      <a:pt x="100" y="0"/>
                    </a:lnTo>
                    <a:lnTo>
                      <a:pt x="148" y="0"/>
                    </a:lnTo>
                    <a:lnTo>
                      <a:pt x="154" y="16"/>
                    </a:lnTo>
                    <a:lnTo>
                      <a:pt x="204" y="16"/>
                    </a:lnTo>
                    <a:lnTo>
                      <a:pt x="222" y="14"/>
                    </a:lnTo>
                    <a:lnTo>
                      <a:pt x="230" y="16"/>
                    </a:lnTo>
                    <a:lnTo>
                      <a:pt x="244" y="42"/>
                    </a:lnTo>
                    <a:lnTo>
                      <a:pt x="268" y="48"/>
                    </a:lnTo>
                    <a:lnTo>
                      <a:pt x="278" y="48"/>
                    </a:lnTo>
                    <a:lnTo>
                      <a:pt x="292" y="20"/>
                    </a:lnTo>
                    <a:lnTo>
                      <a:pt x="308" y="22"/>
                    </a:lnTo>
                    <a:lnTo>
                      <a:pt x="316" y="44"/>
                    </a:lnTo>
                    <a:lnTo>
                      <a:pt x="324" y="42"/>
                    </a:lnTo>
                    <a:lnTo>
                      <a:pt x="330" y="42"/>
                    </a:lnTo>
                    <a:lnTo>
                      <a:pt x="336" y="22"/>
                    </a:lnTo>
                    <a:lnTo>
                      <a:pt x="366" y="14"/>
                    </a:lnTo>
                    <a:lnTo>
                      <a:pt x="368" y="32"/>
                    </a:lnTo>
                    <a:lnTo>
                      <a:pt x="364" y="46"/>
                    </a:lnTo>
                    <a:lnTo>
                      <a:pt x="374" y="62"/>
                    </a:lnTo>
                    <a:lnTo>
                      <a:pt x="390" y="62"/>
                    </a:lnTo>
                    <a:lnTo>
                      <a:pt x="400" y="92"/>
                    </a:lnTo>
                    <a:lnTo>
                      <a:pt x="414" y="124"/>
                    </a:lnTo>
                    <a:lnTo>
                      <a:pt x="418" y="154"/>
                    </a:lnTo>
                    <a:lnTo>
                      <a:pt x="416" y="174"/>
                    </a:lnTo>
                    <a:lnTo>
                      <a:pt x="398" y="198"/>
                    </a:lnTo>
                    <a:lnTo>
                      <a:pt x="394" y="212"/>
                    </a:lnTo>
                    <a:lnTo>
                      <a:pt x="398" y="246"/>
                    </a:lnTo>
                    <a:lnTo>
                      <a:pt x="400" y="264"/>
                    </a:lnTo>
                    <a:lnTo>
                      <a:pt x="414" y="276"/>
                    </a:lnTo>
                    <a:lnTo>
                      <a:pt x="414" y="296"/>
                    </a:lnTo>
                    <a:lnTo>
                      <a:pt x="412" y="308"/>
                    </a:lnTo>
                    <a:lnTo>
                      <a:pt x="436" y="348"/>
                    </a:lnTo>
                    <a:lnTo>
                      <a:pt x="436" y="364"/>
                    </a:lnTo>
                    <a:lnTo>
                      <a:pt x="418" y="394"/>
                    </a:lnTo>
                    <a:lnTo>
                      <a:pt x="422" y="428"/>
                    </a:lnTo>
                    <a:lnTo>
                      <a:pt x="414" y="430"/>
                    </a:lnTo>
                    <a:lnTo>
                      <a:pt x="390" y="414"/>
                    </a:lnTo>
                    <a:lnTo>
                      <a:pt x="366" y="412"/>
                    </a:lnTo>
                    <a:lnTo>
                      <a:pt x="346" y="414"/>
                    </a:lnTo>
                    <a:lnTo>
                      <a:pt x="336" y="420"/>
                    </a:lnTo>
                    <a:lnTo>
                      <a:pt x="338" y="446"/>
                    </a:lnTo>
                    <a:lnTo>
                      <a:pt x="338" y="464"/>
                    </a:lnTo>
                    <a:lnTo>
                      <a:pt x="324" y="470"/>
                    </a:lnTo>
                    <a:lnTo>
                      <a:pt x="316" y="466"/>
                    </a:lnTo>
                    <a:lnTo>
                      <a:pt x="296" y="442"/>
                    </a:lnTo>
                    <a:lnTo>
                      <a:pt x="284" y="452"/>
                    </a:lnTo>
                    <a:lnTo>
                      <a:pt x="284" y="470"/>
                    </a:lnTo>
                    <a:lnTo>
                      <a:pt x="274" y="480"/>
                    </a:lnTo>
                    <a:lnTo>
                      <a:pt x="248" y="496"/>
                    </a:lnTo>
                    <a:lnTo>
                      <a:pt x="208" y="494"/>
                    </a:lnTo>
                    <a:lnTo>
                      <a:pt x="204" y="470"/>
                    </a:lnTo>
                    <a:lnTo>
                      <a:pt x="168" y="470"/>
                    </a:lnTo>
                    <a:lnTo>
                      <a:pt x="174" y="434"/>
                    </a:lnTo>
                    <a:lnTo>
                      <a:pt x="200" y="412"/>
                    </a:lnTo>
                    <a:lnTo>
                      <a:pt x="196" y="396"/>
                    </a:lnTo>
                    <a:lnTo>
                      <a:pt x="180" y="356"/>
                    </a:lnTo>
                    <a:lnTo>
                      <a:pt x="172" y="350"/>
                    </a:lnTo>
                    <a:lnTo>
                      <a:pt x="150" y="358"/>
                    </a:lnTo>
                    <a:lnTo>
                      <a:pt x="142" y="370"/>
                    </a:lnTo>
                    <a:lnTo>
                      <a:pt x="116" y="374"/>
                    </a:lnTo>
                    <a:lnTo>
                      <a:pt x="92" y="384"/>
                    </a:lnTo>
                    <a:lnTo>
                      <a:pt x="60" y="396"/>
                    </a:lnTo>
                    <a:lnTo>
                      <a:pt x="40" y="382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116" name="Freeform 30"/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915988" y="3406775"/>
                <a:ext cx="2552700" cy="1341438"/>
              </a:xfrm>
              <a:custGeom>
                <a:avLst/>
                <a:gdLst>
                  <a:gd name="T0" fmla="*/ 2147483647 w 1557"/>
                  <a:gd name="T1" fmla="*/ 2147483647 h 853"/>
                  <a:gd name="T2" fmla="*/ 2147483647 w 1557"/>
                  <a:gd name="T3" fmla="*/ 2147483647 h 853"/>
                  <a:gd name="T4" fmla="*/ 2147483647 w 1557"/>
                  <a:gd name="T5" fmla="*/ 2147483647 h 853"/>
                  <a:gd name="T6" fmla="*/ 2147483647 w 1557"/>
                  <a:gd name="T7" fmla="*/ 2147483647 h 853"/>
                  <a:gd name="T8" fmla="*/ 2147483647 w 1557"/>
                  <a:gd name="T9" fmla="*/ 2147483647 h 853"/>
                  <a:gd name="T10" fmla="*/ 2147483647 w 1557"/>
                  <a:gd name="T11" fmla="*/ 2147483647 h 853"/>
                  <a:gd name="T12" fmla="*/ 2147483647 w 1557"/>
                  <a:gd name="T13" fmla="*/ 0 h 853"/>
                  <a:gd name="T14" fmla="*/ 2147483647 w 1557"/>
                  <a:gd name="T15" fmla="*/ 2147483647 h 853"/>
                  <a:gd name="T16" fmla="*/ 2147483647 w 1557"/>
                  <a:gd name="T17" fmla="*/ 2147483647 h 853"/>
                  <a:gd name="T18" fmla="*/ 2147483647 w 1557"/>
                  <a:gd name="T19" fmla="*/ 2147483647 h 853"/>
                  <a:gd name="T20" fmla="*/ 2147483647 w 1557"/>
                  <a:gd name="T21" fmla="*/ 2147483647 h 853"/>
                  <a:gd name="T22" fmla="*/ 0 w 1557"/>
                  <a:gd name="T23" fmla="*/ 2147483647 h 853"/>
                  <a:gd name="T24" fmla="*/ 2147483647 w 1557"/>
                  <a:gd name="T25" fmla="*/ 2147483647 h 853"/>
                  <a:gd name="T26" fmla="*/ 2147483647 w 1557"/>
                  <a:gd name="T27" fmla="*/ 2147483647 h 853"/>
                  <a:gd name="T28" fmla="*/ 2147483647 w 1557"/>
                  <a:gd name="T29" fmla="*/ 2147483647 h 853"/>
                  <a:gd name="T30" fmla="*/ 2147483647 w 1557"/>
                  <a:gd name="T31" fmla="*/ 2147483647 h 853"/>
                  <a:gd name="T32" fmla="*/ 2147483647 w 1557"/>
                  <a:gd name="T33" fmla="*/ 2147483647 h 853"/>
                  <a:gd name="T34" fmla="*/ 2147483647 w 1557"/>
                  <a:gd name="T35" fmla="*/ 2147483647 h 853"/>
                  <a:gd name="T36" fmla="*/ 2147483647 w 1557"/>
                  <a:gd name="T37" fmla="*/ 2147483647 h 853"/>
                  <a:gd name="T38" fmla="*/ 2147483647 w 1557"/>
                  <a:gd name="T39" fmla="*/ 2147483647 h 853"/>
                  <a:gd name="T40" fmla="*/ 2147483647 w 1557"/>
                  <a:gd name="T41" fmla="*/ 2147483647 h 853"/>
                  <a:gd name="T42" fmla="*/ 2147483647 w 1557"/>
                  <a:gd name="T43" fmla="*/ 2147483647 h 853"/>
                  <a:gd name="T44" fmla="*/ 2147483647 w 1557"/>
                  <a:gd name="T45" fmla="*/ 2147483647 h 853"/>
                  <a:gd name="T46" fmla="*/ 2147483647 w 1557"/>
                  <a:gd name="T47" fmla="*/ 2147483647 h 853"/>
                  <a:gd name="T48" fmla="*/ 2147483647 w 1557"/>
                  <a:gd name="T49" fmla="*/ 2147483647 h 853"/>
                  <a:gd name="T50" fmla="*/ 2147483647 w 1557"/>
                  <a:gd name="T51" fmla="*/ 2147483647 h 853"/>
                  <a:gd name="T52" fmla="*/ 2147483647 w 1557"/>
                  <a:gd name="T53" fmla="*/ 2147483647 h 853"/>
                  <a:gd name="T54" fmla="*/ 2147483647 w 1557"/>
                  <a:gd name="T55" fmla="*/ 2147483647 h 853"/>
                  <a:gd name="T56" fmla="*/ 2147483647 w 1557"/>
                  <a:gd name="T57" fmla="*/ 2147483647 h 853"/>
                  <a:gd name="T58" fmla="*/ 2147483647 w 1557"/>
                  <a:gd name="T59" fmla="*/ 2147483647 h 853"/>
                  <a:gd name="T60" fmla="*/ 2147483647 w 1557"/>
                  <a:gd name="T61" fmla="*/ 2147483647 h 853"/>
                  <a:gd name="T62" fmla="*/ 2147483647 w 1557"/>
                  <a:gd name="T63" fmla="*/ 2147483647 h 853"/>
                  <a:gd name="T64" fmla="*/ 2147483647 w 1557"/>
                  <a:gd name="T65" fmla="*/ 2147483647 h 853"/>
                  <a:gd name="T66" fmla="*/ 2147483647 w 1557"/>
                  <a:gd name="T67" fmla="*/ 2147483647 h 853"/>
                  <a:gd name="T68" fmla="*/ 2147483647 w 1557"/>
                  <a:gd name="T69" fmla="*/ 2147483647 h 853"/>
                  <a:gd name="T70" fmla="*/ 2147483647 w 1557"/>
                  <a:gd name="T71" fmla="*/ 2147483647 h 853"/>
                  <a:gd name="T72" fmla="*/ 2147483647 w 1557"/>
                  <a:gd name="T73" fmla="*/ 2147483647 h 853"/>
                  <a:gd name="T74" fmla="*/ 2147483647 w 1557"/>
                  <a:gd name="T75" fmla="*/ 2147483647 h 853"/>
                  <a:gd name="T76" fmla="*/ 2147483647 w 1557"/>
                  <a:gd name="T77" fmla="*/ 2147483647 h 853"/>
                  <a:gd name="T78" fmla="*/ 2147483647 w 1557"/>
                  <a:gd name="T79" fmla="*/ 2147483647 h 853"/>
                  <a:gd name="T80" fmla="*/ 2147483647 w 1557"/>
                  <a:gd name="T81" fmla="*/ 2147483647 h 853"/>
                  <a:gd name="T82" fmla="*/ 2147483647 w 1557"/>
                  <a:gd name="T83" fmla="*/ 2147483647 h 853"/>
                  <a:gd name="T84" fmla="*/ 2147483647 w 1557"/>
                  <a:gd name="T85" fmla="*/ 2147483647 h 853"/>
                  <a:gd name="T86" fmla="*/ 2147483647 w 1557"/>
                  <a:gd name="T87" fmla="*/ 2147483647 h 853"/>
                  <a:gd name="T88" fmla="*/ 2147483647 w 1557"/>
                  <a:gd name="T89" fmla="*/ 2147483647 h 853"/>
                  <a:gd name="T90" fmla="*/ 2147483647 w 1557"/>
                  <a:gd name="T91" fmla="*/ 2147483647 h 853"/>
                  <a:gd name="T92" fmla="*/ 2147483647 w 1557"/>
                  <a:gd name="T93" fmla="*/ 2147483647 h 853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557"/>
                  <a:gd name="T142" fmla="*/ 0 h 853"/>
                  <a:gd name="T143" fmla="*/ 1557 w 1557"/>
                  <a:gd name="T144" fmla="*/ 853 h 853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557" h="853">
                    <a:moveTo>
                      <a:pt x="881" y="72"/>
                    </a:moveTo>
                    <a:lnTo>
                      <a:pt x="888" y="88"/>
                    </a:lnTo>
                    <a:lnTo>
                      <a:pt x="845" y="36"/>
                    </a:lnTo>
                    <a:lnTo>
                      <a:pt x="814" y="20"/>
                    </a:lnTo>
                    <a:lnTo>
                      <a:pt x="754" y="0"/>
                    </a:lnTo>
                    <a:lnTo>
                      <a:pt x="686" y="12"/>
                    </a:lnTo>
                    <a:lnTo>
                      <a:pt x="666" y="8"/>
                    </a:lnTo>
                    <a:lnTo>
                      <a:pt x="638" y="12"/>
                    </a:lnTo>
                    <a:lnTo>
                      <a:pt x="602" y="40"/>
                    </a:lnTo>
                    <a:lnTo>
                      <a:pt x="574" y="44"/>
                    </a:lnTo>
                    <a:lnTo>
                      <a:pt x="534" y="40"/>
                    </a:lnTo>
                    <a:lnTo>
                      <a:pt x="491" y="48"/>
                    </a:lnTo>
                    <a:lnTo>
                      <a:pt x="479" y="68"/>
                    </a:lnTo>
                    <a:lnTo>
                      <a:pt x="443" y="52"/>
                    </a:lnTo>
                    <a:lnTo>
                      <a:pt x="411" y="28"/>
                    </a:lnTo>
                    <a:lnTo>
                      <a:pt x="371" y="0"/>
                    </a:lnTo>
                    <a:lnTo>
                      <a:pt x="343" y="8"/>
                    </a:lnTo>
                    <a:lnTo>
                      <a:pt x="323" y="24"/>
                    </a:lnTo>
                    <a:lnTo>
                      <a:pt x="291" y="24"/>
                    </a:lnTo>
                    <a:lnTo>
                      <a:pt x="263" y="8"/>
                    </a:lnTo>
                    <a:lnTo>
                      <a:pt x="239" y="0"/>
                    </a:lnTo>
                    <a:lnTo>
                      <a:pt x="219" y="4"/>
                    </a:lnTo>
                    <a:lnTo>
                      <a:pt x="187" y="16"/>
                    </a:lnTo>
                    <a:lnTo>
                      <a:pt x="160" y="28"/>
                    </a:lnTo>
                    <a:lnTo>
                      <a:pt x="160" y="64"/>
                    </a:lnTo>
                    <a:lnTo>
                      <a:pt x="132" y="68"/>
                    </a:lnTo>
                    <a:lnTo>
                      <a:pt x="84" y="64"/>
                    </a:lnTo>
                    <a:lnTo>
                      <a:pt x="84" y="92"/>
                    </a:lnTo>
                    <a:lnTo>
                      <a:pt x="52" y="88"/>
                    </a:lnTo>
                    <a:lnTo>
                      <a:pt x="40" y="119"/>
                    </a:lnTo>
                    <a:lnTo>
                      <a:pt x="56" y="135"/>
                    </a:lnTo>
                    <a:lnTo>
                      <a:pt x="68" y="175"/>
                    </a:lnTo>
                    <a:lnTo>
                      <a:pt x="76" y="203"/>
                    </a:lnTo>
                    <a:lnTo>
                      <a:pt x="60" y="223"/>
                    </a:lnTo>
                    <a:lnTo>
                      <a:pt x="4" y="211"/>
                    </a:lnTo>
                    <a:lnTo>
                      <a:pt x="0" y="235"/>
                    </a:lnTo>
                    <a:lnTo>
                      <a:pt x="20" y="271"/>
                    </a:lnTo>
                    <a:lnTo>
                      <a:pt x="12" y="322"/>
                    </a:lnTo>
                    <a:lnTo>
                      <a:pt x="28" y="346"/>
                    </a:lnTo>
                    <a:lnTo>
                      <a:pt x="68" y="370"/>
                    </a:lnTo>
                    <a:lnTo>
                      <a:pt x="92" y="418"/>
                    </a:lnTo>
                    <a:lnTo>
                      <a:pt x="124" y="434"/>
                    </a:lnTo>
                    <a:lnTo>
                      <a:pt x="164" y="470"/>
                    </a:lnTo>
                    <a:lnTo>
                      <a:pt x="183" y="470"/>
                    </a:lnTo>
                    <a:lnTo>
                      <a:pt x="199" y="458"/>
                    </a:lnTo>
                    <a:lnTo>
                      <a:pt x="235" y="478"/>
                    </a:lnTo>
                    <a:lnTo>
                      <a:pt x="263" y="498"/>
                    </a:lnTo>
                    <a:lnTo>
                      <a:pt x="275" y="533"/>
                    </a:lnTo>
                    <a:lnTo>
                      <a:pt x="291" y="549"/>
                    </a:lnTo>
                    <a:lnTo>
                      <a:pt x="303" y="573"/>
                    </a:lnTo>
                    <a:lnTo>
                      <a:pt x="339" y="577"/>
                    </a:lnTo>
                    <a:lnTo>
                      <a:pt x="359" y="585"/>
                    </a:lnTo>
                    <a:lnTo>
                      <a:pt x="375" y="629"/>
                    </a:lnTo>
                    <a:lnTo>
                      <a:pt x="403" y="645"/>
                    </a:lnTo>
                    <a:lnTo>
                      <a:pt x="443" y="653"/>
                    </a:lnTo>
                    <a:lnTo>
                      <a:pt x="451" y="689"/>
                    </a:lnTo>
                    <a:lnTo>
                      <a:pt x="475" y="701"/>
                    </a:lnTo>
                    <a:lnTo>
                      <a:pt x="495" y="713"/>
                    </a:lnTo>
                    <a:lnTo>
                      <a:pt x="491" y="728"/>
                    </a:lnTo>
                    <a:lnTo>
                      <a:pt x="550" y="728"/>
                    </a:lnTo>
                    <a:lnTo>
                      <a:pt x="570" y="732"/>
                    </a:lnTo>
                    <a:lnTo>
                      <a:pt x="586" y="744"/>
                    </a:lnTo>
                    <a:lnTo>
                      <a:pt x="610" y="760"/>
                    </a:lnTo>
                    <a:lnTo>
                      <a:pt x="630" y="756"/>
                    </a:lnTo>
                    <a:lnTo>
                      <a:pt x="654" y="740"/>
                    </a:lnTo>
                    <a:lnTo>
                      <a:pt x="674" y="760"/>
                    </a:lnTo>
                    <a:lnTo>
                      <a:pt x="710" y="752"/>
                    </a:lnTo>
                    <a:lnTo>
                      <a:pt x="726" y="792"/>
                    </a:lnTo>
                    <a:lnTo>
                      <a:pt x="738" y="824"/>
                    </a:lnTo>
                    <a:lnTo>
                      <a:pt x="766" y="804"/>
                    </a:lnTo>
                    <a:lnTo>
                      <a:pt x="778" y="776"/>
                    </a:lnTo>
                    <a:lnTo>
                      <a:pt x="806" y="772"/>
                    </a:lnTo>
                    <a:lnTo>
                      <a:pt x="810" y="756"/>
                    </a:lnTo>
                    <a:lnTo>
                      <a:pt x="830" y="760"/>
                    </a:lnTo>
                    <a:lnTo>
                      <a:pt x="853" y="780"/>
                    </a:lnTo>
                    <a:lnTo>
                      <a:pt x="893" y="796"/>
                    </a:lnTo>
                    <a:lnTo>
                      <a:pt x="945" y="800"/>
                    </a:lnTo>
                    <a:lnTo>
                      <a:pt x="1021" y="812"/>
                    </a:lnTo>
                    <a:lnTo>
                      <a:pt x="1045" y="800"/>
                    </a:lnTo>
                    <a:lnTo>
                      <a:pt x="1105" y="776"/>
                    </a:lnTo>
                    <a:lnTo>
                      <a:pt x="1133" y="760"/>
                    </a:lnTo>
                    <a:lnTo>
                      <a:pt x="1137" y="744"/>
                    </a:lnTo>
                    <a:lnTo>
                      <a:pt x="1180" y="736"/>
                    </a:lnTo>
                    <a:lnTo>
                      <a:pt x="1224" y="740"/>
                    </a:lnTo>
                    <a:lnTo>
                      <a:pt x="1256" y="724"/>
                    </a:lnTo>
                    <a:lnTo>
                      <a:pt x="1288" y="713"/>
                    </a:lnTo>
                    <a:lnTo>
                      <a:pt x="1324" y="728"/>
                    </a:lnTo>
                    <a:lnTo>
                      <a:pt x="1320" y="748"/>
                    </a:lnTo>
                    <a:lnTo>
                      <a:pt x="1328" y="828"/>
                    </a:lnTo>
                    <a:lnTo>
                      <a:pt x="1360" y="848"/>
                    </a:lnTo>
                    <a:lnTo>
                      <a:pt x="1400" y="852"/>
                    </a:lnTo>
                    <a:lnTo>
                      <a:pt x="1416" y="828"/>
                    </a:lnTo>
                    <a:lnTo>
                      <a:pt x="1432" y="808"/>
                    </a:lnTo>
                    <a:lnTo>
                      <a:pt x="1452" y="808"/>
                    </a:lnTo>
                    <a:lnTo>
                      <a:pt x="1488" y="816"/>
                    </a:lnTo>
                    <a:lnTo>
                      <a:pt x="1508" y="800"/>
                    </a:lnTo>
                    <a:lnTo>
                      <a:pt x="1516" y="756"/>
                    </a:lnTo>
                    <a:lnTo>
                      <a:pt x="1528" y="744"/>
                    </a:lnTo>
                    <a:lnTo>
                      <a:pt x="1556" y="736"/>
                    </a:lnTo>
                    <a:lnTo>
                      <a:pt x="1544" y="668"/>
                    </a:lnTo>
                    <a:lnTo>
                      <a:pt x="1536" y="594"/>
                    </a:lnTo>
                    <a:lnTo>
                      <a:pt x="1534" y="536"/>
                    </a:lnTo>
                    <a:lnTo>
                      <a:pt x="1510" y="500"/>
                    </a:lnTo>
                    <a:lnTo>
                      <a:pt x="1488" y="454"/>
                    </a:lnTo>
                    <a:lnTo>
                      <a:pt x="1468" y="432"/>
                    </a:lnTo>
                    <a:lnTo>
                      <a:pt x="1422" y="448"/>
                    </a:lnTo>
                    <a:lnTo>
                      <a:pt x="1410" y="468"/>
                    </a:lnTo>
                    <a:lnTo>
                      <a:pt x="1368" y="484"/>
                    </a:lnTo>
                    <a:lnTo>
                      <a:pt x="1366" y="506"/>
                    </a:lnTo>
                    <a:lnTo>
                      <a:pt x="1364" y="514"/>
                    </a:lnTo>
                    <a:lnTo>
                      <a:pt x="1326" y="498"/>
                    </a:lnTo>
                    <a:lnTo>
                      <a:pt x="1306" y="490"/>
                    </a:lnTo>
                    <a:lnTo>
                      <a:pt x="1288" y="452"/>
                    </a:lnTo>
                    <a:lnTo>
                      <a:pt x="1258" y="424"/>
                    </a:lnTo>
                    <a:lnTo>
                      <a:pt x="1244" y="412"/>
                    </a:lnTo>
                    <a:lnTo>
                      <a:pt x="1214" y="406"/>
                    </a:lnTo>
                    <a:lnTo>
                      <a:pt x="1194" y="406"/>
                    </a:lnTo>
                    <a:lnTo>
                      <a:pt x="1186" y="428"/>
                    </a:lnTo>
                    <a:lnTo>
                      <a:pt x="1168" y="424"/>
                    </a:lnTo>
                    <a:lnTo>
                      <a:pt x="1158" y="420"/>
                    </a:lnTo>
                    <a:lnTo>
                      <a:pt x="1140" y="412"/>
                    </a:lnTo>
                    <a:lnTo>
                      <a:pt x="1130" y="406"/>
                    </a:lnTo>
                    <a:lnTo>
                      <a:pt x="1106" y="392"/>
                    </a:lnTo>
                    <a:lnTo>
                      <a:pt x="1086" y="384"/>
                    </a:lnTo>
                    <a:lnTo>
                      <a:pt x="1060" y="356"/>
                    </a:lnTo>
                    <a:lnTo>
                      <a:pt x="1038" y="356"/>
                    </a:lnTo>
                    <a:lnTo>
                      <a:pt x="1016" y="354"/>
                    </a:lnTo>
                    <a:lnTo>
                      <a:pt x="1000" y="342"/>
                    </a:lnTo>
                    <a:lnTo>
                      <a:pt x="988" y="326"/>
                    </a:lnTo>
                    <a:lnTo>
                      <a:pt x="968" y="324"/>
                    </a:lnTo>
                    <a:lnTo>
                      <a:pt x="948" y="338"/>
                    </a:lnTo>
                    <a:lnTo>
                      <a:pt x="932" y="322"/>
                    </a:lnTo>
                    <a:lnTo>
                      <a:pt x="904" y="306"/>
                    </a:lnTo>
                    <a:lnTo>
                      <a:pt x="888" y="282"/>
                    </a:lnTo>
                    <a:lnTo>
                      <a:pt x="876" y="264"/>
                    </a:lnTo>
                    <a:lnTo>
                      <a:pt x="876" y="248"/>
                    </a:lnTo>
                    <a:lnTo>
                      <a:pt x="878" y="208"/>
                    </a:lnTo>
                    <a:lnTo>
                      <a:pt x="880" y="172"/>
                    </a:lnTo>
                    <a:lnTo>
                      <a:pt x="878" y="144"/>
                    </a:lnTo>
                    <a:lnTo>
                      <a:pt x="880" y="124"/>
                    </a:lnTo>
                    <a:lnTo>
                      <a:pt x="898" y="100"/>
                    </a:lnTo>
                    <a:lnTo>
                      <a:pt x="888" y="8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126" name="Freeform 31"/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642938" y="1593852"/>
                <a:ext cx="2627312" cy="1939925"/>
              </a:xfrm>
              <a:custGeom>
                <a:avLst/>
                <a:gdLst>
                  <a:gd name="T0" fmla="*/ 2147483647 w 1603"/>
                  <a:gd name="T1" fmla="*/ 2147483647 h 1231"/>
                  <a:gd name="T2" fmla="*/ 2147483647 w 1603"/>
                  <a:gd name="T3" fmla="*/ 2147483647 h 1231"/>
                  <a:gd name="T4" fmla="*/ 2147483647 w 1603"/>
                  <a:gd name="T5" fmla="*/ 2147483647 h 1231"/>
                  <a:gd name="T6" fmla="*/ 2147483647 w 1603"/>
                  <a:gd name="T7" fmla="*/ 2147483647 h 1231"/>
                  <a:gd name="T8" fmla="*/ 2147483647 w 1603"/>
                  <a:gd name="T9" fmla="*/ 2147483647 h 1231"/>
                  <a:gd name="T10" fmla="*/ 2147483647 w 1603"/>
                  <a:gd name="T11" fmla="*/ 2147483647 h 1231"/>
                  <a:gd name="T12" fmla="*/ 2147483647 w 1603"/>
                  <a:gd name="T13" fmla="*/ 2147483647 h 1231"/>
                  <a:gd name="T14" fmla="*/ 2147483647 w 1603"/>
                  <a:gd name="T15" fmla="*/ 2147483647 h 1231"/>
                  <a:gd name="T16" fmla="*/ 2147483647 w 1603"/>
                  <a:gd name="T17" fmla="*/ 2147483647 h 1231"/>
                  <a:gd name="T18" fmla="*/ 2147483647 w 1603"/>
                  <a:gd name="T19" fmla="*/ 2147483647 h 1231"/>
                  <a:gd name="T20" fmla="*/ 2147483647 w 1603"/>
                  <a:gd name="T21" fmla="*/ 2147483647 h 1231"/>
                  <a:gd name="T22" fmla="*/ 2147483647 w 1603"/>
                  <a:gd name="T23" fmla="*/ 2147483647 h 1231"/>
                  <a:gd name="T24" fmla="*/ 2147483647 w 1603"/>
                  <a:gd name="T25" fmla="*/ 2147483647 h 1231"/>
                  <a:gd name="T26" fmla="*/ 2147483647 w 1603"/>
                  <a:gd name="T27" fmla="*/ 2147483647 h 1231"/>
                  <a:gd name="T28" fmla="*/ 2147483647 w 1603"/>
                  <a:gd name="T29" fmla="*/ 2147483647 h 1231"/>
                  <a:gd name="T30" fmla="*/ 2147483647 w 1603"/>
                  <a:gd name="T31" fmla="*/ 2147483647 h 1231"/>
                  <a:gd name="T32" fmla="*/ 2147483647 w 1603"/>
                  <a:gd name="T33" fmla="*/ 2147483647 h 1231"/>
                  <a:gd name="T34" fmla="*/ 2147483647 w 1603"/>
                  <a:gd name="T35" fmla="*/ 2147483647 h 1231"/>
                  <a:gd name="T36" fmla="*/ 2147483647 w 1603"/>
                  <a:gd name="T37" fmla="*/ 2147483647 h 1231"/>
                  <a:gd name="T38" fmla="*/ 2147483647 w 1603"/>
                  <a:gd name="T39" fmla="*/ 2147483647 h 1231"/>
                  <a:gd name="T40" fmla="*/ 2147483647 w 1603"/>
                  <a:gd name="T41" fmla="*/ 2147483647 h 1231"/>
                  <a:gd name="T42" fmla="*/ 2147483647 w 1603"/>
                  <a:gd name="T43" fmla="*/ 2147483647 h 1231"/>
                  <a:gd name="T44" fmla="*/ 2147483647 w 1603"/>
                  <a:gd name="T45" fmla="*/ 2147483647 h 1231"/>
                  <a:gd name="T46" fmla="*/ 2147483647 w 1603"/>
                  <a:gd name="T47" fmla="*/ 2147483647 h 1231"/>
                  <a:gd name="T48" fmla="*/ 2147483647 w 1603"/>
                  <a:gd name="T49" fmla="*/ 2147483647 h 1231"/>
                  <a:gd name="T50" fmla="*/ 2147483647 w 1603"/>
                  <a:gd name="T51" fmla="*/ 2147483647 h 1231"/>
                  <a:gd name="T52" fmla="*/ 2147483647 w 1603"/>
                  <a:gd name="T53" fmla="*/ 2147483647 h 1231"/>
                  <a:gd name="T54" fmla="*/ 2147483647 w 1603"/>
                  <a:gd name="T55" fmla="*/ 2147483647 h 1231"/>
                  <a:gd name="T56" fmla="*/ 2147483647 w 1603"/>
                  <a:gd name="T57" fmla="*/ 2147483647 h 1231"/>
                  <a:gd name="T58" fmla="*/ 2147483647 w 1603"/>
                  <a:gd name="T59" fmla="*/ 2147483647 h 1231"/>
                  <a:gd name="T60" fmla="*/ 2147483647 w 1603"/>
                  <a:gd name="T61" fmla="*/ 2147483647 h 1231"/>
                  <a:gd name="T62" fmla="*/ 2147483647 w 1603"/>
                  <a:gd name="T63" fmla="*/ 2147483647 h 1231"/>
                  <a:gd name="T64" fmla="*/ 2147483647 w 1603"/>
                  <a:gd name="T65" fmla="*/ 2147483647 h 1231"/>
                  <a:gd name="T66" fmla="*/ 2147483647 w 1603"/>
                  <a:gd name="T67" fmla="*/ 2147483647 h 1231"/>
                  <a:gd name="T68" fmla="*/ 2147483647 w 1603"/>
                  <a:gd name="T69" fmla="*/ 2147483647 h 1231"/>
                  <a:gd name="T70" fmla="*/ 2147483647 w 1603"/>
                  <a:gd name="T71" fmla="*/ 2147483647 h 1231"/>
                  <a:gd name="T72" fmla="*/ 2147483647 w 1603"/>
                  <a:gd name="T73" fmla="*/ 2147483647 h 1231"/>
                  <a:gd name="T74" fmla="*/ 2147483647 w 1603"/>
                  <a:gd name="T75" fmla="*/ 2147483647 h 1231"/>
                  <a:gd name="T76" fmla="*/ 2147483647 w 1603"/>
                  <a:gd name="T77" fmla="*/ 2147483647 h 1231"/>
                  <a:gd name="T78" fmla="*/ 2147483647 w 1603"/>
                  <a:gd name="T79" fmla="*/ 2147483647 h 1231"/>
                  <a:gd name="T80" fmla="*/ 2147483647 w 1603"/>
                  <a:gd name="T81" fmla="*/ 2147483647 h 1231"/>
                  <a:gd name="T82" fmla="*/ 2147483647 w 1603"/>
                  <a:gd name="T83" fmla="*/ 2147483647 h 1231"/>
                  <a:gd name="T84" fmla="*/ 2147483647 w 1603"/>
                  <a:gd name="T85" fmla="*/ 2147483647 h 1231"/>
                  <a:gd name="T86" fmla="*/ 2147483647 w 1603"/>
                  <a:gd name="T87" fmla="*/ 2147483647 h 1231"/>
                  <a:gd name="T88" fmla="*/ 2147483647 w 1603"/>
                  <a:gd name="T89" fmla="*/ 2147483647 h 1231"/>
                  <a:gd name="T90" fmla="*/ 2147483647 w 1603"/>
                  <a:gd name="T91" fmla="*/ 2147483647 h 1231"/>
                  <a:gd name="T92" fmla="*/ 2147483647 w 1603"/>
                  <a:gd name="T93" fmla="*/ 2147483647 h 1231"/>
                  <a:gd name="T94" fmla="*/ 2147483647 w 1603"/>
                  <a:gd name="T95" fmla="*/ 2147483647 h 1231"/>
                  <a:gd name="T96" fmla="*/ 2147483647 w 1603"/>
                  <a:gd name="T97" fmla="*/ 2147483647 h 1231"/>
                  <a:gd name="T98" fmla="*/ 2147483647 w 1603"/>
                  <a:gd name="T99" fmla="*/ 2147483647 h 1231"/>
                  <a:gd name="T100" fmla="*/ 2147483647 w 1603"/>
                  <a:gd name="T101" fmla="*/ 2147483647 h 1231"/>
                  <a:gd name="T102" fmla="*/ 2147483647 w 1603"/>
                  <a:gd name="T103" fmla="*/ 2147483647 h 1231"/>
                  <a:gd name="T104" fmla="*/ 2147483647 w 1603"/>
                  <a:gd name="T105" fmla="*/ 2147483647 h 1231"/>
                  <a:gd name="T106" fmla="*/ 2147483647 w 1603"/>
                  <a:gd name="T107" fmla="*/ 2147483647 h 1231"/>
                  <a:gd name="T108" fmla="*/ 2147483647 w 1603"/>
                  <a:gd name="T109" fmla="*/ 2147483647 h 1231"/>
                  <a:gd name="T110" fmla="*/ 2147483647 w 1603"/>
                  <a:gd name="T111" fmla="*/ 2147483647 h 1231"/>
                  <a:gd name="T112" fmla="*/ 2147483647 w 1603"/>
                  <a:gd name="T113" fmla="*/ 2147483647 h 1231"/>
                  <a:gd name="T114" fmla="*/ 2147483647 w 1603"/>
                  <a:gd name="T115" fmla="*/ 2147483647 h 1231"/>
                  <a:gd name="T116" fmla="*/ 2147483647 w 1603"/>
                  <a:gd name="T117" fmla="*/ 2147483647 h 1231"/>
                  <a:gd name="T118" fmla="*/ 2147483647 w 1603"/>
                  <a:gd name="T119" fmla="*/ 2147483647 h 1231"/>
                  <a:gd name="T120" fmla="*/ 2147483647 w 1603"/>
                  <a:gd name="T121" fmla="*/ 2147483647 h 1231"/>
                  <a:gd name="T122" fmla="*/ 2147483647 w 1603"/>
                  <a:gd name="T123" fmla="*/ 2147483647 h 1231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603"/>
                  <a:gd name="T187" fmla="*/ 0 h 1231"/>
                  <a:gd name="T188" fmla="*/ 1603 w 1603"/>
                  <a:gd name="T189" fmla="*/ 1231 h 1231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603" h="1231">
                    <a:moveTo>
                      <a:pt x="238" y="1208"/>
                    </a:moveTo>
                    <a:lnTo>
                      <a:pt x="220" y="1188"/>
                    </a:lnTo>
                    <a:lnTo>
                      <a:pt x="220" y="1160"/>
                    </a:lnTo>
                    <a:lnTo>
                      <a:pt x="220" y="1138"/>
                    </a:lnTo>
                    <a:lnTo>
                      <a:pt x="202" y="1130"/>
                    </a:lnTo>
                    <a:lnTo>
                      <a:pt x="198" y="1110"/>
                    </a:lnTo>
                    <a:lnTo>
                      <a:pt x="180" y="1090"/>
                    </a:lnTo>
                    <a:lnTo>
                      <a:pt x="150" y="1074"/>
                    </a:lnTo>
                    <a:lnTo>
                      <a:pt x="122" y="1072"/>
                    </a:lnTo>
                    <a:lnTo>
                      <a:pt x="116" y="1042"/>
                    </a:lnTo>
                    <a:lnTo>
                      <a:pt x="114" y="1012"/>
                    </a:lnTo>
                    <a:lnTo>
                      <a:pt x="102" y="982"/>
                    </a:lnTo>
                    <a:lnTo>
                      <a:pt x="88" y="974"/>
                    </a:lnTo>
                    <a:lnTo>
                      <a:pt x="76" y="968"/>
                    </a:lnTo>
                    <a:lnTo>
                      <a:pt x="58" y="944"/>
                    </a:lnTo>
                    <a:lnTo>
                      <a:pt x="64" y="958"/>
                    </a:lnTo>
                    <a:lnTo>
                      <a:pt x="48" y="924"/>
                    </a:lnTo>
                    <a:lnTo>
                      <a:pt x="16" y="910"/>
                    </a:lnTo>
                    <a:lnTo>
                      <a:pt x="4" y="894"/>
                    </a:lnTo>
                    <a:lnTo>
                      <a:pt x="4" y="874"/>
                    </a:lnTo>
                    <a:lnTo>
                      <a:pt x="2" y="860"/>
                    </a:lnTo>
                    <a:lnTo>
                      <a:pt x="40" y="860"/>
                    </a:lnTo>
                    <a:lnTo>
                      <a:pt x="38" y="834"/>
                    </a:lnTo>
                    <a:lnTo>
                      <a:pt x="52" y="810"/>
                    </a:lnTo>
                    <a:lnTo>
                      <a:pt x="60" y="792"/>
                    </a:lnTo>
                    <a:lnTo>
                      <a:pt x="58" y="766"/>
                    </a:lnTo>
                    <a:lnTo>
                      <a:pt x="10" y="760"/>
                    </a:lnTo>
                    <a:lnTo>
                      <a:pt x="0" y="750"/>
                    </a:lnTo>
                    <a:lnTo>
                      <a:pt x="0" y="728"/>
                    </a:lnTo>
                    <a:lnTo>
                      <a:pt x="4" y="700"/>
                    </a:lnTo>
                    <a:lnTo>
                      <a:pt x="24" y="668"/>
                    </a:lnTo>
                    <a:lnTo>
                      <a:pt x="36" y="638"/>
                    </a:lnTo>
                    <a:lnTo>
                      <a:pt x="54" y="622"/>
                    </a:lnTo>
                    <a:lnTo>
                      <a:pt x="74" y="616"/>
                    </a:lnTo>
                    <a:lnTo>
                      <a:pt x="100" y="608"/>
                    </a:lnTo>
                    <a:lnTo>
                      <a:pt x="120" y="604"/>
                    </a:lnTo>
                    <a:lnTo>
                      <a:pt x="138" y="602"/>
                    </a:lnTo>
                    <a:lnTo>
                      <a:pt x="150" y="588"/>
                    </a:lnTo>
                    <a:lnTo>
                      <a:pt x="168" y="596"/>
                    </a:lnTo>
                    <a:lnTo>
                      <a:pt x="176" y="614"/>
                    </a:lnTo>
                    <a:lnTo>
                      <a:pt x="196" y="618"/>
                    </a:lnTo>
                    <a:lnTo>
                      <a:pt x="228" y="618"/>
                    </a:lnTo>
                    <a:lnTo>
                      <a:pt x="244" y="598"/>
                    </a:lnTo>
                    <a:lnTo>
                      <a:pt x="258" y="582"/>
                    </a:lnTo>
                    <a:lnTo>
                      <a:pt x="276" y="582"/>
                    </a:lnTo>
                    <a:lnTo>
                      <a:pt x="312" y="590"/>
                    </a:lnTo>
                    <a:lnTo>
                      <a:pt x="346" y="590"/>
                    </a:lnTo>
                    <a:lnTo>
                      <a:pt x="384" y="588"/>
                    </a:lnTo>
                    <a:lnTo>
                      <a:pt x="392" y="560"/>
                    </a:lnTo>
                    <a:lnTo>
                      <a:pt x="418" y="560"/>
                    </a:lnTo>
                    <a:lnTo>
                      <a:pt x="444" y="558"/>
                    </a:lnTo>
                    <a:lnTo>
                      <a:pt x="492" y="554"/>
                    </a:lnTo>
                    <a:lnTo>
                      <a:pt x="508" y="540"/>
                    </a:lnTo>
                    <a:lnTo>
                      <a:pt x="526" y="538"/>
                    </a:lnTo>
                    <a:lnTo>
                      <a:pt x="530" y="508"/>
                    </a:lnTo>
                    <a:lnTo>
                      <a:pt x="538" y="494"/>
                    </a:lnTo>
                    <a:lnTo>
                      <a:pt x="558" y="468"/>
                    </a:lnTo>
                    <a:lnTo>
                      <a:pt x="580" y="468"/>
                    </a:lnTo>
                    <a:lnTo>
                      <a:pt x="578" y="420"/>
                    </a:lnTo>
                    <a:lnTo>
                      <a:pt x="564" y="396"/>
                    </a:lnTo>
                    <a:lnTo>
                      <a:pt x="572" y="370"/>
                    </a:lnTo>
                    <a:lnTo>
                      <a:pt x="566" y="300"/>
                    </a:lnTo>
                    <a:lnTo>
                      <a:pt x="608" y="300"/>
                    </a:lnTo>
                    <a:lnTo>
                      <a:pt x="660" y="298"/>
                    </a:lnTo>
                    <a:lnTo>
                      <a:pt x="716" y="296"/>
                    </a:lnTo>
                    <a:lnTo>
                      <a:pt x="734" y="286"/>
                    </a:lnTo>
                    <a:lnTo>
                      <a:pt x="740" y="252"/>
                    </a:lnTo>
                    <a:lnTo>
                      <a:pt x="744" y="228"/>
                    </a:lnTo>
                    <a:lnTo>
                      <a:pt x="778" y="186"/>
                    </a:lnTo>
                    <a:lnTo>
                      <a:pt x="792" y="156"/>
                    </a:lnTo>
                    <a:lnTo>
                      <a:pt x="822" y="146"/>
                    </a:lnTo>
                    <a:lnTo>
                      <a:pt x="852" y="160"/>
                    </a:lnTo>
                    <a:lnTo>
                      <a:pt x="884" y="166"/>
                    </a:lnTo>
                    <a:lnTo>
                      <a:pt x="898" y="190"/>
                    </a:lnTo>
                    <a:lnTo>
                      <a:pt x="914" y="188"/>
                    </a:lnTo>
                    <a:lnTo>
                      <a:pt x="938" y="184"/>
                    </a:lnTo>
                    <a:lnTo>
                      <a:pt x="968" y="178"/>
                    </a:lnTo>
                    <a:lnTo>
                      <a:pt x="982" y="154"/>
                    </a:lnTo>
                    <a:lnTo>
                      <a:pt x="970" y="130"/>
                    </a:lnTo>
                    <a:lnTo>
                      <a:pt x="988" y="80"/>
                    </a:lnTo>
                    <a:lnTo>
                      <a:pt x="1010" y="74"/>
                    </a:lnTo>
                    <a:lnTo>
                      <a:pt x="1040" y="70"/>
                    </a:lnTo>
                    <a:lnTo>
                      <a:pt x="1084" y="60"/>
                    </a:lnTo>
                    <a:lnTo>
                      <a:pt x="1102" y="8"/>
                    </a:lnTo>
                    <a:lnTo>
                      <a:pt x="1134" y="0"/>
                    </a:lnTo>
                    <a:lnTo>
                      <a:pt x="1162" y="28"/>
                    </a:lnTo>
                    <a:lnTo>
                      <a:pt x="1158" y="90"/>
                    </a:lnTo>
                    <a:lnTo>
                      <a:pt x="1214" y="136"/>
                    </a:lnTo>
                    <a:lnTo>
                      <a:pt x="1252" y="150"/>
                    </a:lnTo>
                    <a:lnTo>
                      <a:pt x="1280" y="178"/>
                    </a:lnTo>
                    <a:lnTo>
                      <a:pt x="1272" y="200"/>
                    </a:lnTo>
                    <a:lnTo>
                      <a:pt x="1276" y="224"/>
                    </a:lnTo>
                    <a:lnTo>
                      <a:pt x="1290" y="236"/>
                    </a:lnTo>
                    <a:lnTo>
                      <a:pt x="1306" y="260"/>
                    </a:lnTo>
                    <a:lnTo>
                      <a:pt x="1306" y="282"/>
                    </a:lnTo>
                    <a:lnTo>
                      <a:pt x="1292" y="300"/>
                    </a:lnTo>
                    <a:lnTo>
                      <a:pt x="1294" y="332"/>
                    </a:lnTo>
                    <a:lnTo>
                      <a:pt x="1268" y="348"/>
                    </a:lnTo>
                    <a:lnTo>
                      <a:pt x="1258" y="374"/>
                    </a:lnTo>
                    <a:lnTo>
                      <a:pt x="1270" y="398"/>
                    </a:lnTo>
                    <a:lnTo>
                      <a:pt x="1290" y="410"/>
                    </a:lnTo>
                    <a:lnTo>
                      <a:pt x="1314" y="420"/>
                    </a:lnTo>
                    <a:lnTo>
                      <a:pt x="1340" y="424"/>
                    </a:lnTo>
                    <a:lnTo>
                      <a:pt x="1368" y="420"/>
                    </a:lnTo>
                    <a:lnTo>
                      <a:pt x="1386" y="434"/>
                    </a:lnTo>
                    <a:lnTo>
                      <a:pt x="1410" y="444"/>
                    </a:lnTo>
                    <a:lnTo>
                      <a:pt x="1434" y="460"/>
                    </a:lnTo>
                    <a:lnTo>
                      <a:pt x="1470" y="470"/>
                    </a:lnTo>
                    <a:lnTo>
                      <a:pt x="1514" y="502"/>
                    </a:lnTo>
                    <a:lnTo>
                      <a:pt x="1550" y="510"/>
                    </a:lnTo>
                    <a:lnTo>
                      <a:pt x="1564" y="538"/>
                    </a:lnTo>
                    <a:lnTo>
                      <a:pt x="1570" y="572"/>
                    </a:lnTo>
                    <a:lnTo>
                      <a:pt x="1576" y="614"/>
                    </a:lnTo>
                    <a:lnTo>
                      <a:pt x="1602" y="666"/>
                    </a:lnTo>
                    <a:lnTo>
                      <a:pt x="1582" y="690"/>
                    </a:lnTo>
                    <a:lnTo>
                      <a:pt x="1578" y="720"/>
                    </a:lnTo>
                    <a:lnTo>
                      <a:pt x="1548" y="748"/>
                    </a:lnTo>
                    <a:lnTo>
                      <a:pt x="1536" y="732"/>
                    </a:lnTo>
                    <a:lnTo>
                      <a:pt x="1520" y="734"/>
                    </a:lnTo>
                    <a:lnTo>
                      <a:pt x="1514" y="744"/>
                    </a:lnTo>
                    <a:lnTo>
                      <a:pt x="1478" y="754"/>
                    </a:lnTo>
                    <a:lnTo>
                      <a:pt x="1446" y="776"/>
                    </a:lnTo>
                    <a:lnTo>
                      <a:pt x="1432" y="804"/>
                    </a:lnTo>
                    <a:lnTo>
                      <a:pt x="1406" y="810"/>
                    </a:lnTo>
                    <a:lnTo>
                      <a:pt x="1398" y="822"/>
                    </a:lnTo>
                    <a:lnTo>
                      <a:pt x="1398" y="852"/>
                    </a:lnTo>
                    <a:lnTo>
                      <a:pt x="1356" y="858"/>
                    </a:lnTo>
                    <a:lnTo>
                      <a:pt x="1336" y="864"/>
                    </a:lnTo>
                    <a:lnTo>
                      <a:pt x="1334" y="888"/>
                    </a:lnTo>
                    <a:lnTo>
                      <a:pt x="1338" y="922"/>
                    </a:lnTo>
                    <a:lnTo>
                      <a:pt x="1344" y="956"/>
                    </a:lnTo>
                    <a:lnTo>
                      <a:pt x="1320" y="968"/>
                    </a:lnTo>
                    <a:lnTo>
                      <a:pt x="1282" y="978"/>
                    </a:lnTo>
                    <a:lnTo>
                      <a:pt x="1252" y="978"/>
                    </a:lnTo>
                    <a:lnTo>
                      <a:pt x="1226" y="980"/>
                    </a:lnTo>
                    <a:lnTo>
                      <a:pt x="1222" y="996"/>
                    </a:lnTo>
                    <a:lnTo>
                      <a:pt x="1176" y="996"/>
                    </a:lnTo>
                    <a:lnTo>
                      <a:pt x="1128" y="1000"/>
                    </a:lnTo>
                    <a:lnTo>
                      <a:pt x="1138" y="1028"/>
                    </a:lnTo>
                    <a:lnTo>
                      <a:pt x="1146" y="1054"/>
                    </a:lnTo>
                    <a:lnTo>
                      <a:pt x="1150" y="1074"/>
                    </a:lnTo>
                    <a:lnTo>
                      <a:pt x="1166" y="1086"/>
                    </a:lnTo>
                    <a:lnTo>
                      <a:pt x="1200" y="1108"/>
                    </a:lnTo>
                    <a:lnTo>
                      <a:pt x="1194" y="1124"/>
                    </a:lnTo>
                    <a:lnTo>
                      <a:pt x="1192" y="1138"/>
                    </a:lnTo>
                    <a:lnTo>
                      <a:pt x="1170" y="1144"/>
                    </a:lnTo>
                    <a:lnTo>
                      <a:pt x="1150" y="1154"/>
                    </a:lnTo>
                    <a:lnTo>
                      <a:pt x="1160" y="1172"/>
                    </a:lnTo>
                    <a:lnTo>
                      <a:pt x="1178" y="1200"/>
                    </a:lnTo>
                    <a:lnTo>
                      <a:pt x="1174" y="1218"/>
                    </a:lnTo>
                    <a:lnTo>
                      <a:pt x="1158" y="1230"/>
                    </a:lnTo>
                    <a:lnTo>
                      <a:pt x="1136" y="1226"/>
                    </a:lnTo>
                    <a:lnTo>
                      <a:pt x="1108" y="1222"/>
                    </a:lnTo>
                    <a:lnTo>
                      <a:pt x="1090" y="1206"/>
                    </a:lnTo>
                    <a:lnTo>
                      <a:pt x="1056" y="1214"/>
                    </a:lnTo>
                    <a:lnTo>
                      <a:pt x="1046" y="1222"/>
                    </a:lnTo>
                    <a:lnTo>
                      <a:pt x="1032" y="1214"/>
                    </a:lnTo>
                    <a:lnTo>
                      <a:pt x="996" y="1184"/>
                    </a:lnTo>
                    <a:lnTo>
                      <a:pt x="938" y="1160"/>
                    </a:lnTo>
                    <a:lnTo>
                      <a:pt x="918" y="1156"/>
                    </a:lnTo>
                    <a:lnTo>
                      <a:pt x="892" y="1160"/>
                    </a:lnTo>
                    <a:lnTo>
                      <a:pt x="858" y="1166"/>
                    </a:lnTo>
                    <a:lnTo>
                      <a:pt x="808" y="1164"/>
                    </a:lnTo>
                    <a:lnTo>
                      <a:pt x="794" y="1178"/>
                    </a:lnTo>
                    <a:lnTo>
                      <a:pt x="770" y="1194"/>
                    </a:lnTo>
                    <a:lnTo>
                      <a:pt x="742" y="1198"/>
                    </a:lnTo>
                    <a:lnTo>
                      <a:pt x="690" y="1194"/>
                    </a:lnTo>
                    <a:lnTo>
                      <a:pt x="660" y="1204"/>
                    </a:lnTo>
                    <a:lnTo>
                      <a:pt x="646" y="1224"/>
                    </a:lnTo>
                    <a:lnTo>
                      <a:pt x="620" y="1212"/>
                    </a:lnTo>
                    <a:lnTo>
                      <a:pt x="598" y="1202"/>
                    </a:lnTo>
                    <a:lnTo>
                      <a:pt x="566" y="1180"/>
                    </a:lnTo>
                    <a:lnTo>
                      <a:pt x="538" y="1156"/>
                    </a:lnTo>
                    <a:lnTo>
                      <a:pt x="516" y="1162"/>
                    </a:lnTo>
                    <a:lnTo>
                      <a:pt x="498" y="1176"/>
                    </a:lnTo>
                    <a:lnTo>
                      <a:pt x="468" y="1180"/>
                    </a:lnTo>
                    <a:lnTo>
                      <a:pt x="444" y="1174"/>
                    </a:lnTo>
                    <a:lnTo>
                      <a:pt x="426" y="1164"/>
                    </a:lnTo>
                    <a:lnTo>
                      <a:pt x="404" y="1156"/>
                    </a:lnTo>
                    <a:lnTo>
                      <a:pt x="360" y="1170"/>
                    </a:lnTo>
                    <a:lnTo>
                      <a:pt x="328" y="1182"/>
                    </a:lnTo>
                    <a:lnTo>
                      <a:pt x="326" y="1218"/>
                    </a:lnTo>
                    <a:lnTo>
                      <a:pt x="300" y="1224"/>
                    </a:lnTo>
                    <a:lnTo>
                      <a:pt x="270" y="1222"/>
                    </a:lnTo>
                    <a:lnTo>
                      <a:pt x="250" y="1218"/>
                    </a:lnTo>
                    <a:lnTo>
                      <a:pt x="238" y="1208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128" name="Freeform 32"/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3340100" y="1143000"/>
                <a:ext cx="2882900" cy="2300288"/>
              </a:xfrm>
              <a:custGeom>
                <a:avLst/>
                <a:gdLst>
                  <a:gd name="T0" fmla="*/ 2147483647 w 1756"/>
                  <a:gd name="T1" fmla="*/ 2147483647 h 1462"/>
                  <a:gd name="T2" fmla="*/ 2147483647 w 1756"/>
                  <a:gd name="T3" fmla="*/ 2147483647 h 1462"/>
                  <a:gd name="T4" fmla="*/ 2147483647 w 1756"/>
                  <a:gd name="T5" fmla="*/ 2147483647 h 1462"/>
                  <a:gd name="T6" fmla="*/ 2147483647 w 1756"/>
                  <a:gd name="T7" fmla="*/ 2147483647 h 1462"/>
                  <a:gd name="T8" fmla="*/ 2147483647 w 1756"/>
                  <a:gd name="T9" fmla="*/ 2147483647 h 1462"/>
                  <a:gd name="T10" fmla="*/ 2147483647 w 1756"/>
                  <a:gd name="T11" fmla="*/ 2147483647 h 1462"/>
                  <a:gd name="T12" fmla="*/ 2147483647 w 1756"/>
                  <a:gd name="T13" fmla="*/ 2147483647 h 1462"/>
                  <a:gd name="T14" fmla="*/ 2147483647 w 1756"/>
                  <a:gd name="T15" fmla="*/ 2147483647 h 1462"/>
                  <a:gd name="T16" fmla="*/ 2147483647 w 1756"/>
                  <a:gd name="T17" fmla="*/ 2147483647 h 1462"/>
                  <a:gd name="T18" fmla="*/ 2147483647 w 1756"/>
                  <a:gd name="T19" fmla="*/ 2147483647 h 1462"/>
                  <a:gd name="T20" fmla="*/ 2147483647 w 1756"/>
                  <a:gd name="T21" fmla="*/ 2147483647 h 1462"/>
                  <a:gd name="T22" fmla="*/ 2147483647 w 1756"/>
                  <a:gd name="T23" fmla="*/ 2147483647 h 1462"/>
                  <a:gd name="T24" fmla="*/ 2147483647 w 1756"/>
                  <a:gd name="T25" fmla="*/ 2147483647 h 1462"/>
                  <a:gd name="T26" fmla="*/ 2147483647 w 1756"/>
                  <a:gd name="T27" fmla="*/ 2147483647 h 1462"/>
                  <a:gd name="T28" fmla="*/ 2147483647 w 1756"/>
                  <a:gd name="T29" fmla="*/ 2147483647 h 1462"/>
                  <a:gd name="T30" fmla="*/ 2147483647 w 1756"/>
                  <a:gd name="T31" fmla="*/ 2147483647 h 1462"/>
                  <a:gd name="T32" fmla="*/ 2147483647 w 1756"/>
                  <a:gd name="T33" fmla="*/ 2147483647 h 1462"/>
                  <a:gd name="T34" fmla="*/ 2147483647 w 1756"/>
                  <a:gd name="T35" fmla="*/ 2147483647 h 1462"/>
                  <a:gd name="T36" fmla="*/ 2147483647 w 1756"/>
                  <a:gd name="T37" fmla="*/ 0 h 1462"/>
                  <a:gd name="T38" fmla="*/ 2147483647 w 1756"/>
                  <a:gd name="T39" fmla="*/ 2147483647 h 1462"/>
                  <a:gd name="T40" fmla="*/ 2147483647 w 1756"/>
                  <a:gd name="T41" fmla="*/ 2147483647 h 1462"/>
                  <a:gd name="T42" fmla="*/ 2147483647 w 1756"/>
                  <a:gd name="T43" fmla="*/ 2147483647 h 1462"/>
                  <a:gd name="T44" fmla="*/ 2147483647 w 1756"/>
                  <a:gd name="T45" fmla="*/ 2147483647 h 1462"/>
                  <a:gd name="T46" fmla="*/ 2147483647 w 1756"/>
                  <a:gd name="T47" fmla="*/ 2147483647 h 1462"/>
                  <a:gd name="T48" fmla="*/ 2147483647 w 1756"/>
                  <a:gd name="T49" fmla="*/ 2147483647 h 1462"/>
                  <a:gd name="T50" fmla="*/ 2147483647 w 1756"/>
                  <a:gd name="T51" fmla="*/ 2147483647 h 1462"/>
                  <a:gd name="T52" fmla="*/ 2147483647 w 1756"/>
                  <a:gd name="T53" fmla="*/ 2147483647 h 1462"/>
                  <a:gd name="T54" fmla="*/ 2147483647 w 1756"/>
                  <a:gd name="T55" fmla="*/ 2147483647 h 1462"/>
                  <a:gd name="T56" fmla="*/ 2147483647 w 1756"/>
                  <a:gd name="T57" fmla="*/ 2147483647 h 1462"/>
                  <a:gd name="T58" fmla="*/ 2147483647 w 1756"/>
                  <a:gd name="T59" fmla="*/ 2147483647 h 1462"/>
                  <a:gd name="T60" fmla="*/ 2147483647 w 1756"/>
                  <a:gd name="T61" fmla="*/ 2147483647 h 1462"/>
                  <a:gd name="T62" fmla="*/ 2147483647 w 1756"/>
                  <a:gd name="T63" fmla="*/ 2147483647 h 1462"/>
                  <a:gd name="T64" fmla="*/ 2147483647 w 1756"/>
                  <a:gd name="T65" fmla="*/ 2147483647 h 1462"/>
                  <a:gd name="T66" fmla="*/ 2147483647 w 1756"/>
                  <a:gd name="T67" fmla="*/ 2147483647 h 1462"/>
                  <a:gd name="T68" fmla="*/ 2147483647 w 1756"/>
                  <a:gd name="T69" fmla="*/ 2147483647 h 1462"/>
                  <a:gd name="T70" fmla="*/ 2147483647 w 1756"/>
                  <a:gd name="T71" fmla="*/ 2147483647 h 1462"/>
                  <a:gd name="T72" fmla="*/ 2147483647 w 1756"/>
                  <a:gd name="T73" fmla="*/ 2147483647 h 1462"/>
                  <a:gd name="T74" fmla="*/ 2147483647 w 1756"/>
                  <a:gd name="T75" fmla="*/ 2147483647 h 1462"/>
                  <a:gd name="T76" fmla="*/ 2147483647 w 1756"/>
                  <a:gd name="T77" fmla="*/ 2147483647 h 1462"/>
                  <a:gd name="T78" fmla="*/ 2147483647 w 1756"/>
                  <a:gd name="T79" fmla="*/ 2147483647 h 1462"/>
                  <a:gd name="T80" fmla="*/ 2147483647 w 1756"/>
                  <a:gd name="T81" fmla="*/ 2147483647 h 1462"/>
                  <a:gd name="T82" fmla="*/ 2147483647 w 1756"/>
                  <a:gd name="T83" fmla="*/ 2147483647 h 1462"/>
                  <a:gd name="T84" fmla="*/ 2147483647 w 1756"/>
                  <a:gd name="T85" fmla="*/ 2147483647 h 1462"/>
                  <a:gd name="T86" fmla="*/ 2147483647 w 1756"/>
                  <a:gd name="T87" fmla="*/ 2147483647 h 1462"/>
                  <a:gd name="T88" fmla="*/ 2147483647 w 1756"/>
                  <a:gd name="T89" fmla="*/ 2147483647 h 1462"/>
                  <a:gd name="T90" fmla="*/ 2147483647 w 1756"/>
                  <a:gd name="T91" fmla="*/ 2147483647 h 1462"/>
                  <a:gd name="T92" fmla="*/ 2147483647 w 1756"/>
                  <a:gd name="T93" fmla="*/ 2147483647 h 1462"/>
                  <a:gd name="T94" fmla="*/ 2147483647 w 1756"/>
                  <a:gd name="T95" fmla="*/ 2147483647 h 1462"/>
                  <a:gd name="T96" fmla="*/ 2147483647 w 1756"/>
                  <a:gd name="T97" fmla="*/ 2147483647 h 1462"/>
                  <a:gd name="T98" fmla="*/ 2147483647 w 1756"/>
                  <a:gd name="T99" fmla="*/ 2147483647 h 1462"/>
                  <a:gd name="T100" fmla="*/ 2147483647 w 1756"/>
                  <a:gd name="T101" fmla="*/ 2147483647 h 1462"/>
                  <a:gd name="T102" fmla="*/ 2147483647 w 1756"/>
                  <a:gd name="T103" fmla="*/ 2147483647 h 1462"/>
                  <a:gd name="T104" fmla="*/ 2147483647 w 1756"/>
                  <a:gd name="T105" fmla="*/ 2147483647 h 1462"/>
                  <a:gd name="T106" fmla="*/ 2147483647 w 1756"/>
                  <a:gd name="T107" fmla="*/ 2147483647 h 1462"/>
                  <a:gd name="T108" fmla="*/ 2147483647 w 1756"/>
                  <a:gd name="T109" fmla="*/ 2147483647 h 1462"/>
                  <a:gd name="T110" fmla="*/ 2147483647 w 1756"/>
                  <a:gd name="T111" fmla="*/ 2147483647 h 1462"/>
                  <a:gd name="T112" fmla="*/ 2147483647 w 1756"/>
                  <a:gd name="T113" fmla="*/ 2147483647 h 1462"/>
                  <a:gd name="T114" fmla="*/ 2147483647 w 1756"/>
                  <a:gd name="T115" fmla="*/ 2147483647 h 146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756"/>
                  <a:gd name="T175" fmla="*/ 0 h 1462"/>
                  <a:gd name="T176" fmla="*/ 1756 w 1756"/>
                  <a:gd name="T177" fmla="*/ 1462 h 1462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756" h="1462">
                    <a:moveTo>
                      <a:pt x="0" y="954"/>
                    </a:moveTo>
                    <a:lnTo>
                      <a:pt x="12" y="946"/>
                    </a:lnTo>
                    <a:lnTo>
                      <a:pt x="54" y="962"/>
                    </a:lnTo>
                    <a:lnTo>
                      <a:pt x="76" y="962"/>
                    </a:lnTo>
                    <a:lnTo>
                      <a:pt x="104" y="968"/>
                    </a:lnTo>
                    <a:lnTo>
                      <a:pt x="130" y="970"/>
                    </a:lnTo>
                    <a:lnTo>
                      <a:pt x="162" y="982"/>
                    </a:lnTo>
                    <a:lnTo>
                      <a:pt x="190" y="994"/>
                    </a:lnTo>
                    <a:lnTo>
                      <a:pt x="214" y="980"/>
                    </a:lnTo>
                    <a:lnTo>
                      <a:pt x="260" y="982"/>
                    </a:lnTo>
                    <a:lnTo>
                      <a:pt x="290" y="978"/>
                    </a:lnTo>
                    <a:lnTo>
                      <a:pt x="316" y="1002"/>
                    </a:lnTo>
                    <a:lnTo>
                      <a:pt x="336" y="1014"/>
                    </a:lnTo>
                    <a:lnTo>
                      <a:pt x="368" y="1038"/>
                    </a:lnTo>
                    <a:lnTo>
                      <a:pt x="396" y="1052"/>
                    </a:lnTo>
                    <a:lnTo>
                      <a:pt x="432" y="1062"/>
                    </a:lnTo>
                    <a:lnTo>
                      <a:pt x="470" y="1058"/>
                    </a:lnTo>
                    <a:lnTo>
                      <a:pt x="514" y="1064"/>
                    </a:lnTo>
                    <a:lnTo>
                      <a:pt x="544" y="1052"/>
                    </a:lnTo>
                    <a:lnTo>
                      <a:pt x="570" y="1042"/>
                    </a:lnTo>
                    <a:lnTo>
                      <a:pt x="596" y="1030"/>
                    </a:lnTo>
                    <a:lnTo>
                      <a:pt x="616" y="1018"/>
                    </a:lnTo>
                    <a:lnTo>
                      <a:pt x="646" y="1012"/>
                    </a:lnTo>
                    <a:lnTo>
                      <a:pt x="688" y="1002"/>
                    </a:lnTo>
                    <a:lnTo>
                      <a:pt x="724" y="1000"/>
                    </a:lnTo>
                    <a:lnTo>
                      <a:pt x="732" y="986"/>
                    </a:lnTo>
                    <a:lnTo>
                      <a:pt x="760" y="984"/>
                    </a:lnTo>
                    <a:lnTo>
                      <a:pt x="798" y="990"/>
                    </a:lnTo>
                    <a:lnTo>
                      <a:pt x="846" y="988"/>
                    </a:lnTo>
                    <a:lnTo>
                      <a:pt x="856" y="968"/>
                    </a:lnTo>
                    <a:lnTo>
                      <a:pt x="892" y="956"/>
                    </a:lnTo>
                    <a:lnTo>
                      <a:pt x="914" y="942"/>
                    </a:lnTo>
                    <a:lnTo>
                      <a:pt x="920" y="906"/>
                    </a:lnTo>
                    <a:lnTo>
                      <a:pt x="938" y="884"/>
                    </a:lnTo>
                    <a:lnTo>
                      <a:pt x="966" y="878"/>
                    </a:lnTo>
                    <a:lnTo>
                      <a:pt x="982" y="866"/>
                    </a:lnTo>
                    <a:lnTo>
                      <a:pt x="960" y="848"/>
                    </a:lnTo>
                    <a:lnTo>
                      <a:pt x="948" y="816"/>
                    </a:lnTo>
                    <a:lnTo>
                      <a:pt x="944" y="794"/>
                    </a:lnTo>
                    <a:lnTo>
                      <a:pt x="968" y="770"/>
                    </a:lnTo>
                    <a:lnTo>
                      <a:pt x="984" y="744"/>
                    </a:lnTo>
                    <a:lnTo>
                      <a:pt x="1012" y="748"/>
                    </a:lnTo>
                    <a:lnTo>
                      <a:pt x="1036" y="760"/>
                    </a:lnTo>
                    <a:lnTo>
                      <a:pt x="1068" y="768"/>
                    </a:lnTo>
                    <a:lnTo>
                      <a:pt x="1108" y="750"/>
                    </a:lnTo>
                    <a:lnTo>
                      <a:pt x="1128" y="732"/>
                    </a:lnTo>
                    <a:lnTo>
                      <a:pt x="1144" y="700"/>
                    </a:lnTo>
                    <a:lnTo>
                      <a:pt x="1168" y="706"/>
                    </a:lnTo>
                    <a:lnTo>
                      <a:pt x="1204" y="700"/>
                    </a:lnTo>
                    <a:lnTo>
                      <a:pt x="1242" y="676"/>
                    </a:lnTo>
                    <a:lnTo>
                      <a:pt x="1242" y="628"/>
                    </a:lnTo>
                    <a:lnTo>
                      <a:pt x="1264" y="606"/>
                    </a:lnTo>
                    <a:lnTo>
                      <a:pt x="1290" y="584"/>
                    </a:lnTo>
                    <a:lnTo>
                      <a:pt x="1324" y="586"/>
                    </a:lnTo>
                    <a:lnTo>
                      <a:pt x="1350" y="562"/>
                    </a:lnTo>
                    <a:lnTo>
                      <a:pt x="1382" y="554"/>
                    </a:lnTo>
                    <a:lnTo>
                      <a:pt x="1440" y="558"/>
                    </a:lnTo>
                    <a:lnTo>
                      <a:pt x="1456" y="554"/>
                    </a:lnTo>
                    <a:lnTo>
                      <a:pt x="1470" y="518"/>
                    </a:lnTo>
                    <a:lnTo>
                      <a:pt x="1448" y="510"/>
                    </a:lnTo>
                    <a:lnTo>
                      <a:pt x="1412" y="484"/>
                    </a:lnTo>
                    <a:lnTo>
                      <a:pt x="1392" y="460"/>
                    </a:lnTo>
                    <a:lnTo>
                      <a:pt x="1362" y="448"/>
                    </a:lnTo>
                    <a:lnTo>
                      <a:pt x="1340" y="444"/>
                    </a:lnTo>
                    <a:lnTo>
                      <a:pt x="1316" y="446"/>
                    </a:lnTo>
                    <a:lnTo>
                      <a:pt x="1304" y="480"/>
                    </a:lnTo>
                    <a:lnTo>
                      <a:pt x="1268" y="488"/>
                    </a:lnTo>
                    <a:lnTo>
                      <a:pt x="1248" y="474"/>
                    </a:lnTo>
                    <a:lnTo>
                      <a:pt x="1222" y="484"/>
                    </a:lnTo>
                    <a:lnTo>
                      <a:pt x="1200" y="502"/>
                    </a:lnTo>
                    <a:lnTo>
                      <a:pt x="1172" y="492"/>
                    </a:lnTo>
                    <a:lnTo>
                      <a:pt x="1160" y="452"/>
                    </a:lnTo>
                    <a:lnTo>
                      <a:pt x="1168" y="404"/>
                    </a:lnTo>
                    <a:lnTo>
                      <a:pt x="1180" y="352"/>
                    </a:lnTo>
                    <a:lnTo>
                      <a:pt x="1196" y="326"/>
                    </a:lnTo>
                    <a:lnTo>
                      <a:pt x="1200" y="310"/>
                    </a:lnTo>
                    <a:lnTo>
                      <a:pt x="1216" y="288"/>
                    </a:lnTo>
                    <a:lnTo>
                      <a:pt x="1232" y="302"/>
                    </a:lnTo>
                    <a:lnTo>
                      <a:pt x="1262" y="298"/>
                    </a:lnTo>
                    <a:lnTo>
                      <a:pt x="1284" y="304"/>
                    </a:lnTo>
                    <a:lnTo>
                      <a:pt x="1300" y="288"/>
                    </a:lnTo>
                    <a:lnTo>
                      <a:pt x="1314" y="272"/>
                    </a:lnTo>
                    <a:lnTo>
                      <a:pt x="1346" y="258"/>
                    </a:lnTo>
                    <a:lnTo>
                      <a:pt x="1358" y="236"/>
                    </a:lnTo>
                    <a:lnTo>
                      <a:pt x="1364" y="212"/>
                    </a:lnTo>
                    <a:lnTo>
                      <a:pt x="1356" y="172"/>
                    </a:lnTo>
                    <a:lnTo>
                      <a:pt x="1368" y="134"/>
                    </a:lnTo>
                    <a:lnTo>
                      <a:pt x="1388" y="118"/>
                    </a:lnTo>
                    <a:lnTo>
                      <a:pt x="1410" y="80"/>
                    </a:lnTo>
                    <a:lnTo>
                      <a:pt x="1410" y="52"/>
                    </a:lnTo>
                    <a:lnTo>
                      <a:pt x="1428" y="28"/>
                    </a:lnTo>
                    <a:lnTo>
                      <a:pt x="1444" y="24"/>
                    </a:lnTo>
                    <a:lnTo>
                      <a:pt x="1488" y="30"/>
                    </a:lnTo>
                    <a:lnTo>
                      <a:pt x="1504" y="22"/>
                    </a:lnTo>
                    <a:lnTo>
                      <a:pt x="1514" y="0"/>
                    </a:lnTo>
                    <a:lnTo>
                      <a:pt x="1534" y="20"/>
                    </a:lnTo>
                    <a:lnTo>
                      <a:pt x="1562" y="24"/>
                    </a:lnTo>
                    <a:lnTo>
                      <a:pt x="1550" y="38"/>
                    </a:lnTo>
                    <a:lnTo>
                      <a:pt x="1554" y="64"/>
                    </a:lnTo>
                    <a:lnTo>
                      <a:pt x="1568" y="82"/>
                    </a:lnTo>
                    <a:lnTo>
                      <a:pt x="1580" y="94"/>
                    </a:lnTo>
                    <a:lnTo>
                      <a:pt x="1600" y="98"/>
                    </a:lnTo>
                    <a:lnTo>
                      <a:pt x="1610" y="86"/>
                    </a:lnTo>
                    <a:lnTo>
                      <a:pt x="1638" y="80"/>
                    </a:lnTo>
                    <a:lnTo>
                      <a:pt x="1654" y="72"/>
                    </a:lnTo>
                    <a:lnTo>
                      <a:pt x="1670" y="70"/>
                    </a:lnTo>
                    <a:lnTo>
                      <a:pt x="1688" y="58"/>
                    </a:lnTo>
                    <a:lnTo>
                      <a:pt x="1712" y="68"/>
                    </a:lnTo>
                    <a:lnTo>
                      <a:pt x="1732" y="88"/>
                    </a:lnTo>
                    <a:lnTo>
                      <a:pt x="1734" y="108"/>
                    </a:lnTo>
                    <a:lnTo>
                      <a:pt x="1740" y="132"/>
                    </a:lnTo>
                    <a:lnTo>
                      <a:pt x="1732" y="146"/>
                    </a:lnTo>
                    <a:lnTo>
                      <a:pt x="1728" y="164"/>
                    </a:lnTo>
                    <a:lnTo>
                      <a:pt x="1722" y="176"/>
                    </a:lnTo>
                    <a:lnTo>
                      <a:pt x="1720" y="196"/>
                    </a:lnTo>
                    <a:lnTo>
                      <a:pt x="1734" y="224"/>
                    </a:lnTo>
                    <a:lnTo>
                      <a:pt x="1744" y="236"/>
                    </a:lnTo>
                    <a:lnTo>
                      <a:pt x="1736" y="238"/>
                    </a:lnTo>
                    <a:lnTo>
                      <a:pt x="1734" y="276"/>
                    </a:lnTo>
                    <a:lnTo>
                      <a:pt x="1734" y="290"/>
                    </a:lnTo>
                    <a:lnTo>
                      <a:pt x="1728" y="306"/>
                    </a:lnTo>
                    <a:lnTo>
                      <a:pt x="1716" y="314"/>
                    </a:lnTo>
                    <a:lnTo>
                      <a:pt x="1720" y="348"/>
                    </a:lnTo>
                    <a:lnTo>
                      <a:pt x="1718" y="366"/>
                    </a:lnTo>
                    <a:lnTo>
                      <a:pt x="1688" y="362"/>
                    </a:lnTo>
                    <a:lnTo>
                      <a:pt x="1680" y="370"/>
                    </a:lnTo>
                    <a:lnTo>
                      <a:pt x="1674" y="390"/>
                    </a:lnTo>
                    <a:lnTo>
                      <a:pt x="1668" y="404"/>
                    </a:lnTo>
                    <a:lnTo>
                      <a:pt x="1650" y="410"/>
                    </a:lnTo>
                    <a:lnTo>
                      <a:pt x="1628" y="436"/>
                    </a:lnTo>
                    <a:lnTo>
                      <a:pt x="1626" y="464"/>
                    </a:lnTo>
                    <a:lnTo>
                      <a:pt x="1636" y="478"/>
                    </a:lnTo>
                    <a:lnTo>
                      <a:pt x="1656" y="494"/>
                    </a:lnTo>
                    <a:lnTo>
                      <a:pt x="1676" y="504"/>
                    </a:lnTo>
                    <a:lnTo>
                      <a:pt x="1684" y="548"/>
                    </a:lnTo>
                    <a:lnTo>
                      <a:pt x="1678" y="568"/>
                    </a:lnTo>
                    <a:lnTo>
                      <a:pt x="1668" y="586"/>
                    </a:lnTo>
                    <a:lnTo>
                      <a:pt x="1644" y="598"/>
                    </a:lnTo>
                    <a:lnTo>
                      <a:pt x="1612" y="598"/>
                    </a:lnTo>
                    <a:lnTo>
                      <a:pt x="1602" y="606"/>
                    </a:lnTo>
                    <a:lnTo>
                      <a:pt x="1620" y="624"/>
                    </a:lnTo>
                    <a:lnTo>
                      <a:pt x="1634" y="646"/>
                    </a:lnTo>
                    <a:lnTo>
                      <a:pt x="1632" y="664"/>
                    </a:lnTo>
                    <a:lnTo>
                      <a:pt x="1640" y="702"/>
                    </a:lnTo>
                    <a:lnTo>
                      <a:pt x="1652" y="722"/>
                    </a:lnTo>
                    <a:lnTo>
                      <a:pt x="1664" y="726"/>
                    </a:lnTo>
                    <a:lnTo>
                      <a:pt x="1684" y="710"/>
                    </a:lnTo>
                    <a:lnTo>
                      <a:pt x="1712" y="716"/>
                    </a:lnTo>
                    <a:lnTo>
                      <a:pt x="1720" y="736"/>
                    </a:lnTo>
                    <a:lnTo>
                      <a:pt x="1740" y="770"/>
                    </a:lnTo>
                    <a:lnTo>
                      <a:pt x="1756" y="802"/>
                    </a:lnTo>
                    <a:lnTo>
                      <a:pt x="1740" y="834"/>
                    </a:lnTo>
                    <a:lnTo>
                      <a:pt x="1722" y="856"/>
                    </a:lnTo>
                    <a:lnTo>
                      <a:pt x="1680" y="852"/>
                    </a:lnTo>
                    <a:lnTo>
                      <a:pt x="1660" y="882"/>
                    </a:lnTo>
                    <a:lnTo>
                      <a:pt x="1644" y="892"/>
                    </a:lnTo>
                    <a:lnTo>
                      <a:pt x="1648" y="910"/>
                    </a:lnTo>
                    <a:lnTo>
                      <a:pt x="1630" y="918"/>
                    </a:lnTo>
                    <a:lnTo>
                      <a:pt x="1606" y="936"/>
                    </a:lnTo>
                    <a:lnTo>
                      <a:pt x="1604" y="946"/>
                    </a:lnTo>
                    <a:lnTo>
                      <a:pt x="1576" y="946"/>
                    </a:lnTo>
                    <a:lnTo>
                      <a:pt x="1574" y="968"/>
                    </a:lnTo>
                    <a:lnTo>
                      <a:pt x="1544" y="968"/>
                    </a:lnTo>
                    <a:lnTo>
                      <a:pt x="1522" y="950"/>
                    </a:lnTo>
                    <a:lnTo>
                      <a:pt x="1510" y="946"/>
                    </a:lnTo>
                    <a:lnTo>
                      <a:pt x="1500" y="1000"/>
                    </a:lnTo>
                    <a:lnTo>
                      <a:pt x="1492" y="1032"/>
                    </a:lnTo>
                    <a:lnTo>
                      <a:pt x="1492" y="1060"/>
                    </a:lnTo>
                    <a:lnTo>
                      <a:pt x="1486" y="1052"/>
                    </a:lnTo>
                    <a:lnTo>
                      <a:pt x="1462" y="1050"/>
                    </a:lnTo>
                    <a:lnTo>
                      <a:pt x="1458" y="1036"/>
                    </a:lnTo>
                    <a:lnTo>
                      <a:pt x="1434" y="1042"/>
                    </a:lnTo>
                    <a:lnTo>
                      <a:pt x="1428" y="1032"/>
                    </a:lnTo>
                    <a:lnTo>
                      <a:pt x="1428" y="1014"/>
                    </a:lnTo>
                    <a:lnTo>
                      <a:pt x="1428" y="996"/>
                    </a:lnTo>
                    <a:lnTo>
                      <a:pt x="1418" y="980"/>
                    </a:lnTo>
                    <a:lnTo>
                      <a:pt x="1402" y="968"/>
                    </a:lnTo>
                    <a:lnTo>
                      <a:pt x="1382" y="948"/>
                    </a:lnTo>
                    <a:lnTo>
                      <a:pt x="1380" y="932"/>
                    </a:lnTo>
                    <a:lnTo>
                      <a:pt x="1368" y="930"/>
                    </a:lnTo>
                    <a:lnTo>
                      <a:pt x="1356" y="954"/>
                    </a:lnTo>
                    <a:lnTo>
                      <a:pt x="1342" y="964"/>
                    </a:lnTo>
                    <a:lnTo>
                      <a:pt x="1324" y="974"/>
                    </a:lnTo>
                    <a:lnTo>
                      <a:pt x="1326" y="1000"/>
                    </a:lnTo>
                    <a:lnTo>
                      <a:pt x="1296" y="1002"/>
                    </a:lnTo>
                    <a:lnTo>
                      <a:pt x="1258" y="1012"/>
                    </a:lnTo>
                    <a:lnTo>
                      <a:pt x="1242" y="1024"/>
                    </a:lnTo>
                    <a:lnTo>
                      <a:pt x="1218" y="1022"/>
                    </a:lnTo>
                    <a:lnTo>
                      <a:pt x="1192" y="1022"/>
                    </a:lnTo>
                    <a:lnTo>
                      <a:pt x="1184" y="1012"/>
                    </a:lnTo>
                    <a:lnTo>
                      <a:pt x="1180" y="1008"/>
                    </a:lnTo>
                    <a:lnTo>
                      <a:pt x="1172" y="1020"/>
                    </a:lnTo>
                    <a:lnTo>
                      <a:pt x="1150" y="1038"/>
                    </a:lnTo>
                    <a:lnTo>
                      <a:pt x="1148" y="1056"/>
                    </a:lnTo>
                    <a:lnTo>
                      <a:pt x="1152" y="1078"/>
                    </a:lnTo>
                    <a:lnTo>
                      <a:pt x="1136" y="1096"/>
                    </a:lnTo>
                    <a:lnTo>
                      <a:pt x="1148" y="1122"/>
                    </a:lnTo>
                    <a:lnTo>
                      <a:pt x="1142" y="1140"/>
                    </a:lnTo>
                    <a:lnTo>
                      <a:pt x="1116" y="1152"/>
                    </a:lnTo>
                    <a:lnTo>
                      <a:pt x="1092" y="1160"/>
                    </a:lnTo>
                    <a:lnTo>
                      <a:pt x="1080" y="1174"/>
                    </a:lnTo>
                    <a:lnTo>
                      <a:pt x="1048" y="1172"/>
                    </a:lnTo>
                    <a:lnTo>
                      <a:pt x="1048" y="1184"/>
                    </a:lnTo>
                    <a:lnTo>
                      <a:pt x="1030" y="1198"/>
                    </a:lnTo>
                    <a:lnTo>
                      <a:pt x="1010" y="1210"/>
                    </a:lnTo>
                    <a:lnTo>
                      <a:pt x="1004" y="1232"/>
                    </a:lnTo>
                    <a:lnTo>
                      <a:pt x="982" y="1248"/>
                    </a:lnTo>
                    <a:lnTo>
                      <a:pt x="954" y="1256"/>
                    </a:lnTo>
                    <a:lnTo>
                      <a:pt x="952" y="1276"/>
                    </a:lnTo>
                    <a:lnTo>
                      <a:pt x="924" y="1268"/>
                    </a:lnTo>
                    <a:lnTo>
                      <a:pt x="902" y="1270"/>
                    </a:lnTo>
                    <a:lnTo>
                      <a:pt x="882" y="1276"/>
                    </a:lnTo>
                    <a:lnTo>
                      <a:pt x="870" y="1302"/>
                    </a:lnTo>
                    <a:lnTo>
                      <a:pt x="856" y="1306"/>
                    </a:lnTo>
                    <a:lnTo>
                      <a:pt x="842" y="1328"/>
                    </a:lnTo>
                    <a:lnTo>
                      <a:pt x="828" y="1346"/>
                    </a:lnTo>
                    <a:lnTo>
                      <a:pt x="828" y="1378"/>
                    </a:lnTo>
                    <a:lnTo>
                      <a:pt x="812" y="1396"/>
                    </a:lnTo>
                    <a:lnTo>
                      <a:pt x="810" y="1414"/>
                    </a:lnTo>
                    <a:lnTo>
                      <a:pt x="808" y="1430"/>
                    </a:lnTo>
                    <a:lnTo>
                      <a:pt x="790" y="1428"/>
                    </a:lnTo>
                    <a:lnTo>
                      <a:pt x="776" y="1438"/>
                    </a:lnTo>
                    <a:lnTo>
                      <a:pt x="750" y="1428"/>
                    </a:lnTo>
                    <a:lnTo>
                      <a:pt x="740" y="1412"/>
                    </a:lnTo>
                    <a:lnTo>
                      <a:pt x="722" y="1414"/>
                    </a:lnTo>
                    <a:lnTo>
                      <a:pt x="710" y="1424"/>
                    </a:lnTo>
                    <a:lnTo>
                      <a:pt x="698" y="1408"/>
                    </a:lnTo>
                    <a:lnTo>
                      <a:pt x="688" y="1386"/>
                    </a:lnTo>
                    <a:lnTo>
                      <a:pt x="666" y="1390"/>
                    </a:lnTo>
                    <a:lnTo>
                      <a:pt x="654" y="1374"/>
                    </a:lnTo>
                    <a:lnTo>
                      <a:pt x="658" y="1350"/>
                    </a:lnTo>
                    <a:lnTo>
                      <a:pt x="658" y="1316"/>
                    </a:lnTo>
                    <a:lnTo>
                      <a:pt x="652" y="1298"/>
                    </a:lnTo>
                    <a:lnTo>
                      <a:pt x="640" y="1278"/>
                    </a:lnTo>
                    <a:lnTo>
                      <a:pt x="626" y="1294"/>
                    </a:lnTo>
                    <a:lnTo>
                      <a:pt x="622" y="1310"/>
                    </a:lnTo>
                    <a:lnTo>
                      <a:pt x="610" y="1328"/>
                    </a:lnTo>
                    <a:lnTo>
                      <a:pt x="594" y="1370"/>
                    </a:lnTo>
                    <a:lnTo>
                      <a:pt x="580" y="1378"/>
                    </a:lnTo>
                    <a:lnTo>
                      <a:pt x="570" y="1402"/>
                    </a:lnTo>
                    <a:lnTo>
                      <a:pt x="558" y="1414"/>
                    </a:lnTo>
                    <a:lnTo>
                      <a:pt x="552" y="1430"/>
                    </a:lnTo>
                    <a:lnTo>
                      <a:pt x="512" y="1440"/>
                    </a:lnTo>
                    <a:lnTo>
                      <a:pt x="490" y="1450"/>
                    </a:lnTo>
                    <a:lnTo>
                      <a:pt x="458" y="1462"/>
                    </a:lnTo>
                    <a:lnTo>
                      <a:pt x="436" y="1434"/>
                    </a:lnTo>
                    <a:lnTo>
                      <a:pt x="416" y="1426"/>
                    </a:lnTo>
                    <a:lnTo>
                      <a:pt x="408" y="1406"/>
                    </a:lnTo>
                    <a:lnTo>
                      <a:pt x="416" y="1380"/>
                    </a:lnTo>
                    <a:lnTo>
                      <a:pt x="430" y="1366"/>
                    </a:lnTo>
                    <a:lnTo>
                      <a:pt x="428" y="1340"/>
                    </a:lnTo>
                    <a:lnTo>
                      <a:pt x="452" y="1332"/>
                    </a:lnTo>
                    <a:lnTo>
                      <a:pt x="456" y="1318"/>
                    </a:lnTo>
                    <a:lnTo>
                      <a:pt x="448" y="1300"/>
                    </a:lnTo>
                    <a:lnTo>
                      <a:pt x="434" y="1290"/>
                    </a:lnTo>
                    <a:lnTo>
                      <a:pt x="414" y="1290"/>
                    </a:lnTo>
                    <a:lnTo>
                      <a:pt x="402" y="1300"/>
                    </a:lnTo>
                    <a:lnTo>
                      <a:pt x="382" y="1298"/>
                    </a:lnTo>
                    <a:lnTo>
                      <a:pt x="360" y="1298"/>
                    </a:lnTo>
                    <a:lnTo>
                      <a:pt x="338" y="1298"/>
                    </a:lnTo>
                    <a:lnTo>
                      <a:pt x="316" y="1300"/>
                    </a:lnTo>
                    <a:lnTo>
                      <a:pt x="322" y="1326"/>
                    </a:lnTo>
                    <a:lnTo>
                      <a:pt x="322" y="1336"/>
                    </a:lnTo>
                    <a:lnTo>
                      <a:pt x="310" y="1346"/>
                    </a:lnTo>
                    <a:lnTo>
                      <a:pt x="280" y="1348"/>
                    </a:lnTo>
                    <a:lnTo>
                      <a:pt x="262" y="1324"/>
                    </a:lnTo>
                    <a:lnTo>
                      <a:pt x="236" y="1320"/>
                    </a:lnTo>
                    <a:lnTo>
                      <a:pt x="236" y="1306"/>
                    </a:lnTo>
                    <a:lnTo>
                      <a:pt x="230" y="1288"/>
                    </a:lnTo>
                    <a:lnTo>
                      <a:pt x="216" y="1280"/>
                    </a:lnTo>
                    <a:lnTo>
                      <a:pt x="214" y="1268"/>
                    </a:lnTo>
                    <a:lnTo>
                      <a:pt x="182" y="1238"/>
                    </a:lnTo>
                    <a:lnTo>
                      <a:pt x="160" y="1220"/>
                    </a:lnTo>
                    <a:lnTo>
                      <a:pt x="158" y="1192"/>
                    </a:lnTo>
                    <a:lnTo>
                      <a:pt x="170" y="1184"/>
                    </a:lnTo>
                    <a:lnTo>
                      <a:pt x="184" y="1174"/>
                    </a:lnTo>
                    <a:lnTo>
                      <a:pt x="182" y="1164"/>
                    </a:lnTo>
                    <a:lnTo>
                      <a:pt x="190" y="1148"/>
                    </a:lnTo>
                    <a:lnTo>
                      <a:pt x="182" y="1138"/>
                    </a:lnTo>
                    <a:lnTo>
                      <a:pt x="160" y="1138"/>
                    </a:lnTo>
                    <a:lnTo>
                      <a:pt x="128" y="1136"/>
                    </a:lnTo>
                    <a:lnTo>
                      <a:pt x="84" y="1162"/>
                    </a:lnTo>
                    <a:lnTo>
                      <a:pt x="60" y="1156"/>
                    </a:lnTo>
                    <a:lnTo>
                      <a:pt x="62" y="1136"/>
                    </a:lnTo>
                    <a:lnTo>
                      <a:pt x="68" y="1122"/>
                    </a:lnTo>
                    <a:lnTo>
                      <a:pt x="74" y="1116"/>
                    </a:lnTo>
                    <a:lnTo>
                      <a:pt x="50" y="1098"/>
                    </a:lnTo>
                    <a:lnTo>
                      <a:pt x="38" y="1072"/>
                    </a:lnTo>
                    <a:lnTo>
                      <a:pt x="30" y="1046"/>
                    </a:lnTo>
                    <a:lnTo>
                      <a:pt x="26" y="1026"/>
                    </a:lnTo>
                    <a:lnTo>
                      <a:pt x="20" y="1010"/>
                    </a:lnTo>
                    <a:lnTo>
                      <a:pt x="12" y="984"/>
                    </a:lnTo>
                    <a:lnTo>
                      <a:pt x="0" y="954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129" name="Freeform 33"/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2344739" y="3082927"/>
                <a:ext cx="1628775" cy="1135063"/>
              </a:xfrm>
              <a:custGeom>
                <a:avLst/>
                <a:gdLst>
                  <a:gd name="T0" fmla="*/ 2147483647 w 993"/>
                  <a:gd name="T1" fmla="*/ 2147483647 h 721"/>
                  <a:gd name="T2" fmla="*/ 2147483647 w 993"/>
                  <a:gd name="T3" fmla="*/ 2147483647 h 721"/>
                  <a:gd name="T4" fmla="*/ 2147483647 w 993"/>
                  <a:gd name="T5" fmla="*/ 2147483647 h 721"/>
                  <a:gd name="T6" fmla="*/ 2147483647 w 993"/>
                  <a:gd name="T7" fmla="*/ 2147483647 h 721"/>
                  <a:gd name="T8" fmla="*/ 2147483647 w 993"/>
                  <a:gd name="T9" fmla="*/ 2147483647 h 721"/>
                  <a:gd name="T10" fmla="*/ 2147483647 w 993"/>
                  <a:gd name="T11" fmla="*/ 2147483647 h 721"/>
                  <a:gd name="T12" fmla="*/ 2147483647 w 993"/>
                  <a:gd name="T13" fmla="*/ 2147483647 h 721"/>
                  <a:gd name="T14" fmla="*/ 2147483647 w 993"/>
                  <a:gd name="T15" fmla="*/ 2147483647 h 721"/>
                  <a:gd name="T16" fmla="*/ 2147483647 w 993"/>
                  <a:gd name="T17" fmla="*/ 2147483647 h 721"/>
                  <a:gd name="T18" fmla="*/ 2147483647 w 993"/>
                  <a:gd name="T19" fmla="*/ 2147483647 h 721"/>
                  <a:gd name="T20" fmla="*/ 2147483647 w 993"/>
                  <a:gd name="T21" fmla="*/ 2147483647 h 721"/>
                  <a:gd name="T22" fmla="*/ 2147483647 w 993"/>
                  <a:gd name="T23" fmla="*/ 2147483647 h 721"/>
                  <a:gd name="T24" fmla="*/ 0 w 993"/>
                  <a:gd name="T25" fmla="*/ 2147483647 h 721"/>
                  <a:gd name="T26" fmla="*/ 0 w 993"/>
                  <a:gd name="T27" fmla="*/ 2147483647 h 721"/>
                  <a:gd name="T28" fmla="*/ 2147483647 w 993"/>
                  <a:gd name="T29" fmla="*/ 2147483647 h 721"/>
                  <a:gd name="T30" fmla="*/ 2147483647 w 993"/>
                  <a:gd name="T31" fmla="*/ 2147483647 h 721"/>
                  <a:gd name="T32" fmla="*/ 2147483647 w 993"/>
                  <a:gd name="T33" fmla="*/ 2147483647 h 721"/>
                  <a:gd name="T34" fmla="*/ 2147483647 w 993"/>
                  <a:gd name="T35" fmla="*/ 2147483647 h 721"/>
                  <a:gd name="T36" fmla="*/ 2147483647 w 993"/>
                  <a:gd name="T37" fmla="*/ 2147483647 h 721"/>
                  <a:gd name="T38" fmla="*/ 2147483647 w 993"/>
                  <a:gd name="T39" fmla="*/ 2147483647 h 721"/>
                  <a:gd name="T40" fmla="*/ 2147483647 w 993"/>
                  <a:gd name="T41" fmla="*/ 2147483647 h 721"/>
                  <a:gd name="T42" fmla="*/ 2147483647 w 993"/>
                  <a:gd name="T43" fmla="*/ 2147483647 h 721"/>
                  <a:gd name="T44" fmla="*/ 2147483647 w 993"/>
                  <a:gd name="T45" fmla="*/ 2147483647 h 721"/>
                  <a:gd name="T46" fmla="*/ 2147483647 w 993"/>
                  <a:gd name="T47" fmla="*/ 2147483647 h 721"/>
                  <a:gd name="T48" fmla="*/ 2147483647 w 993"/>
                  <a:gd name="T49" fmla="*/ 2147483647 h 721"/>
                  <a:gd name="T50" fmla="*/ 2147483647 w 993"/>
                  <a:gd name="T51" fmla="*/ 2147483647 h 721"/>
                  <a:gd name="T52" fmla="*/ 2147483647 w 993"/>
                  <a:gd name="T53" fmla="*/ 2147483647 h 721"/>
                  <a:gd name="T54" fmla="*/ 2147483647 w 993"/>
                  <a:gd name="T55" fmla="*/ 2147483647 h 721"/>
                  <a:gd name="T56" fmla="*/ 2147483647 w 993"/>
                  <a:gd name="T57" fmla="*/ 2147483647 h 721"/>
                  <a:gd name="T58" fmla="*/ 2147483647 w 993"/>
                  <a:gd name="T59" fmla="*/ 2147483647 h 721"/>
                  <a:gd name="T60" fmla="*/ 2147483647 w 993"/>
                  <a:gd name="T61" fmla="*/ 2147483647 h 721"/>
                  <a:gd name="T62" fmla="*/ 2147483647 w 993"/>
                  <a:gd name="T63" fmla="*/ 2147483647 h 721"/>
                  <a:gd name="T64" fmla="*/ 2147483647 w 993"/>
                  <a:gd name="T65" fmla="*/ 2147483647 h 721"/>
                  <a:gd name="T66" fmla="*/ 2147483647 w 993"/>
                  <a:gd name="T67" fmla="*/ 2147483647 h 721"/>
                  <a:gd name="T68" fmla="*/ 2147483647 w 993"/>
                  <a:gd name="T69" fmla="*/ 2147483647 h 721"/>
                  <a:gd name="T70" fmla="*/ 2147483647 w 993"/>
                  <a:gd name="T71" fmla="*/ 2147483647 h 721"/>
                  <a:gd name="T72" fmla="*/ 2147483647 w 993"/>
                  <a:gd name="T73" fmla="*/ 2147483647 h 721"/>
                  <a:gd name="T74" fmla="*/ 2147483647 w 993"/>
                  <a:gd name="T75" fmla="*/ 2147483647 h 721"/>
                  <a:gd name="T76" fmla="*/ 2147483647 w 993"/>
                  <a:gd name="T77" fmla="*/ 2147483647 h 721"/>
                  <a:gd name="T78" fmla="*/ 2147483647 w 993"/>
                  <a:gd name="T79" fmla="*/ 2147483647 h 721"/>
                  <a:gd name="T80" fmla="*/ 2147483647 w 993"/>
                  <a:gd name="T81" fmla="*/ 2147483647 h 721"/>
                  <a:gd name="T82" fmla="*/ 2147483647 w 993"/>
                  <a:gd name="T83" fmla="*/ 2147483647 h 721"/>
                  <a:gd name="T84" fmla="*/ 2147483647 w 993"/>
                  <a:gd name="T85" fmla="*/ 2147483647 h 721"/>
                  <a:gd name="T86" fmla="*/ 2147483647 w 993"/>
                  <a:gd name="T87" fmla="*/ 2147483647 h 721"/>
                  <a:gd name="T88" fmla="*/ 2147483647 w 993"/>
                  <a:gd name="T89" fmla="*/ 2147483647 h 721"/>
                  <a:gd name="T90" fmla="*/ 2147483647 w 993"/>
                  <a:gd name="T91" fmla="*/ 2147483647 h 721"/>
                  <a:gd name="T92" fmla="*/ 2147483647 w 993"/>
                  <a:gd name="T93" fmla="*/ 2147483647 h 721"/>
                  <a:gd name="T94" fmla="*/ 2147483647 w 993"/>
                  <a:gd name="T95" fmla="*/ 2147483647 h 721"/>
                  <a:gd name="T96" fmla="*/ 2147483647 w 993"/>
                  <a:gd name="T97" fmla="*/ 2147483647 h 721"/>
                  <a:gd name="T98" fmla="*/ 2147483647 w 993"/>
                  <a:gd name="T99" fmla="*/ 2147483647 h 721"/>
                  <a:gd name="T100" fmla="*/ 2147483647 w 993"/>
                  <a:gd name="T101" fmla="*/ 2147483647 h 721"/>
                  <a:gd name="T102" fmla="*/ 2147483647 w 993"/>
                  <a:gd name="T103" fmla="*/ 2147483647 h 721"/>
                  <a:gd name="T104" fmla="*/ 2147483647 w 993"/>
                  <a:gd name="T105" fmla="*/ 2147483647 h 721"/>
                  <a:gd name="T106" fmla="*/ 2147483647 w 993"/>
                  <a:gd name="T107" fmla="*/ 2147483647 h 721"/>
                  <a:gd name="T108" fmla="*/ 2147483647 w 993"/>
                  <a:gd name="T109" fmla="*/ 2147483647 h 721"/>
                  <a:gd name="T110" fmla="*/ 2147483647 w 993"/>
                  <a:gd name="T111" fmla="*/ 2147483647 h 721"/>
                  <a:gd name="T112" fmla="*/ 2147483647 w 993"/>
                  <a:gd name="T113" fmla="*/ 2147483647 h 721"/>
                  <a:gd name="T114" fmla="*/ 2147483647 w 993"/>
                  <a:gd name="T115" fmla="*/ 2147483647 h 721"/>
                  <a:gd name="T116" fmla="*/ 2147483647 w 993"/>
                  <a:gd name="T117" fmla="*/ 0 h 721"/>
                  <a:gd name="T118" fmla="*/ 2147483647 w 993"/>
                  <a:gd name="T119" fmla="*/ 2147483647 h 721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993"/>
                  <a:gd name="T181" fmla="*/ 0 h 721"/>
                  <a:gd name="T182" fmla="*/ 993 w 993"/>
                  <a:gd name="T183" fmla="*/ 721 h 721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993" h="721">
                    <a:moveTo>
                      <a:pt x="308" y="6"/>
                    </a:moveTo>
                    <a:lnTo>
                      <a:pt x="278" y="22"/>
                    </a:lnTo>
                    <a:lnTo>
                      <a:pt x="238" y="30"/>
                    </a:lnTo>
                    <a:lnTo>
                      <a:pt x="190" y="30"/>
                    </a:lnTo>
                    <a:lnTo>
                      <a:pt x="170" y="50"/>
                    </a:lnTo>
                    <a:lnTo>
                      <a:pt x="126" y="52"/>
                    </a:lnTo>
                    <a:lnTo>
                      <a:pt x="88" y="54"/>
                    </a:lnTo>
                    <a:lnTo>
                      <a:pt x="88" y="72"/>
                    </a:lnTo>
                    <a:lnTo>
                      <a:pt x="102" y="92"/>
                    </a:lnTo>
                    <a:lnTo>
                      <a:pt x="106" y="114"/>
                    </a:lnTo>
                    <a:lnTo>
                      <a:pt x="110" y="132"/>
                    </a:lnTo>
                    <a:lnTo>
                      <a:pt x="138" y="154"/>
                    </a:lnTo>
                    <a:lnTo>
                      <a:pt x="156" y="162"/>
                    </a:lnTo>
                    <a:lnTo>
                      <a:pt x="154" y="190"/>
                    </a:lnTo>
                    <a:lnTo>
                      <a:pt x="122" y="196"/>
                    </a:lnTo>
                    <a:lnTo>
                      <a:pt x="108" y="206"/>
                    </a:lnTo>
                    <a:lnTo>
                      <a:pt x="122" y="236"/>
                    </a:lnTo>
                    <a:lnTo>
                      <a:pt x="138" y="262"/>
                    </a:lnTo>
                    <a:lnTo>
                      <a:pt x="122" y="280"/>
                    </a:lnTo>
                    <a:lnTo>
                      <a:pt x="70" y="274"/>
                    </a:lnTo>
                    <a:lnTo>
                      <a:pt x="54" y="258"/>
                    </a:lnTo>
                    <a:lnTo>
                      <a:pt x="12" y="266"/>
                    </a:lnTo>
                    <a:lnTo>
                      <a:pt x="6" y="280"/>
                    </a:lnTo>
                    <a:lnTo>
                      <a:pt x="22" y="308"/>
                    </a:lnTo>
                    <a:lnTo>
                      <a:pt x="10" y="322"/>
                    </a:lnTo>
                    <a:lnTo>
                      <a:pt x="0" y="342"/>
                    </a:lnTo>
                    <a:lnTo>
                      <a:pt x="4" y="392"/>
                    </a:lnTo>
                    <a:lnTo>
                      <a:pt x="0" y="474"/>
                    </a:lnTo>
                    <a:lnTo>
                      <a:pt x="22" y="510"/>
                    </a:lnTo>
                    <a:lnTo>
                      <a:pt x="76" y="546"/>
                    </a:lnTo>
                    <a:lnTo>
                      <a:pt x="88" y="542"/>
                    </a:lnTo>
                    <a:lnTo>
                      <a:pt x="96" y="534"/>
                    </a:lnTo>
                    <a:lnTo>
                      <a:pt x="116" y="538"/>
                    </a:lnTo>
                    <a:lnTo>
                      <a:pt x="132" y="560"/>
                    </a:lnTo>
                    <a:lnTo>
                      <a:pt x="156" y="568"/>
                    </a:lnTo>
                    <a:lnTo>
                      <a:pt x="186" y="566"/>
                    </a:lnTo>
                    <a:lnTo>
                      <a:pt x="212" y="594"/>
                    </a:lnTo>
                    <a:lnTo>
                      <a:pt x="248" y="604"/>
                    </a:lnTo>
                    <a:lnTo>
                      <a:pt x="274" y="628"/>
                    </a:lnTo>
                    <a:lnTo>
                      <a:pt x="302" y="640"/>
                    </a:lnTo>
                    <a:lnTo>
                      <a:pt x="318" y="632"/>
                    </a:lnTo>
                    <a:lnTo>
                      <a:pt x="328" y="618"/>
                    </a:lnTo>
                    <a:lnTo>
                      <a:pt x="336" y="616"/>
                    </a:lnTo>
                    <a:lnTo>
                      <a:pt x="372" y="622"/>
                    </a:lnTo>
                    <a:lnTo>
                      <a:pt x="388" y="636"/>
                    </a:lnTo>
                    <a:lnTo>
                      <a:pt x="414" y="664"/>
                    </a:lnTo>
                    <a:lnTo>
                      <a:pt x="432" y="702"/>
                    </a:lnTo>
                    <a:lnTo>
                      <a:pt x="458" y="710"/>
                    </a:lnTo>
                    <a:lnTo>
                      <a:pt x="478" y="720"/>
                    </a:lnTo>
                    <a:lnTo>
                      <a:pt x="492" y="720"/>
                    </a:lnTo>
                    <a:lnTo>
                      <a:pt x="498" y="696"/>
                    </a:lnTo>
                    <a:lnTo>
                      <a:pt x="520" y="686"/>
                    </a:lnTo>
                    <a:lnTo>
                      <a:pt x="542" y="678"/>
                    </a:lnTo>
                    <a:lnTo>
                      <a:pt x="554" y="658"/>
                    </a:lnTo>
                    <a:lnTo>
                      <a:pt x="590" y="646"/>
                    </a:lnTo>
                    <a:lnTo>
                      <a:pt x="602" y="638"/>
                    </a:lnTo>
                    <a:lnTo>
                      <a:pt x="584" y="614"/>
                    </a:lnTo>
                    <a:lnTo>
                      <a:pt x="588" y="584"/>
                    </a:lnTo>
                    <a:lnTo>
                      <a:pt x="600" y="560"/>
                    </a:lnTo>
                    <a:lnTo>
                      <a:pt x="596" y="546"/>
                    </a:lnTo>
                    <a:lnTo>
                      <a:pt x="582" y="518"/>
                    </a:lnTo>
                    <a:lnTo>
                      <a:pt x="582" y="506"/>
                    </a:lnTo>
                    <a:lnTo>
                      <a:pt x="602" y="512"/>
                    </a:lnTo>
                    <a:lnTo>
                      <a:pt x="624" y="522"/>
                    </a:lnTo>
                    <a:lnTo>
                      <a:pt x="656" y="520"/>
                    </a:lnTo>
                    <a:lnTo>
                      <a:pt x="670" y="554"/>
                    </a:lnTo>
                    <a:lnTo>
                      <a:pt x="682" y="578"/>
                    </a:lnTo>
                    <a:lnTo>
                      <a:pt x="706" y="610"/>
                    </a:lnTo>
                    <a:lnTo>
                      <a:pt x="722" y="624"/>
                    </a:lnTo>
                    <a:lnTo>
                      <a:pt x="782" y="628"/>
                    </a:lnTo>
                    <a:lnTo>
                      <a:pt x="804" y="646"/>
                    </a:lnTo>
                    <a:lnTo>
                      <a:pt x="836" y="644"/>
                    </a:lnTo>
                    <a:lnTo>
                      <a:pt x="864" y="594"/>
                    </a:lnTo>
                    <a:lnTo>
                      <a:pt x="912" y="588"/>
                    </a:lnTo>
                    <a:lnTo>
                      <a:pt x="932" y="592"/>
                    </a:lnTo>
                    <a:lnTo>
                      <a:pt x="950" y="576"/>
                    </a:lnTo>
                    <a:lnTo>
                      <a:pt x="940" y="548"/>
                    </a:lnTo>
                    <a:lnTo>
                      <a:pt x="894" y="526"/>
                    </a:lnTo>
                    <a:lnTo>
                      <a:pt x="860" y="520"/>
                    </a:lnTo>
                    <a:lnTo>
                      <a:pt x="842" y="518"/>
                    </a:lnTo>
                    <a:lnTo>
                      <a:pt x="846" y="500"/>
                    </a:lnTo>
                    <a:lnTo>
                      <a:pt x="880" y="502"/>
                    </a:lnTo>
                    <a:lnTo>
                      <a:pt x="898" y="490"/>
                    </a:lnTo>
                    <a:lnTo>
                      <a:pt x="902" y="456"/>
                    </a:lnTo>
                    <a:lnTo>
                      <a:pt x="896" y="438"/>
                    </a:lnTo>
                    <a:lnTo>
                      <a:pt x="936" y="426"/>
                    </a:lnTo>
                    <a:lnTo>
                      <a:pt x="942" y="392"/>
                    </a:lnTo>
                    <a:lnTo>
                      <a:pt x="962" y="388"/>
                    </a:lnTo>
                    <a:lnTo>
                      <a:pt x="992" y="332"/>
                    </a:lnTo>
                    <a:lnTo>
                      <a:pt x="974" y="324"/>
                    </a:lnTo>
                    <a:lnTo>
                      <a:pt x="974" y="286"/>
                    </a:lnTo>
                    <a:lnTo>
                      <a:pt x="958" y="266"/>
                    </a:lnTo>
                    <a:lnTo>
                      <a:pt x="956" y="238"/>
                    </a:lnTo>
                    <a:lnTo>
                      <a:pt x="946" y="200"/>
                    </a:lnTo>
                    <a:lnTo>
                      <a:pt x="920" y="182"/>
                    </a:lnTo>
                    <a:lnTo>
                      <a:pt x="888" y="186"/>
                    </a:lnTo>
                    <a:lnTo>
                      <a:pt x="880" y="170"/>
                    </a:lnTo>
                    <a:lnTo>
                      <a:pt x="848" y="148"/>
                    </a:lnTo>
                    <a:lnTo>
                      <a:pt x="808" y="126"/>
                    </a:lnTo>
                    <a:lnTo>
                      <a:pt x="800" y="88"/>
                    </a:lnTo>
                    <a:lnTo>
                      <a:pt x="782" y="72"/>
                    </a:lnTo>
                    <a:lnTo>
                      <a:pt x="776" y="86"/>
                    </a:lnTo>
                    <a:lnTo>
                      <a:pt x="760" y="90"/>
                    </a:lnTo>
                    <a:lnTo>
                      <a:pt x="746" y="86"/>
                    </a:lnTo>
                    <a:lnTo>
                      <a:pt x="728" y="52"/>
                    </a:lnTo>
                    <a:lnTo>
                      <a:pt x="694" y="40"/>
                    </a:lnTo>
                    <a:lnTo>
                      <a:pt x="672" y="36"/>
                    </a:lnTo>
                    <a:lnTo>
                      <a:pt x="660" y="50"/>
                    </a:lnTo>
                    <a:lnTo>
                      <a:pt x="618" y="46"/>
                    </a:lnTo>
                    <a:lnTo>
                      <a:pt x="610" y="24"/>
                    </a:lnTo>
                    <a:lnTo>
                      <a:pt x="588" y="22"/>
                    </a:lnTo>
                    <a:lnTo>
                      <a:pt x="550" y="70"/>
                    </a:lnTo>
                    <a:lnTo>
                      <a:pt x="520" y="72"/>
                    </a:lnTo>
                    <a:lnTo>
                      <a:pt x="498" y="48"/>
                    </a:lnTo>
                    <a:lnTo>
                      <a:pt x="468" y="44"/>
                    </a:lnTo>
                    <a:lnTo>
                      <a:pt x="444" y="28"/>
                    </a:lnTo>
                    <a:lnTo>
                      <a:pt x="414" y="8"/>
                    </a:lnTo>
                    <a:lnTo>
                      <a:pt x="378" y="0"/>
                    </a:lnTo>
                    <a:lnTo>
                      <a:pt x="356" y="0"/>
                    </a:lnTo>
                    <a:lnTo>
                      <a:pt x="330" y="8"/>
                    </a:lnTo>
                    <a:lnTo>
                      <a:pt x="308" y="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130" name="Freeform 34"/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4100514" y="3151188"/>
                <a:ext cx="404812" cy="576262"/>
              </a:xfrm>
              <a:custGeom>
                <a:avLst/>
                <a:gdLst>
                  <a:gd name="T0" fmla="*/ 0 w 246"/>
                  <a:gd name="T1" fmla="*/ 2147483647 h 366"/>
                  <a:gd name="T2" fmla="*/ 2147483647 w 246"/>
                  <a:gd name="T3" fmla="*/ 2147483647 h 366"/>
                  <a:gd name="T4" fmla="*/ 2147483647 w 246"/>
                  <a:gd name="T5" fmla="*/ 2147483647 h 366"/>
                  <a:gd name="T6" fmla="*/ 2147483647 w 246"/>
                  <a:gd name="T7" fmla="*/ 2147483647 h 366"/>
                  <a:gd name="T8" fmla="*/ 2147483647 w 246"/>
                  <a:gd name="T9" fmla="*/ 2147483647 h 366"/>
                  <a:gd name="T10" fmla="*/ 2147483647 w 246"/>
                  <a:gd name="T11" fmla="*/ 2147483647 h 366"/>
                  <a:gd name="T12" fmla="*/ 2147483647 w 246"/>
                  <a:gd name="T13" fmla="*/ 2147483647 h 366"/>
                  <a:gd name="T14" fmla="*/ 2147483647 w 246"/>
                  <a:gd name="T15" fmla="*/ 2147483647 h 366"/>
                  <a:gd name="T16" fmla="*/ 2147483647 w 246"/>
                  <a:gd name="T17" fmla="*/ 2147483647 h 366"/>
                  <a:gd name="T18" fmla="*/ 2147483647 w 246"/>
                  <a:gd name="T19" fmla="*/ 2147483647 h 366"/>
                  <a:gd name="T20" fmla="*/ 2147483647 w 246"/>
                  <a:gd name="T21" fmla="*/ 2147483647 h 366"/>
                  <a:gd name="T22" fmla="*/ 2147483647 w 246"/>
                  <a:gd name="T23" fmla="*/ 2147483647 h 366"/>
                  <a:gd name="T24" fmla="*/ 2147483647 w 246"/>
                  <a:gd name="T25" fmla="*/ 2147483647 h 366"/>
                  <a:gd name="T26" fmla="*/ 2147483647 w 246"/>
                  <a:gd name="T27" fmla="*/ 2147483647 h 366"/>
                  <a:gd name="T28" fmla="*/ 2147483647 w 246"/>
                  <a:gd name="T29" fmla="*/ 2147483647 h 366"/>
                  <a:gd name="T30" fmla="*/ 2147483647 w 246"/>
                  <a:gd name="T31" fmla="*/ 2147483647 h 366"/>
                  <a:gd name="T32" fmla="*/ 2147483647 w 246"/>
                  <a:gd name="T33" fmla="*/ 2147483647 h 366"/>
                  <a:gd name="T34" fmla="*/ 2147483647 w 246"/>
                  <a:gd name="T35" fmla="*/ 2147483647 h 366"/>
                  <a:gd name="T36" fmla="*/ 2147483647 w 246"/>
                  <a:gd name="T37" fmla="*/ 2147483647 h 366"/>
                  <a:gd name="T38" fmla="*/ 2147483647 w 246"/>
                  <a:gd name="T39" fmla="*/ 2147483647 h 366"/>
                  <a:gd name="T40" fmla="*/ 2147483647 w 246"/>
                  <a:gd name="T41" fmla="*/ 2147483647 h 366"/>
                  <a:gd name="T42" fmla="*/ 2147483647 w 246"/>
                  <a:gd name="T43" fmla="*/ 2147483647 h 366"/>
                  <a:gd name="T44" fmla="*/ 2147483647 w 246"/>
                  <a:gd name="T45" fmla="*/ 2147483647 h 366"/>
                  <a:gd name="T46" fmla="*/ 2147483647 w 246"/>
                  <a:gd name="T47" fmla="*/ 2147483647 h 366"/>
                  <a:gd name="T48" fmla="*/ 2147483647 w 246"/>
                  <a:gd name="T49" fmla="*/ 2147483647 h 366"/>
                  <a:gd name="T50" fmla="*/ 2147483647 w 246"/>
                  <a:gd name="T51" fmla="*/ 2147483647 h 366"/>
                  <a:gd name="T52" fmla="*/ 2147483647 w 246"/>
                  <a:gd name="T53" fmla="*/ 2147483647 h 366"/>
                  <a:gd name="T54" fmla="*/ 2147483647 w 246"/>
                  <a:gd name="T55" fmla="*/ 2147483647 h 366"/>
                  <a:gd name="T56" fmla="*/ 2147483647 w 246"/>
                  <a:gd name="T57" fmla="*/ 2147483647 h 366"/>
                  <a:gd name="T58" fmla="*/ 2147483647 w 246"/>
                  <a:gd name="T59" fmla="*/ 0 h 366"/>
                  <a:gd name="T60" fmla="*/ 2147483647 w 246"/>
                  <a:gd name="T61" fmla="*/ 2147483647 h 366"/>
                  <a:gd name="T62" fmla="*/ 2147483647 w 246"/>
                  <a:gd name="T63" fmla="*/ 2147483647 h 366"/>
                  <a:gd name="T64" fmla="*/ 2147483647 w 246"/>
                  <a:gd name="T65" fmla="*/ 2147483647 h 366"/>
                  <a:gd name="T66" fmla="*/ 2147483647 w 246"/>
                  <a:gd name="T67" fmla="*/ 2147483647 h 366"/>
                  <a:gd name="T68" fmla="*/ 2147483647 w 246"/>
                  <a:gd name="T69" fmla="*/ 2147483647 h 366"/>
                  <a:gd name="T70" fmla="*/ 2147483647 w 246"/>
                  <a:gd name="T71" fmla="*/ 2147483647 h 366"/>
                  <a:gd name="T72" fmla="*/ 2147483647 w 246"/>
                  <a:gd name="T73" fmla="*/ 2147483647 h 366"/>
                  <a:gd name="T74" fmla="*/ 2147483647 w 246"/>
                  <a:gd name="T75" fmla="*/ 2147483647 h 366"/>
                  <a:gd name="T76" fmla="*/ 0 w 246"/>
                  <a:gd name="T77" fmla="*/ 2147483647 h 36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246"/>
                  <a:gd name="T118" fmla="*/ 0 h 366"/>
                  <a:gd name="T119" fmla="*/ 246 w 246"/>
                  <a:gd name="T120" fmla="*/ 366 h 36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246" h="366">
                    <a:moveTo>
                      <a:pt x="0" y="183"/>
                    </a:moveTo>
                    <a:lnTo>
                      <a:pt x="32" y="210"/>
                    </a:lnTo>
                    <a:lnTo>
                      <a:pt x="66" y="240"/>
                    </a:lnTo>
                    <a:lnTo>
                      <a:pt x="48" y="258"/>
                    </a:lnTo>
                    <a:lnTo>
                      <a:pt x="69" y="275"/>
                    </a:lnTo>
                    <a:lnTo>
                      <a:pt x="96" y="297"/>
                    </a:lnTo>
                    <a:lnTo>
                      <a:pt x="108" y="333"/>
                    </a:lnTo>
                    <a:lnTo>
                      <a:pt x="135" y="348"/>
                    </a:lnTo>
                    <a:lnTo>
                      <a:pt x="162" y="363"/>
                    </a:lnTo>
                    <a:lnTo>
                      <a:pt x="186" y="366"/>
                    </a:lnTo>
                    <a:lnTo>
                      <a:pt x="201" y="339"/>
                    </a:lnTo>
                    <a:lnTo>
                      <a:pt x="219" y="330"/>
                    </a:lnTo>
                    <a:lnTo>
                      <a:pt x="231" y="321"/>
                    </a:lnTo>
                    <a:lnTo>
                      <a:pt x="225" y="303"/>
                    </a:lnTo>
                    <a:lnTo>
                      <a:pt x="219" y="282"/>
                    </a:lnTo>
                    <a:lnTo>
                      <a:pt x="195" y="288"/>
                    </a:lnTo>
                    <a:lnTo>
                      <a:pt x="192" y="276"/>
                    </a:lnTo>
                    <a:lnTo>
                      <a:pt x="195" y="252"/>
                    </a:lnTo>
                    <a:lnTo>
                      <a:pt x="195" y="237"/>
                    </a:lnTo>
                    <a:lnTo>
                      <a:pt x="216" y="210"/>
                    </a:lnTo>
                    <a:lnTo>
                      <a:pt x="225" y="195"/>
                    </a:lnTo>
                    <a:lnTo>
                      <a:pt x="246" y="159"/>
                    </a:lnTo>
                    <a:lnTo>
                      <a:pt x="237" y="177"/>
                    </a:lnTo>
                    <a:lnTo>
                      <a:pt x="240" y="135"/>
                    </a:lnTo>
                    <a:lnTo>
                      <a:pt x="228" y="111"/>
                    </a:lnTo>
                    <a:lnTo>
                      <a:pt x="198" y="111"/>
                    </a:lnTo>
                    <a:lnTo>
                      <a:pt x="189" y="90"/>
                    </a:lnTo>
                    <a:lnTo>
                      <a:pt x="198" y="54"/>
                    </a:lnTo>
                    <a:lnTo>
                      <a:pt x="189" y="24"/>
                    </a:lnTo>
                    <a:lnTo>
                      <a:pt x="177" y="0"/>
                    </a:lnTo>
                    <a:lnTo>
                      <a:pt x="159" y="27"/>
                    </a:lnTo>
                    <a:lnTo>
                      <a:pt x="144" y="57"/>
                    </a:lnTo>
                    <a:lnTo>
                      <a:pt x="138" y="84"/>
                    </a:lnTo>
                    <a:lnTo>
                      <a:pt x="114" y="102"/>
                    </a:lnTo>
                    <a:lnTo>
                      <a:pt x="105" y="129"/>
                    </a:lnTo>
                    <a:lnTo>
                      <a:pt x="90" y="153"/>
                    </a:lnTo>
                    <a:lnTo>
                      <a:pt x="51" y="165"/>
                    </a:lnTo>
                    <a:lnTo>
                      <a:pt x="27" y="174"/>
                    </a:lnTo>
                    <a:lnTo>
                      <a:pt x="0" y="183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131" name="Freeform 10"/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5426075" y="3205163"/>
                <a:ext cx="858838" cy="552450"/>
              </a:xfrm>
              <a:custGeom>
                <a:avLst/>
                <a:gdLst>
                  <a:gd name="T0" fmla="*/ 2147483647 w 525"/>
                  <a:gd name="T1" fmla="*/ 2147483647 h 351"/>
                  <a:gd name="T2" fmla="*/ 2147483647 w 525"/>
                  <a:gd name="T3" fmla="*/ 2147483647 h 351"/>
                  <a:gd name="T4" fmla="*/ 2147483647 w 525"/>
                  <a:gd name="T5" fmla="*/ 2147483647 h 351"/>
                  <a:gd name="T6" fmla="*/ 2147483647 w 525"/>
                  <a:gd name="T7" fmla="*/ 2147483647 h 351"/>
                  <a:gd name="T8" fmla="*/ 2147483647 w 525"/>
                  <a:gd name="T9" fmla="*/ 0 h 351"/>
                  <a:gd name="T10" fmla="*/ 2147483647 w 525"/>
                  <a:gd name="T11" fmla="*/ 2147483647 h 351"/>
                  <a:gd name="T12" fmla="*/ 2147483647 w 525"/>
                  <a:gd name="T13" fmla="*/ 2147483647 h 351"/>
                  <a:gd name="T14" fmla="*/ 2147483647 w 525"/>
                  <a:gd name="T15" fmla="*/ 2147483647 h 351"/>
                  <a:gd name="T16" fmla="*/ 2147483647 w 525"/>
                  <a:gd name="T17" fmla="*/ 2147483647 h 351"/>
                  <a:gd name="T18" fmla="*/ 2147483647 w 525"/>
                  <a:gd name="T19" fmla="*/ 2147483647 h 351"/>
                  <a:gd name="T20" fmla="*/ 2147483647 w 525"/>
                  <a:gd name="T21" fmla="*/ 2147483647 h 351"/>
                  <a:gd name="T22" fmla="*/ 2147483647 w 525"/>
                  <a:gd name="T23" fmla="*/ 2147483647 h 351"/>
                  <a:gd name="T24" fmla="*/ 2147483647 w 525"/>
                  <a:gd name="T25" fmla="*/ 2147483647 h 351"/>
                  <a:gd name="T26" fmla="*/ 2147483647 w 525"/>
                  <a:gd name="T27" fmla="*/ 2147483647 h 351"/>
                  <a:gd name="T28" fmla="*/ 2147483647 w 525"/>
                  <a:gd name="T29" fmla="*/ 2147483647 h 351"/>
                  <a:gd name="T30" fmla="*/ 2147483647 w 525"/>
                  <a:gd name="T31" fmla="*/ 2147483647 h 351"/>
                  <a:gd name="T32" fmla="*/ 2147483647 w 525"/>
                  <a:gd name="T33" fmla="*/ 2147483647 h 351"/>
                  <a:gd name="T34" fmla="*/ 2147483647 w 525"/>
                  <a:gd name="T35" fmla="*/ 2147483647 h 351"/>
                  <a:gd name="T36" fmla="*/ 2147483647 w 525"/>
                  <a:gd name="T37" fmla="*/ 2147483647 h 351"/>
                  <a:gd name="T38" fmla="*/ 2147483647 w 525"/>
                  <a:gd name="T39" fmla="*/ 2147483647 h 351"/>
                  <a:gd name="T40" fmla="*/ 2147483647 w 525"/>
                  <a:gd name="T41" fmla="*/ 2147483647 h 351"/>
                  <a:gd name="T42" fmla="*/ 2147483647 w 525"/>
                  <a:gd name="T43" fmla="*/ 2147483647 h 351"/>
                  <a:gd name="T44" fmla="*/ 2147483647 w 525"/>
                  <a:gd name="T45" fmla="*/ 2147483647 h 351"/>
                  <a:gd name="T46" fmla="*/ 2147483647 w 525"/>
                  <a:gd name="T47" fmla="*/ 2147483647 h 351"/>
                  <a:gd name="T48" fmla="*/ 2147483647 w 525"/>
                  <a:gd name="T49" fmla="*/ 2147483647 h 351"/>
                  <a:gd name="T50" fmla="*/ 2147483647 w 525"/>
                  <a:gd name="T51" fmla="*/ 2147483647 h 351"/>
                  <a:gd name="T52" fmla="*/ 2147483647 w 525"/>
                  <a:gd name="T53" fmla="*/ 2147483647 h 351"/>
                  <a:gd name="T54" fmla="*/ 2147483647 w 525"/>
                  <a:gd name="T55" fmla="*/ 2147483647 h 351"/>
                  <a:gd name="T56" fmla="*/ 2147483647 w 525"/>
                  <a:gd name="T57" fmla="*/ 2147483647 h 351"/>
                  <a:gd name="T58" fmla="*/ 2147483647 w 525"/>
                  <a:gd name="T59" fmla="*/ 2147483647 h 351"/>
                  <a:gd name="T60" fmla="*/ 2147483647 w 525"/>
                  <a:gd name="T61" fmla="*/ 2147483647 h 351"/>
                  <a:gd name="T62" fmla="*/ 2147483647 w 525"/>
                  <a:gd name="T63" fmla="*/ 2147483647 h 351"/>
                  <a:gd name="T64" fmla="*/ 2147483647 w 525"/>
                  <a:gd name="T65" fmla="*/ 2147483647 h 351"/>
                  <a:gd name="T66" fmla="*/ 2147483647 w 525"/>
                  <a:gd name="T67" fmla="*/ 2147483647 h 351"/>
                  <a:gd name="T68" fmla="*/ 2147483647 w 525"/>
                  <a:gd name="T69" fmla="*/ 2147483647 h 35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525"/>
                  <a:gd name="T106" fmla="*/ 0 h 351"/>
                  <a:gd name="T107" fmla="*/ 525 w 525"/>
                  <a:gd name="T108" fmla="*/ 351 h 351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525" h="351">
                    <a:moveTo>
                      <a:pt x="6" y="206"/>
                    </a:moveTo>
                    <a:lnTo>
                      <a:pt x="6" y="176"/>
                    </a:lnTo>
                    <a:lnTo>
                      <a:pt x="0" y="154"/>
                    </a:lnTo>
                    <a:lnTo>
                      <a:pt x="42" y="100"/>
                    </a:lnTo>
                    <a:lnTo>
                      <a:pt x="72" y="94"/>
                    </a:lnTo>
                    <a:lnTo>
                      <a:pt x="78" y="70"/>
                    </a:lnTo>
                    <a:lnTo>
                      <a:pt x="94" y="52"/>
                    </a:lnTo>
                    <a:lnTo>
                      <a:pt x="126" y="52"/>
                    </a:lnTo>
                    <a:lnTo>
                      <a:pt x="144" y="18"/>
                    </a:lnTo>
                    <a:lnTo>
                      <a:pt x="168" y="0"/>
                    </a:lnTo>
                    <a:lnTo>
                      <a:pt x="174" y="18"/>
                    </a:lnTo>
                    <a:lnTo>
                      <a:pt x="196" y="20"/>
                    </a:lnTo>
                    <a:lnTo>
                      <a:pt x="208" y="32"/>
                    </a:lnTo>
                    <a:lnTo>
                      <a:pt x="242" y="24"/>
                    </a:lnTo>
                    <a:lnTo>
                      <a:pt x="262" y="18"/>
                    </a:lnTo>
                    <a:lnTo>
                      <a:pt x="264" y="50"/>
                    </a:lnTo>
                    <a:lnTo>
                      <a:pt x="262" y="74"/>
                    </a:lnTo>
                    <a:lnTo>
                      <a:pt x="280" y="84"/>
                    </a:lnTo>
                    <a:lnTo>
                      <a:pt x="298" y="92"/>
                    </a:lnTo>
                    <a:lnTo>
                      <a:pt x="322" y="76"/>
                    </a:lnTo>
                    <a:lnTo>
                      <a:pt x="348" y="52"/>
                    </a:lnTo>
                    <a:lnTo>
                      <a:pt x="360" y="32"/>
                    </a:lnTo>
                    <a:lnTo>
                      <a:pt x="362" y="16"/>
                    </a:lnTo>
                    <a:lnTo>
                      <a:pt x="380" y="10"/>
                    </a:lnTo>
                    <a:lnTo>
                      <a:pt x="400" y="20"/>
                    </a:lnTo>
                    <a:lnTo>
                      <a:pt x="430" y="26"/>
                    </a:lnTo>
                    <a:lnTo>
                      <a:pt x="450" y="30"/>
                    </a:lnTo>
                    <a:lnTo>
                      <a:pt x="474" y="32"/>
                    </a:lnTo>
                    <a:lnTo>
                      <a:pt x="496" y="38"/>
                    </a:lnTo>
                    <a:lnTo>
                      <a:pt x="524" y="42"/>
                    </a:lnTo>
                    <a:lnTo>
                      <a:pt x="522" y="74"/>
                    </a:lnTo>
                    <a:lnTo>
                      <a:pt x="494" y="82"/>
                    </a:lnTo>
                    <a:lnTo>
                      <a:pt x="462" y="82"/>
                    </a:lnTo>
                    <a:lnTo>
                      <a:pt x="448" y="100"/>
                    </a:lnTo>
                    <a:lnTo>
                      <a:pt x="434" y="102"/>
                    </a:lnTo>
                    <a:lnTo>
                      <a:pt x="418" y="116"/>
                    </a:lnTo>
                    <a:lnTo>
                      <a:pt x="404" y="124"/>
                    </a:lnTo>
                    <a:lnTo>
                      <a:pt x="406" y="158"/>
                    </a:lnTo>
                    <a:lnTo>
                      <a:pt x="382" y="156"/>
                    </a:lnTo>
                    <a:lnTo>
                      <a:pt x="364" y="176"/>
                    </a:lnTo>
                    <a:lnTo>
                      <a:pt x="362" y="200"/>
                    </a:lnTo>
                    <a:lnTo>
                      <a:pt x="340" y="210"/>
                    </a:lnTo>
                    <a:lnTo>
                      <a:pt x="332" y="214"/>
                    </a:lnTo>
                    <a:lnTo>
                      <a:pt x="334" y="252"/>
                    </a:lnTo>
                    <a:lnTo>
                      <a:pt x="312" y="264"/>
                    </a:lnTo>
                    <a:lnTo>
                      <a:pt x="306" y="282"/>
                    </a:lnTo>
                    <a:lnTo>
                      <a:pt x="298" y="298"/>
                    </a:lnTo>
                    <a:lnTo>
                      <a:pt x="288" y="312"/>
                    </a:lnTo>
                    <a:lnTo>
                      <a:pt x="270" y="310"/>
                    </a:lnTo>
                    <a:lnTo>
                      <a:pt x="264" y="336"/>
                    </a:lnTo>
                    <a:lnTo>
                      <a:pt x="240" y="340"/>
                    </a:lnTo>
                    <a:lnTo>
                      <a:pt x="230" y="320"/>
                    </a:lnTo>
                    <a:lnTo>
                      <a:pt x="212" y="324"/>
                    </a:lnTo>
                    <a:lnTo>
                      <a:pt x="198" y="326"/>
                    </a:lnTo>
                    <a:lnTo>
                      <a:pt x="194" y="346"/>
                    </a:lnTo>
                    <a:lnTo>
                      <a:pt x="154" y="338"/>
                    </a:lnTo>
                    <a:lnTo>
                      <a:pt x="150" y="316"/>
                    </a:lnTo>
                    <a:lnTo>
                      <a:pt x="132" y="314"/>
                    </a:lnTo>
                    <a:lnTo>
                      <a:pt x="112" y="328"/>
                    </a:lnTo>
                    <a:lnTo>
                      <a:pt x="102" y="346"/>
                    </a:lnTo>
                    <a:lnTo>
                      <a:pt x="76" y="342"/>
                    </a:lnTo>
                    <a:lnTo>
                      <a:pt x="66" y="350"/>
                    </a:lnTo>
                    <a:lnTo>
                      <a:pt x="26" y="348"/>
                    </a:lnTo>
                    <a:lnTo>
                      <a:pt x="12" y="324"/>
                    </a:lnTo>
                    <a:lnTo>
                      <a:pt x="10" y="292"/>
                    </a:lnTo>
                    <a:lnTo>
                      <a:pt x="16" y="270"/>
                    </a:lnTo>
                    <a:lnTo>
                      <a:pt x="24" y="256"/>
                    </a:lnTo>
                    <a:lnTo>
                      <a:pt x="54" y="254"/>
                    </a:lnTo>
                    <a:lnTo>
                      <a:pt x="60" y="236"/>
                    </a:lnTo>
                    <a:lnTo>
                      <a:pt x="26" y="230"/>
                    </a:lnTo>
                    <a:lnTo>
                      <a:pt x="6" y="20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132" name="Freeform 14"/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auto">
              <a:xfrm>
                <a:off x="5473700" y="3689350"/>
                <a:ext cx="584200" cy="781050"/>
              </a:xfrm>
              <a:custGeom>
                <a:avLst/>
                <a:gdLst>
                  <a:gd name="T0" fmla="*/ 2147483647 w 357"/>
                  <a:gd name="T1" fmla="*/ 2147483647 h 495"/>
                  <a:gd name="T2" fmla="*/ 2147483647 w 357"/>
                  <a:gd name="T3" fmla="*/ 2147483647 h 495"/>
                  <a:gd name="T4" fmla="*/ 2147483647 w 357"/>
                  <a:gd name="T5" fmla="*/ 2147483647 h 495"/>
                  <a:gd name="T6" fmla="*/ 2147483647 w 357"/>
                  <a:gd name="T7" fmla="*/ 2147483647 h 495"/>
                  <a:gd name="T8" fmla="*/ 0 w 357"/>
                  <a:gd name="T9" fmla="*/ 2147483647 h 495"/>
                  <a:gd name="T10" fmla="*/ 2147483647 w 357"/>
                  <a:gd name="T11" fmla="*/ 2147483647 h 495"/>
                  <a:gd name="T12" fmla="*/ 2147483647 w 357"/>
                  <a:gd name="T13" fmla="*/ 2147483647 h 495"/>
                  <a:gd name="T14" fmla="*/ 2147483647 w 357"/>
                  <a:gd name="T15" fmla="*/ 2147483647 h 495"/>
                  <a:gd name="T16" fmla="*/ 2147483647 w 357"/>
                  <a:gd name="T17" fmla="*/ 2147483647 h 495"/>
                  <a:gd name="T18" fmla="*/ 2147483647 w 357"/>
                  <a:gd name="T19" fmla="*/ 2147483647 h 495"/>
                  <a:gd name="T20" fmla="*/ 2147483647 w 357"/>
                  <a:gd name="T21" fmla="*/ 2147483647 h 495"/>
                  <a:gd name="T22" fmla="*/ 2147483647 w 357"/>
                  <a:gd name="T23" fmla="*/ 2147483647 h 495"/>
                  <a:gd name="T24" fmla="*/ 2147483647 w 357"/>
                  <a:gd name="T25" fmla="*/ 2147483647 h 495"/>
                  <a:gd name="T26" fmla="*/ 2147483647 w 357"/>
                  <a:gd name="T27" fmla="*/ 2147483647 h 495"/>
                  <a:gd name="T28" fmla="*/ 2147483647 w 357"/>
                  <a:gd name="T29" fmla="*/ 2147483647 h 495"/>
                  <a:gd name="T30" fmla="*/ 2147483647 w 357"/>
                  <a:gd name="T31" fmla="*/ 2147483647 h 495"/>
                  <a:gd name="T32" fmla="*/ 2147483647 w 357"/>
                  <a:gd name="T33" fmla="*/ 2147483647 h 495"/>
                  <a:gd name="T34" fmla="*/ 2147483647 w 357"/>
                  <a:gd name="T35" fmla="*/ 2147483647 h 495"/>
                  <a:gd name="T36" fmla="*/ 2147483647 w 357"/>
                  <a:gd name="T37" fmla="*/ 2147483647 h 495"/>
                  <a:gd name="T38" fmla="*/ 2147483647 w 357"/>
                  <a:gd name="T39" fmla="*/ 2147483647 h 495"/>
                  <a:gd name="T40" fmla="*/ 2147483647 w 357"/>
                  <a:gd name="T41" fmla="*/ 2147483647 h 495"/>
                  <a:gd name="T42" fmla="*/ 2147483647 w 357"/>
                  <a:gd name="T43" fmla="*/ 2147483647 h 495"/>
                  <a:gd name="T44" fmla="*/ 2147483647 w 357"/>
                  <a:gd name="T45" fmla="*/ 2147483647 h 495"/>
                  <a:gd name="T46" fmla="*/ 2147483647 w 357"/>
                  <a:gd name="T47" fmla="*/ 2147483647 h 495"/>
                  <a:gd name="T48" fmla="*/ 2147483647 w 357"/>
                  <a:gd name="T49" fmla="*/ 2147483647 h 495"/>
                  <a:gd name="T50" fmla="*/ 2147483647 w 357"/>
                  <a:gd name="T51" fmla="*/ 2147483647 h 495"/>
                  <a:gd name="T52" fmla="*/ 2147483647 w 357"/>
                  <a:gd name="T53" fmla="*/ 2147483647 h 495"/>
                  <a:gd name="T54" fmla="*/ 2147483647 w 357"/>
                  <a:gd name="T55" fmla="*/ 2147483647 h 495"/>
                  <a:gd name="T56" fmla="*/ 2147483647 w 357"/>
                  <a:gd name="T57" fmla="*/ 2147483647 h 495"/>
                  <a:gd name="T58" fmla="*/ 2147483647 w 357"/>
                  <a:gd name="T59" fmla="*/ 2147483647 h 495"/>
                  <a:gd name="T60" fmla="*/ 2147483647 w 357"/>
                  <a:gd name="T61" fmla="*/ 2147483647 h 495"/>
                  <a:gd name="T62" fmla="*/ 2147483647 w 357"/>
                  <a:gd name="T63" fmla="*/ 2147483647 h 495"/>
                  <a:gd name="T64" fmla="*/ 2147483647 w 357"/>
                  <a:gd name="T65" fmla="*/ 2147483647 h 495"/>
                  <a:gd name="T66" fmla="*/ 2147483647 w 357"/>
                  <a:gd name="T67" fmla="*/ 0 h 495"/>
                  <a:gd name="T68" fmla="*/ 2147483647 w 357"/>
                  <a:gd name="T69" fmla="*/ 2147483647 h 495"/>
                  <a:gd name="T70" fmla="*/ 2147483647 w 357"/>
                  <a:gd name="T71" fmla="*/ 2147483647 h 495"/>
                  <a:gd name="T72" fmla="*/ 2147483647 w 357"/>
                  <a:gd name="T73" fmla="*/ 2147483647 h 495"/>
                  <a:gd name="T74" fmla="*/ 2147483647 w 357"/>
                  <a:gd name="T75" fmla="*/ 2147483647 h 49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57"/>
                  <a:gd name="T115" fmla="*/ 0 h 495"/>
                  <a:gd name="T116" fmla="*/ 357 w 357"/>
                  <a:gd name="T117" fmla="*/ 495 h 49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57" h="495">
                    <a:moveTo>
                      <a:pt x="66" y="32"/>
                    </a:moveTo>
                    <a:lnTo>
                      <a:pt x="70" y="72"/>
                    </a:lnTo>
                    <a:lnTo>
                      <a:pt x="88" y="78"/>
                    </a:lnTo>
                    <a:lnTo>
                      <a:pt x="86" y="100"/>
                    </a:lnTo>
                    <a:lnTo>
                      <a:pt x="56" y="94"/>
                    </a:lnTo>
                    <a:lnTo>
                      <a:pt x="34" y="100"/>
                    </a:lnTo>
                    <a:lnTo>
                      <a:pt x="22" y="100"/>
                    </a:lnTo>
                    <a:lnTo>
                      <a:pt x="22" y="126"/>
                    </a:lnTo>
                    <a:lnTo>
                      <a:pt x="14" y="158"/>
                    </a:lnTo>
                    <a:lnTo>
                      <a:pt x="0" y="164"/>
                    </a:lnTo>
                    <a:lnTo>
                      <a:pt x="0" y="210"/>
                    </a:lnTo>
                    <a:lnTo>
                      <a:pt x="22" y="228"/>
                    </a:lnTo>
                    <a:lnTo>
                      <a:pt x="66" y="232"/>
                    </a:lnTo>
                    <a:lnTo>
                      <a:pt x="70" y="256"/>
                    </a:lnTo>
                    <a:lnTo>
                      <a:pt x="66" y="300"/>
                    </a:lnTo>
                    <a:lnTo>
                      <a:pt x="52" y="304"/>
                    </a:lnTo>
                    <a:lnTo>
                      <a:pt x="44" y="330"/>
                    </a:lnTo>
                    <a:lnTo>
                      <a:pt x="66" y="340"/>
                    </a:lnTo>
                    <a:lnTo>
                      <a:pt x="74" y="368"/>
                    </a:lnTo>
                    <a:lnTo>
                      <a:pt x="74" y="404"/>
                    </a:lnTo>
                    <a:lnTo>
                      <a:pt x="84" y="424"/>
                    </a:lnTo>
                    <a:lnTo>
                      <a:pt x="96" y="450"/>
                    </a:lnTo>
                    <a:lnTo>
                      <a:pt x="114" y="462"/>
                    </a:lnTo>
                    <a:lnTo>
                      <a:pt x="132" y="458"/>
                    </a:lnTo>
                    <a:lnTo>
                      <a:pt x="148" y="456"/>
                    </a:lnTo>
                    <a:lnTo>
                      <a:pt x="160" y="476"/>
                    </a:lnTo>
                    <a:lnTo>
                      <a:pt x="174" y="472"/>
                    </a:lnTo>
                    <a:lnTo>
                      <a:pt x="180" y="456"/>
                    </a:lnTo>
                    <a:lnTo>
                      <a:pt x="196" y="448"/>
                    </a:lnTo>
                    <a:lnTo>
                      <a:pt x="212" y="468"/>
                    </a:lnTo>
                    <a:lnTo>
                      <a:pt x="254" y="488"/>
                    </a:lnTo>
                    <a:lnTo>
                      <a:pt x="268" y="488"/>
                    </a:lnTo>
                    <a:lnTo>
                      <a:pt x="270" y="494"/>
                    </a:lnTo>
                    <a:lnTo>
                      <a:pt x="280" y="480"/>
                    </a:lnTo>
                    <a:lnTo>
                      <a:pt x="294" y="472"/>
                    </a:lnTo>
                    <a:lnTo>
                      <a:pt x="304" y="462"/>
                    </a:lnTo>
                    <a:lnTo>
                      <a:pt x="306" y="444"/>
                    </a:lnTo>
                    <a:lnTo>
                      <a:pt x="312" y="444"/>
                    </a:lnTo>
                    <a:lnTo>
                      <a:pt x="316" y="400"/>
                    </a:lnTo>
                    <a:lnTo>
                      <a:pt x="336" y="404"/>
                    </a:lnTo>
                    <a:lnTo>
                      <a:pt x="356" y="386"/>
                    </a:lnTo>
                    <a:lnTo>
                      <a:pt x="350" y="324"/>
                    </a:lnTo>
                    <a:lnTo>
                      <a:pt x="340" y="312"/>
                    </a:lnTo>
                    <a:lnTo>
                      <a:pt x="300" y="312"/>
                    </a:lnTo>
                    <a:lnTo>
                      <a:pt x="300" y="290"/>
                    </a:lnTo>
                    <a:lnTo>
                      <a:pt x="290" y="276"/>
                    </a:lnTo>
                    <a:lnTo>
                      <a:pt x="288" y="266"/>
                    </a:lnTo>
                    <a:lnTo>
                      <a:pt x="258" y="266"/>
                    </a:lnTo>
                    <a:lnTo>
                      <a:pt x="260" y="260"/>
                    </a:lnTo>
                    <a:lnTo>
                      <a:pt x="264" y="246"/>
                    </a:lnTo>
                    <a:lnTo>
                      <a:pt x="280" y="228"/>
                    </a:lnTo>
                    <a:lnTo>
                      <a:pt x="272" y="196"/>
                    </a:lnTo>
                    <a:lnTo>
                      <a:pt x="266" y="188"/>
                    </a:lnTo>
                    <a:lnTo>
                      <a:pt x="246" y="180"/>
                    </a:lnTo>
                    <a:lnTo>
                      <a:pt x="238" y="146"/>
                    </a:lnTo>
                    <a:lnTo>
                      <a:pt x="208" y="140"/>
                    </a:lnTo>
                    <a:lnTo>
                      <a:pt x="216" y="108"/>
                    </a:lnTo>
                    <a:lnTo>
                      <a:pt x="216" y="94"/>
                    </a:lnTo>
                    <a:lnTo>
                      <a:pt x="194" y="94"/>
                    </a:lnTo>
                    <a:lnTo>
                      <a:pt x="182" y="94"/>
                    </a:lnTo>
                    <a:lnTo>
                      <a:pt x="178" y="76"/>
                    </a:lnTo>
                    <a:lnTo>
                      <a:pt x="150" y="64"/>
                    </a:lnTo>
                    <a:lnTo>
                      <a:pt x="138" y="52"/>
                    </a:lnTo>
                    <a:lnTo>
                      <a:pt x="122" y="48"/>
                    </a:lnTo>
                    <a:lnTo>
                      <a:pt x="130" y="28"/>
                    </a:lnTo>
                    <a:lnTo>
                      <a:pt x="124" y="18"/>
                    </a:lnTo>
                    <a:lnTo>
                      <a:pt x="118" y="4"/>
                    </a:lnTo>
                    <a:lnTo>
                      <a:pt x="104" y="0"/>
                    </a:lnTo>
                    <a:lnTo>
                      <a:pt x="88" y="6"/>
                    </a:lnTo>
                    <a:lnTo>
                      <a:pt x="86" y="10"/>
                    </a:lnTo>
                    <a:lnTo>
                      <a:pt x="82" y="14"/>
                    </a:lnTo>
                    <a:lnTo>
                      <a:pt x="78" y="18"/>
                    </a:lnTo>
                    <a:lnTo>
                      <a:pt x="76" y="22"/>
                    </a:lnTo>
                    <a:lnTo>
                      <a:pt x="72" y="24"/>
                    </a:lnTo>
                    <a:lnTo>
                      <a:pt x="70" y="28"/>
                    </a:lnTo>
                    <a:lnTo>
                      <a:pt x="66" y="30"/>
                    </a:lnTo>
                    <a:lnTo>
                      <a:pt x="66" y="32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133" name="Freeform 16"/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4830763" y="2897188"/>
                <a:ext cx="452437" cy="919162"/>
              </a:xfrm>
              <a:custGeom>
                <a:avLst/>
                <a:gdLst>
                  <a:gd name="T0" fmla="*/ 2147483647 w 277"/>
                  <a:gd name="T1" fmla="*/ 0 h 585"/>
                  <a:gd name="T2" fmla="*/ 2147483647 w 277"/>
                  <a:gd name="T3" fmla="*/ 2147483647 h 585"/>
                  <a:gd name="T4" fmla="*/ 2147483647 w 277"/>
                  <a:gd name="T5" fmla="*/ 2147483647 h 585"/>
                  <a:gd name="T6" fmla="*/ 2147483647 w 277"/>
                  <a:gd name="T7" fmla="*/ 2147483647 h 585"/>
                  <a:gd name="T8" fmla="*/ 2147483647 w 277"/>
                  <a:gd name="T9" fmla="*/ 2147483647 h 585"/>
                  <a:gd name="T10" fmla="*/ 2147483647 w 277"/>
                  <a:gd name="T11" fmla="*/ 2147483647 h 585"/>
                  <a:gd name="T12" fmla="*/ 2147483647 w 277"/>
                  <a:gd name="T13" fmla="*/ 2147483647 h 585"/>
                  <a:gd name="T14" fmla="*/ 2147483647 w 277"/>
                  <a:gd name="T15" fmla="*/ 2147483647 h 585"/>
                  <a:gd name="T16" fmla="*/ 2147483647 w 277"/>
                  <a:gd name="T17" fmla="*/ 2147483647 h 585"/>
                  <a:gd name="T18" fmla="*/ 2147483647 w 277"/>
                  <a:gd name="T19" fmla="*/ 2147483647 h 585"/>
                  <a:gd name="T20" fmla="*/ 2147483647 w 277"/>
                  <a:gd name="T21" fmla="*/ 2147483647 h 585"/>
                  <a:gd name="T22" fmla="*/ 2147483647 w 277"/>
                  <a:gd name="T23" fmla="*/ 2147483647 h 585"/>
                  <a:gd name="T24" fmla="*/ 2147483647 w 277"/>
                  <a:gd name="T25" fmla="*/ 2147483647 h 585"/>
                  <a:gd name="T26" fmla="*/ 2147483647 w 277"/>
                  <a:gd name="T27" fmla="*/ 2147483647 h 585"/>
                  <a:gd name="T28" fmla="*/ 2147483647 w 277"/>
                  <a:gd name="T29" fmla="*/ 2147483647 h 585"/>
                  <a:gd name="T30" fmla="*/ 2147483647 w 277"/>
                  <a:gd name="T31" fmla="*/ 2147483647 h 585"/>
                  <a:gd name="T32" fmla="*/ 2147483647 w 277"/>
                  <a:gd name="T33" fmla="*/ 2147483647 h 585"/>
                  <a:gd name="T34" fmla="*/ 2147483647 w 277"/>
                  <a:gd name="T35" fmla="*/ 2147483647 h 585"/>
                  <a:gd name="T36" fmla="*/ 2147483647 w 277"/>
                  <a:gd name="T37" fmla="*/ 2147483647 h 585"/>
                  <a:gd name="T38" fmla="*/ 2147483647 w 277"/>
                  <a:gd name="T39" fmla="*/ 2147483647 h 585"/>
                  <a:gd name="T40" fmla="*/ 2147483647 w 277"/>
                  <a:gd name="T41" fmla="*/ 2147483647 h 585"/>
                  <a:gd name="T42" fmla="*/ 2147483647 w 277"/>
                  <a:gd name="T43" fmla="*/ 2147483647 h 585"/>
                  <a:gd name="T44" fmla="*/ 2147483647 w 277"/>
                  <a:gd name="T45" fmla="*/ 2147483647 h 585"/>
                  <a:gd name="T46" fmla="*/ 2147483647 w 277"/>
                  <a:gd name="T47" fmla="*/ 2147483647 h 585"/>
                  <a:gd name="T48" fmla="*/ 2147483647 w 277"/>
                  <a:gd name="T49" fmla="*/ 2147483647 h 585"/>
                  <a:gd name="T50" fmla="*/ 2147483647 w 277"/>
                  <a:gd name="T51" fmla="*/ 2147483647 h 585"/>
                  <a:gd name="T52" fmla="*/ 2147483647 w 277"/>
                  <a:gd name="T53" fmla="*/ 2147483647 h 585"/>
                  <a:gd name="T54" fmla="*/ 2147483647 w 277"/>
                  <a:gd name="T55" fmla="*/ 2147483647 h 585"/>
                  <a:gd name="T56" fmla="*/ 2147483647 w 277"/>
                  <a:gd name="T57" fmla="*/ 2147483647 h 585"/>
                  <a:gd name="T58" fmla="*/ 2147483647 w 277"/>
                  <a:gd name="T59" fmla="*/ 2147483647 h 585"/>
                  <a:gd name="T60" fmla="*/ 2147483647 w 277"/>
                  <a:gd name="T61" fmla="*/ 2147483647 h 585"/>
                  <a:gd name="T62" fmla="*/ 2147483647 w 277"/>
                  <a:gd name="T63" fmla="*/ 2147483647 h 585"/>
                  <a:gd name="T64" fmla="*/ 2147483647 w 277"/>
                  <a:gd name="T65" fmla="*/ 2147483647 h 585"/>
                  <a:gd name="T66" fmla="*/ 2147483647 w 277"/>
                  <a:gd name="T67" fmla="*/ 2147483647 h 585"/>
                  <a:gd name="T68" fmla="*/ 2147483647 w 277"/>
                  <a:gd name="T69" fmla="*/ 2147483647 h 585"/>
                  <a:gd name="T70" fmla="*/ 2147483647 w 277"/>
                  <a:gd name="T71" fmla="*/ 2147483647 h 585"/>
                  <a:gd name="T72" fmla="*/ 2147483647 w 277"/>
                  <a:gd name="T73" fmla="*/ 2147483647 h 585"/>
                  <a:gd name="T74" fmla="*/ 0 w 277"/>
                  <a:gd name="T75" fmla="*/ 2147483647 h 585"/>
                  <a:gd name="T76" fmla="*/ 2147483647 w 277"/>
                  <a:gd name="T77" fmla="*/ 2147483647 h 585"/>
                  <a:gd name="T78" fmla="*/ 2147483647 w 277"/>
                  <a:gd name="T79" fmla="*/ 2147483647 h 585"/>
                  <a:gd name="T80" fmla="*/ 2147483647 w 277"/>
                  <a:gd name="T81" fmla="*/ 2147483647 h 585"/>
                  <a:gd name="T82" fmla="*/ 0 w 277"/>
                  <a:gd name="T83" fmla="*/ 2147483647 h 585"/>
                  <a:gd name="T84" fmla="*/ 2147483647 w 277"/>
                  <a:gd name="T85" fmla="*/ 2147483647 h 585"/>
                  <a:gd name="T86" fmla="*/ 2147483647 w 277"/>
                  <a:gd name="T87" fmla="*/ 2147483647 h 585"/>
                  <a:gd name="T88" fmla="*/ 2147483647 w 277"/>
                  <a:gd name="T89" fmla="*/ 2147483647 h 585"/>
                  <a:gd name="T90" fmla="*/ 2147483647 w 277"/>
                  <a:gd name="T91" fmla="*/ 2147483647 h 585"/>
                  <a:gd name="T92" fmla="*/ 2147483647 w 277"/>
                  <a:gd name="T93" fmla="*/ 2147483647 h 585"/>
                  <a:gd name="T94" fmla="*/ 2147483647 w 277"/>
                  <a:gd name="T95" fmla="*/ 2147483647 h 585"/>
                  <a:gd name="T96" fmla="*/ 2147483647 w 277"/>
                  <a:gd name="T97" fmla="*/ 2147483647 h 585"/>
                  <a:gd name="T98" fmla="*/ 2147483647 w 277"/>
                  <a:gd name="T99" fmla="*/ 2147483647 h 585"/>
                  <a:gd name="T100" fmla="*/ 2147483647 w 277"/>
                  <a:gd name="T101" fmla="*/ 2147483647 h 585"/>
                  <a:gd name="T102" fmla="*/ 2147483647 w 277"/>
                  <a:gd name="T103" fmla="*/ 2147483647 h 585"/>
                  <a:gd name="T104" fmla="*/ 2147483647 w 277"/>
                  <a:gd name="T105" fmla="*/ 2147483647 h 585"/>
                  <a:gd name="T106" fmla="*/ 2147483647 w 277"/>
                  <a:gd name="T107" fmla="*/ 2147483647 h 585"/>
                  <a:gd name="T108" fmla="*/ 2147483647 w 277"/>
                  <a:gd name="T109" fmla="*/ 2147483647 h 585"/>
                  <a:gd name="T110" fmla="*/ 2147483647 w 277"/>
                  <a:gd name="T111" fmla="*/ 2147483647 h 585"/>
                  <a:gd name="T112" fmla="*/ 2147483647 w 277"/>
                  <a:gd name="T113" fmla="*/ 2147483647 h 585"/>
                  <a:gd name="T114" fmla="*/ 2147483647 w 277"/>
                  <a:gd name="T115" fmla="*/ 2147483647 h 585"/>
                  <a:gd name="T116" fmla="*/ 2147483647 w 277"/>
                  <a:gd name="T117" fmla="*/ 2147483647 h 585"/>
                  <a:gd name="T118" fmla="*/ 2147483647 w 277"/>
                  <a:gd name="T119" fmla="*/ 2147483647 h 585"/>
                  <a:gd name="T120" fmla="*/ 2147483647 w 277"/>
                  <a:gd name="T121" fmla="*/ 2147483647 h 585"/>
                  <a:gd name="T122" fmla="*/ 2147483647 w 277"/>
                  <a:gd name="T123" fmla="*/ 0 h 58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77"/>
                  <a:gd name="T187" fmla="*/ 0 h 585"/>
                  <a:gd name="T188" fmla="*/ 277 w 277"/>
                  <a:gd name="T189" fmla="*/ 585 h 58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77" h="585">
                    <a:moveTo>
                      <a:pt x="240" y="0"/>
                    </a:moveTo>
                    <a:lnTo>
                      <a:pt x="254" y="4"/>
                    </a:lnTo>
                    <a:lnTo>
                      <a:pt x="266" y="20"/>
                    </a:lnTo>
                    <a:lnTo>
                      <a:pt x="268" y="52"/>
                    </a:lnTo>
                    <a:lnTo>
                      <a:pt x="250" y="54"/>
                    </a:lnTo>
                    <a:lnTo>
                      <a:pt x="254" y="72"/>
                    </a:lnTo>
                    <a:lnTo>
                      <a:pt x="268" y="98"/>
                    </a:lnTo>
                    <a:lnTo>
                      <a:pt x="276" y="140"/>
                    </a:lnTo>
                    <a:lnTo>
                      <a:pt x="272" y="154"/>
                    </a:lnTo>
                    <a:lnTo>
                      <a:pt x="244" y="170"/>
                    </a:lnTo>
                    <a:lnTo>
                      <a:pt x="238" y="206"/>
                    </a:lnTo>
                    <a:lnTo>
                      <a:pt x="238" y="252"/>
                    </a:lnTo>
                    <a:lnTo>
                      <a:pt x="250" y="266"/>
                    </a:lnTo>
                    <a:lnTo>
                      <a:pt x="262" y="270"/>
                    </a:lnTo>
                    <a:lnTo>
                      <a:pt x="264" y="318"/>
                    </a:lnTo>
                    <a:lnTo>
                      <a:pt x="240" y="352"/>
                    </a:lnTo>
                    <a:lnTo>
                      <a:pt x="236" y="380"/>
                    </a:lnTo>
                    <a:lnTo>
                      <a:pt x="238" y="398"/>
                    </a:lnTo>
                    <a:lnTo>
                      <a:pt x="250" y="404"/>
                    </a:lnTo>
                    <a:lnTo>
                      <a:pt x="252" y="430"/>
                    </a:lnTo>
                    <a:lnTo>
                      <a:pt x="258" y="446"/>
                    </a:lnTo>
                    <a:lnTo>
                      <a:pt x="252" y="466"/>
                    </a:lnTo>
                    <a:lnTo>
                      <a:pt x="242" y="472"/>
                    </a:lnTo>
                    <a:lnTo>
                      <a:pt x="234" y="494"/>
                    </a:lnTo>
                    <a:lnTo>
                      <a:pt x="202" y="508"/>
                    </a:lnTo>
                    <a:lnTo>
                      <a:pt x="196" y="528"/>
                    </a:lnTo>
                    <a:lnTo>
                      <a:pt x="160" y="524"/>
                    </a:lnTo>
                    <a:lnTo>
                      <a:pt x="152" y="544"/>
                    </a:lnTo>
                    <a:lnTo>
                      <a:pt x="116" y="536"/>
                    </a:lnTo>
                    <a:lnTo>
                      <a:pt x="84" y="566"/>
                    </a:lnTo>
                    <a:lnTo>
                      <a:pt x="34" y="584"/>
                    </a:lnTo>
                    <a:lnTo>
                      <a:pt x="10" y="582"/>
                    </a:lnTo>
                    <a:lnTo>
                      <a:pt x="10" y="526"/>
                    </a:lnTo>
                    <a:lnTo>
                      <a:pt x="22" y="510"/>
                    </a:lnTo>
                    <a:lnTo>
                      <a:pt x="18" y="486"/>
                    </a:lnTo>
                    <a:lnTo>
                      <a:pt x="10" y="468"/>
                    </a:lnTo>
                    <a:lnTo>
                      <a:pt x="10" y="386"/>
                    </a:lnTo>
                    <a:lnTo>
                      <a:pt x="0" y="374"/>
                    </a:lnTo>
                    <a:lnTo>
                      <a:pt x="8" y="356"/>
                    </a:lnTo>
                    <a:lnTo>
                      <a:pt x="18" y="358"/>
                    </a:lnTo>
                    <a:lnTo>
                      <a:pt x="18" y="296"/>
                    </a:lnTo>
                    <a:lnTo>
                      <a:pt x="0" y="266"/>
                    </a:lnTo>
                    <a:lnTo>
                      <a:pt x="2" y="250"/>
                    </a:lnTo>
                    <a:lnTo>
                      <a:pt x="8" y="234"/>
                    </a:lnTo>
                    <a:lnTo>
                      <a:pt x="24" y="214"/>
                    </a:lnTo>
                    <a:lnTo>
                      <a:pt x="36" y="216"/>
                    </a:lnTo>
                    <a:lnTo>
                      <a:pt x="36" y="196"/>
                    </a:lnTo>
                    <a:lnTo>
                      <a:pt x="40" y="160"/>
                    </a:lnTo>
                    <a:lnTo>
                      <a:pt x="42" y="134"/>
                    </a:lnTo>
                    <a:lnTo>
                      <a:pt x="74" y="128"/>
                    </a:lnTo>
                    <a:lnTo>
                      <a:pt x="96" y="110"/>
                    </a:lnTo>
                    <a:lnTo>
                      <a:pt x="94" y="92"/>
                    </a:lnTo>
                    <a:lnTo>
                      <a:pt x="106" y="88"/>
                    </a:lnTo>
                    <a:lnTo>
                      <a:pt x="116" y="88"/>
                    </a:lnTo>
                    <a:lnTo>
                      <a:pt x="118" y="78"/>
                    </a:lnTo>
                    <a:lnTo>
                      <a:pt x="136" y="68"/>
                    </a:lnTo>
                    <a:lnTo>
                      <a:pt x="134" y="54"/>
                    </a:lnTo>
                    <a:lnTo>
                      <a:pt x="170" y="54"/>
                    </a:lnTo>
                    <a:lnTo>
                      <a:pt x="180" y="40"/>
                    </a:lnTo>
                    <a:lnTo>
                      <a:pt x="206" y="34"/>
                    </a:lnTo>
                    <a:lnTo>
                      <a:pt x="234" y="16"/>
                    </a:lnTo>
                    <a:lnTo>
                      <a:pt x="240" y="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134" name="Freeform 24"/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4702176" y="5854702"/>
                <a:ext cx="341313" cy="258763"/>
              </a:xfrm>
              <a:custGeom>
                <a:avLst/>
                <a:gdLst>
                  <a:gd name="T0" fmla="*/ 2147483647 w 209"/>
                  <a:gd name="T1" fmla="*/ 2147483647 h 165"/>
                  <a:gd name="T2" fmla="*/ 2147483647 w 209"/>
                  <a:gd name="T3" fmla="*/ 2147483647 h 165"/>
                  <a:gd name="T4" fmla="*/ 2147483647 w 209"/>
                  <a:gd name="T5" fmla="*/ 2147483647 h 165"/>
                  <a:gd name="T6" fmla="*/ 2147483647 w 209"/>
                  <a:gd name="T7" fmla="*/ 2147483647 h 165"/>
                  <a:gd name="T8" fmla="*/ 2147483647 w 209"/>
                  <a:gd name="T9" fmla="*/ 2147483647 h 165"/>
                  <a:gd name="T10" fmla="*/ 2147483647 w 209"/>
                  <a:gd name="T11" fmla="*/ 2147483647 h 165"/>
                  <a:gd name="T12" fmla="*/ 2147483647 w 209"/>
                  <a:gd name="T13" fmla="*/ 0 h 165"/>
                  <a:gd name="T14" fmla="*/ 2147483647 w 209"/>
                  <a:gd name="T15" fmla="*/ 0 h 165"/>
                  <a:gd name="T16" fmla="*/ 2147483647 w 209"/>
                  <a:gd name="T17" fmla="*/ 2147483647 h 165"/>
                  <a:gd name="T18" fmla="*/ 2147483647 w 209"/>
                  <a:gd name="T19" fmla="*/ 2147483647 h 165"/>
                  <a:gd name="T20" fmla="*/ 2147483647 w 209"/>
                  <a:gd name="T21" fmla="*/ 2147483647 h 165"/>
                  <a:gd name="T22" fmla="*/ 2147483647 w 209"/>
                  <a:gd name="T23" fmla="*/ 2147483647 h 165"/>
                  <a:gd name="T24" fmla="*/ 2147483647 w 209"/>
                  <a:gd name="T25" fmla="*/ 2147483647 h 165"/>
                  <a:gd name="T26" fmla="*/ 2147483647 w 209"/>
                  <a:gd name="T27" fmla="*/ 2147483647 h 165"/>
                  <a:gd name="T28" fmla="*/ 2147483647 w 209"/>
                  <a:gd name="T29" fmla="*/ 2147483647 h 165"/>
                  <a:gd name="T30" fmla="*/ 2147483647 w 209"/>
                  <a:gd name="T31" fmla="*/ 2147483647 h 165"/>
                  <a:gd name="T32" fmla="*/ 2147483647 w 209"/>
                  <a:gd name="T33" fmla="*/ 2147483647 h 165"/>
                  <a:gd name="T34" fmla="*/ 2147483647 w 209"/>
                  <a:gd name="T35" fmla="*/ 2147483647 h 165"/>
                  <a:gd name="T36" fmla="*/ 2147483647 w 209"/>
                  <a:gd name="T37" fmla="*/ 2147483647 h 165"/>
                  <a:gd name="T38" fmla="*/ 2147483647 w 209"/>
                  <a:gd name="T39" fmla="*/ 2147483647 h 165"/>
                  <a:gd name="T40" fmla="*/ 2147483647 w 209"/>
                  <a:gd name="T41" fmla="*/ 2147483647 h 165"/>
                  <a:gd name="T42" fmla="*/ 2147483647 w 209"/>
                  <a:gd name="T43" fmla="*/ 2147483647 h 165"/>
                  <a:gd name="T44" fmla="*/ 0 w 209"/>
                  <a:gd name="T45" fmla="*/ 2147483647 h 165"/>
                  <a:gd name="T46" fmla="*/ 2147483647 w 209"/>
                  <a:gd name="T47" fmla="*/ 2147483647 h 165"/>
                  <a:gd name="T48" fmla="*/ 2147483647 w 209"/>
                  <a:gd name="T49" fmla="*/ 2147483647 h 165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209"/>
                  <a:gd name="T76" fmla="*/ 0 h 165"/>
                  <a:gd name="T77" fmla="*/ 209 w 209"/>
                  <a:gd name="T78" fmla="*/ 165 h 165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209" h="165">
                    <a:moveTo>
                      <a:pt x="14" y="66"/>
                    </a:moveTo>
                    <a:lnTo>
                      <a:pt x="40" y="36"/>
                    </a:lnTo>
                    <a:lnTo>
                      <a:pt x="54" y="16"/>
                    </a:lnTo>
                    <a:lnTo>
                      <a:pt x="78" y="16"/>
                    </a:lnTo>
                    <a:lnTo>
                      <a:pt x="98" y="26"/>
                    </a:lnTo>
                    <a:lnTo>
                      <a:pt x="114" y="12"/>
                    </a:lnTo>
                    <a:lnTo>
                      <a:pt x="122" y="0"/>
                    </a:lnTo>
                    <a:lnTo>
                      <a:pt x="162" y="0"/>
                    </a:lnTo>
                    <a:lnTo>
                      <a:pt x="196" y="2"/>
                    </a:lnTo>
                    <a:lnTo>
                      <a:pt x="206" y="14"/>
                    </a:lnTo>
                    <a:lnTo>
                      <a:pt x="208" y="42"/>
                    </a:lnTo>
                    <a:lnTo>
                      <a:pt x="198" y="60"/>
                    </a:lnTo>
                    <a:lnTo>
                      <a:pt x="176" y="66"/>
                    </a:lnTo>
                    <a:lnTo>
                      <a:pt x="170" y="92"/>
                    </a:lnTo>
                    <a:lnTo>
                      <a:pt x="170" y="114"/>
                    </a:lnTo>
                    <a:lnTo>
                      <a:pt x="154" y="122"/>
                    </a:lnTo>
                    <a:lnTo>
                      <a:pt x="134" y="124"/>
                    </a:lnTo>
                    <a:lnTo>
                      <a:pt x="118" y="148"/>
                    </a:lnTo>
                    <a:lnTo>
                      <a:pt x="104" y="160"/>
                    </a:lnTo>
                    <a:lnTo>
                      <a:pt x="74" y="164"/>
                    </a:lnTo>
                    <a:lnTo>
                      <a:pt x="40" y="160"/>
                    </a:lnTo>
                    <a:lnTo>
                      <a:pt x="28" y="146"/>
                    </a:lnTo>
                    <a:lnTo>
                      <a:pt x="0" y="126"/>
                    </a:lnTo>
                    <a:lnTo>
                      <a:pt x="4" y="92"/>
                    </a:lnTo>
                    <a:lnTo>
                      <a:pt x="14" y="6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135" name="Freeform 26"/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5664201" y="4581527"/>
                <a:ext cx="554037" cy="688975"/>
              </a:xfrm>
              <a:custGeom>
                <a:avLst/>
                <a:gdLst>
                  <a:gd name="T0" fmla="*/ 2147483647 w 339"/>
                  <a:gd name="T1" fmla="*/ 2147483647 h 439"/>
                  <a:gd name="T2" fmla="*/ 2147483647 w 339"/>
                  <a:gd name="T3" fmla="*/ 2147483647 h 439"/>
                  <a:gd name="T4" fmla="*/ 2147483647 w 339"/>
                  <a:gd name="T5" fmla="*/ 2147483647 h 439"/>
                  <a:gd name="T6" fmla="*/ 2147483647 w 339"/>
                  <a:gd name="T7" fmla="*/ 2147483647 h 439"/>
                  <a:gd name="T8" fmla="*/ 2147483647 w 339"/>
                  <a:gd name="T9" fmla="*/ 2147483647 h 439"/>
                  <a:gd name="T10" fmla="*/ 2147483647 w 339"/>
                  <a:gd name="T11" fmla="*/ 2147483647 h 439"/>
                  <a:gd name="T12" fmla="*/ 2147483647 w 339"/>
                  <a:gd name="T13" fmla="*/ 2147483647 h 439"/>
                  <a:gd name="T14" fmla="*/ 2147483647 w 339"/>
                  <a:gd name="T15" fmla="*/ 2147483647 h 439"/>
                  <a:gd name="T16" fmla="*/ 2147483647 w 339"/>
                  <a:gd name="T17" fmla="*/ 2147483647 h 439"/>
                  <a:gd name="T18" fmla="*/ 2147483647 w 339"/>
                  <a:gd name="T19" fmla="*/ 2147483647 h 439"/>
                  <a:gd name="T20" fmla="*/ 2147483647 w 339"/>
                  <a:gd name="T21" fmla="*/ 2147483647 h 439"/>
                  <a:gd name="T22" fmla="*/ 2147483647 w 339"/>
                  <a:gd name="T23" fmla="*/ 2147483647 h 439"/>
                  <a:gd name="T24" fmla="*/ 2147483647 w 339"/>
                  <a:gd name="T25" fmla="*/ 2147483647 h 439"/>
                  <a:gd name="T26" fmla="*/ 2147483647 w 339"/>
                  <a:gd name="T27" fmla="*/ 2147483647 h 439"/>
                  <a:gd name="T28" fmla="*/ 2147483647 w 339"/>
                  <a:gd name="T29" fmla="*/ 2147483647 h 439"/>
                  <a:gd name="T30" fmla="*/ 2147483647 w 339"/>
                  <a:gd name="T31" fmla="*/ 2147483647 h 439"/>
                  <a:gd name="T32" fmla="*/ 2147483647 w 339"/>
                  <a:gd name="T33" fmla="*/ 2147483647 h 439"/>
                  <a:gd name="T34" fmla="*/ 2147483647 w 339"/>
                  <a:gd name="T35" fmla="*/ 2147483647 h 439"/>
                  <a:gd name="T36" fmla="*/ 2147483647 w 339"/>
                  <a:gd name="T37" fmla="*/ 2147483647 h 439"/>
                  <a:gd name="T38" fmla="*/ 2147483647 w 339"/>
                  <a:gd name="T39" fmla="*/ 2147483647 h 439"/>
                  <a:gd name="T40" fmla="*/ 2147483647 w 339"/>
                  <a:gd name="T41" fmla="*/ 2147483647 h 439"/>
                  <a:gd name="T42" fmla="*/ 2147483647 w 339"/>
                  <a:gd name="T43" fmla="*/ 2147483647 h 439"/>
                  <a:gd name="T44" fmla="*/ 2147483647 w 339"/>
                  <a:gd name="T45" fmla="*/ 2147483647 h 439"/>
                  <a:gd name="T46" fmla="*/ 2147483647 w 339"/>
                  <a:gd name="T47" fmla="*/ 2147483647 h 439"/>
                  <a:gd name="T48" fmla="*/ 2147483647 w 339"/>
                  <a:gd name="T49" fmla="*/ 2147483647 h 439"/>
                  <a:gd name="T50" fmla="*/ 2147483647 w 339"/>
                  <a:gd name="T51" fmla="*/ 2147483647 h 439"/>
                  <a:gd name="T52" fmla="*/ 2147483647 w 339"/>
                  <a:gd name="T53" fmla="*/ 2147483647 h 439"/>
                  <a:gd name="T54" fmla="*/ 2147483647 w 339"/>
                  <a:gd name="T55" fmla="*/ 2147483647 h 439"/>
                  <a:gd name="T56" fmla="*/ 2147483647 w 339"/>
                  <a:gd name="T57" fmla="*/ 0 h 439"/>
                  <a:gd name="T58" fmla="*/ 2147483647 w 339"/>
                  <a:gd name="T59" fmla="*/ 2147483647 h 439"/>
                  <a:gd name="T60" fmla="*/ 2147483647 w 339"/>
                  <a:gd name="T61" fmla="*/ 2147483647 h 439"/>
                  <a:gd name="T62" fmla="*/ 2147483647 w 339"/>
                  <a:gd name="T63" fmla="*/ 2147483647 h 439"/>
                  <a:gd name="T64" fmla="*/ 2147483647 w 339"/>
                  <a:gd name="T65" fmla="*/ 2147483647 h 439"/>
                  <a:gd name="T66" fmla="*/ 2147483647 w 339"/>
                  <a:gd name="T67" fmla="*/ 2147483647 h 439"/>
                  <a:gd name="T68" fmla="*/ 2147483647 w 339"/>
                  <a:gd name="T69" fmla="*/ 2147483647 h 439"/>
                  <a:gd name="T70" fmla="*/ 2147483647 w 339"/>
                  <a:gd name="T71" fmla="*/ 2147483647 h 439"/>
                  <a:gd name="T72" fmla="*/ 2147483647 w 339"/>
                  <a:gd name="T73" fmla="*/ 2147483647 h 439"/>
                  <a:gd name="T74" fmla="*/ 2147483647 w 339"/>
                  <a:gd name="T75" fmla="*/ 2147483647 h 439"/>
                  <a:gd name="T76" fmla="*/ 2147483647 w 339"/>
                  <a:gd name="T77" fmla="*/ 2147483647 h 439"/>
                  <a:gd name="T78" fmla="*/ 2147483647 w 339"/>
                  <a:gd name="T79" fmla="*/ 2147483647 h 439"/>
                  <a:gd name="T80" fmla="*/ 2147483647 w 339"/>
                  <a:gd name="T81" fmla="*/ 2147483647 h 439"/>
                  <a:gd name="T82" fmla="*/ 2147483647 w 339"/>
                  <a:gd name="T83" fmla="*/ 2147483647 h 439"/>
                  <a:gd name="T84" fmla="*/ 2147483647 w 339"/>
                  <a:gd name="T85" fmla="*/ 2147483647 h 439"/>
                  <a:gd name="T86" fmla="*/ 2147483647 w 339"/>
                  <a:gd name="T87" fmla="*/ 2147483647 h 439"/>
                  <a:gd name="T88" fmla="*/ 2147483647 w 339"/>
                  <a:gd name="T89" fmla="*/ 2147483647 h 439"/>
                  <a:gd name="T90" fmla="*/ 0 w 339"/>
                  <a:gd name="T91" fmla="*/ 2147483647 h 439"/>
                  <a:gd name="T92" fmla="*/ 2147483647 w 339"/>
                  <a:gd name="T93" fmla="*/ 2147483647 h 439"/>
                  <a:gd name="T94" fmla="*/ 2147483647 w 339"/>
                  <a:gd name="T95" fmla="*/ 2147483647 h 439"/>
                  <a:gd name="T96" fmla="*/ 2147483647 w 339"/>
                  <a:gd name="T97" fmla="*/ 2147483647 h 439"/>
                  <a:gd name="T98" fmla="*/ 2147483647 w 339"/>
                  <a:gd name="T99" fmla="*/ 2147483647 h 439"/>
                  <a:gd name="T100" fmla="*/ 2147483647 w 339"/>
                  <a:gd name="T101" fmla="*/ 2147483647 h 439"/>
                  <a:gd name="T102" fmla="*/ 2147483647 w 339"/>
                  <a:gd name="T103" fmla="*/ 2147483647 h 439"/>
                  <a:gd name="T104" fmla="*/ 2147483647 w 339"/>
                  <a:gd name="T105" fmla="*/ 2147483647 h 439"/>
                  <a:gd name="T106" fmla="*/ 2147483647 w 339"/>
                  <a:gd name="T107" fmla="*/ 2147483647 h 439"/>
                  <a:gd name="T108" fmla="*/ 2147483647 w 339"/>
                  <a:gd name="T109" fmla="*/ 2147483647 h 439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39"/>
                  <a:gd name="T166" fmla="*/ 0 h 439"/>
                  <a:gd name="T167" fmla="*/ 339 w 339"/>
                  <a:gd name="T168" fmla="*/ 439 h 439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39" h="439">
                    <a:moveTo>
                      <a:pt x="104" y="438"/>
                    </a:moveTo>
                    <a:lnTo>
                      <a:pt x="130" y="436"/>
                    </a:lnTo>
                    <a:lnTo>
                      <a:pt x="144" y="426"/>
                    </a:lnTo>
                    <a:lnTo>
                      <a:pt x="166" y="412"/>
                    </a:lnTo>
                    <a:lnTo>
                      <a:pt x="184" y="400"/>
                    </a:lnTo>
                    <a:lnTo>
                      <a:pt x="184" y="378"/>
                    </a:lnTo>
                    <a:lnTo>
                      <a:pt x="204" y="354"/>
                    </a:lnTo>
                    <a:lnTo>
                      <a:pt x="212" y="338"/>
                    </a:lnTo>
                    <a:lnTo>
                      <a:pt x="242" y="340"/>
                    </a:lnTo>
                    <a:lnTo>
                      <a:pt x="252" y="320"/>
                    </a:lnTo>
                    <a:lnTo>
                      <a:pt x="260" y="286"/>
                    </a:lnTo>
                    <a:lnTo>
                      <a:pt x="280" y="274"/>
                    </a:lnTo>
                    <a:lnTo>
                      <a:pt x="296" y="260"/>
                    </a:lnTo>
                    <a:lnTo>
                      <a:pt x="302" y="210"/>
                    </a:lnTo>
                    <a:lnTo>
                      <a:pt x="294" y="154"/>
                    </a:lnTo>
                    <a:lnTo>
                      <a:pt x="300" y="140"/>
                    </a:lnTo>
                    <a:lnTo>
                      <a:pt x="326" y="148"/>
                    </a:lnTo>
                    <a:lnTo>
                      <a:pt x="338" y="132"/>
                    </a:lnTo>
                    <a:lnTo>
                      <a:pt x="336" y="92"/>
                    </a:lnTo>
                    <a:lnTo>
                      <a:pt x="314" y="92"/>
                    </a:lnTo>
                    <a:lnTo>
                      <a:pt x="290" y="90"/>
                    </a:lnTo>
                    <a:lnTo>
                      <a:pt x="278" y="72"/>
                    </a:lnTo>
                    <a:lnTo>
                      <a:pt x="252" y="74"/>
                    </a:lnTo>
                    <a:lnTo>
                      <a:pt x="250" y="86"/>
                    </a:lnTo>
                    <a:lnTo>
                      <a:pt x="228" y="82"/>
                    </a:lnTo>
                    <a:lnTo>
                      <a:pt x="228" y="62"/>
                    </a:lnTo>
                    <a:lnTo>
                      <a:pt x="214" y="46"/>
                    </a:lnTo>
                    <a:lnTo>
                      <a:pt x="208" y="10"/>
                    </a:lnTo>
                    <a:lnTo>
                      <a:pt x="186" y="0"/>
                    </a:lnTo>
                    <a:lnTo>
                      <a:pt x="180" y="22"/>
                    </a:lnTo>
                    <a:lnTo>
                      <a:pt x="164" y="50"/>
                    </a:lnTo>
                    <a:lnTo>
                      <a:pt x="148" y="68"/>
                    </a:lnTo>
                    <a:lnTo>
                      <a:pt x="128" y="86"/>
                    </a:lnTo>
                    <a:lnTo>
                      <a:pt x="88" y="92"/>
                    </a:lnTo>
                    <a:lnTo>
                      <a:pt x="76" y="100"/>
                    </a:lnTo>
                    <a:lnTo>
                      <a:pt x="82" y="116"/>
                    </a:lnTo>
                    <a:lnTo>
                      <a:pt x="78" y="148"/>
                    </a:lnTo>
                    <a:lnTo>
                      <a:pt x="56" y="162"/>
                    </a:lnTo>
                    <a:lnTo>
                      <a:pt x="52" y="200"/>
                    </a:lnTo>
                    <a:lnTo>
                      <a:pt x="32" y="220"/>
                    </a:lnTo>
                    <a:lnTo>
                      <a:pt x="22" y="240"/>
                    </a:lnTo>
                    <a:lnTo>
                      <a:pt x="30" y="252"/>
                    </a:lnTo>
                    <a:lnTo>
                      <a:pt x="34" y="264"/>
                    </a:lnTo>
                    <a:lnTo>
                      <a:pt x="18" y="286"/>
                    </a:lnTo>
                    <a:lnTo>
                      <a:pt x="6" y="304"/>
                    </a:lnTo>
                    <a:lnTo>
                      <a:pt x="0" y="332"/>
                    </a:lnTo>
                    <a:lnTo>
                      <a:pt x="4" y="354"/>
                    </a:lnTo>
                    <a:lnTo>
                      <a:pt x="14" y="346"/>
                    </a:lnTo>
                    <a:lnTo>
                      <a:pt x="32" y="354"/>
                    </a:lnTo>
                    <a:lnTo>
                      <a:pt x="62" y="364"/>
                    </a:lnTo>
                    <a:lnTo>
                      <a:pt x="70" y="366"/>
                    </a:lnTo>
                    <a:lnTo>
                      <a:pt x="86" y="390"/>
                    </a:lnTo>
                    <a:lnTo>
                      <a:pt x="100" y="412"/>
                    </a:lnTo>
                    <a:lnTo>
                      <a:pt x="108" y="426"/>
                    </a:lnTo>
                    <a:lnTo>
                      <a:pt x="104" y="438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137" name="Freeform 27"/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6251576" y="4986340"/>
                <a:ext cx="231775" cy="517525"/>
              </a:xfrm>
              <a:custGeom>
                <a:avLst/>
                <a:gdLst>
                  <a:gd name="T0" fmla="*/ 2147483647 w 143"/>
                  <a:gd name="T1" fmla="*/ 2147483647 h 329"/>
                  <a:gd name="T2" fmla="*/ 2147483647 w 143"/>
                  <a:gd name="T3" fmla="*/ 2147483647 h 329"/>
                  <a:gd name="T4" fmla="*/ 2147483647 w 143"/>
                  <a:gd name="T5" fmla="*/ 2147483647 h 329"/>
                  <a:gd name="T6" fmla="*/ 2147483647 w 143"/>
                  <a:gd name="T7" fmla="*/ 2147483647 h 329"/>
                  <a:gd name="T8" fmla="*/ 2147483647 w 143"/>
                  <a:gd name="T9" fmla="*/ 2147483647 h 329"/>
                  <a:gd name="T10" fmla="*/ 2147483647 w 143"/>
                  <a:gd name="T11" fmla="*/ 2147483647 h 329"/>
                  <a:gd name="T12" fmla="*/ 2147483647 w 143"/>
                  <a:gd name="T13" fmla="*/ 2147483647 h 329"/>
                  <a:gd name="T14" fmla="*/ 2147483647 w 143"/>
                  <a:gd name="T15" fmla="*/ 2147483647 h 329"/>
                  <a:gd name="T16" fmla="*/ 2147483647 w 143"/>
                  <a:gd name="T17" fmla="*/ 2147483647 h 329"/>
                  <a:gd name="T18" fmla="*/ 2147483647 w 143"/>
                  <a:gd name="T19" fmla="*/ 2147483647 h 329"/>
                  <a:gd name="T20" fmla="*/ 2147483647 w 143"/>
                  <a:gd name="T21" fmla="*/ 2147483647 h 329"/>
                  <a:gd name="T22" fmla="*/ 2147483647 w 143"/>
                  <a:gd name="T23" fmla="*/ 0 h 329"/>
                  <a:gd name="T24" fmla="*/ 2147483647 w 143"/>
                  <a:gd name="T25" fmla="*/ 2147483647 h 329"/>
                  <a:gd name="T26" fmla="*/ 2147483647 w 143"/>
                  <a:gd name="T27" fmla="*/ 2147483647 h 329"/>
                  <a:gd name="T28" fmla="*/ 2147483647 w 143"/>
                  <a:gd name="T29" fmla="*/ 2147483647 h 329"/>
                  <a:gd name="T30" fmla="*/ 2147483647 w 143"/>
                  <a:gd name="T31" fmla="*/ 2147483647 h 329"/>
                  <a:gd name="T32" fmla="*/ 2147483647 w 143"/>
                  <a:gd name="T33" fmla="*/ 2147483647 h 329"/>
                  <a:gd name="T34" fmla="*/ 2147483647 w 143"/>
                  <a:gd name="T35" fmla="*/ 2147483647 h 329"/>
                  <a:gd name="T36" fmla="*/ 2147483647 w 143"/>
                  <a:gd name="T37" fmla="*/ 2147483647 h 329"/>
                  <a:gd name="T38" fmla="*/ 0 w 143"/>
                  <a:gd name="T39" fmla="*/ 2147483647 h 329"/>
                  <a:gd name="T40" fmla="*/ 2147483647 w 143"/>
                  <a:gd name="T41" fmla="*/ 2147483647 h 329"/>
                  <a:gd name="T42" fmla="*/ 2147483647 w 143"/>
                  <a:gd name="T43" fmla="*/ 2147483647 h 329"/>
                  <a:gd name="T44" fmla="*/ 2147483647 w 143"/>
                  <a:gd name="T45" fmla="*/ 2147483647 h 329"/>
                  <a:gd name="T46" fmla="*/ 2147483647 w 143"/>
                  <a:gd name="T47" fmla="*/ 2147483647 h 329"/>
                  <a:gd name="T48" fmla="*/ 2147483647 w 143"/>
                  <a:gd name="T49" fmla="*/ 2147483647 h 329"/>
                  <a:gd name="T50" fmla="*/ 2147483647 w 143"/>
                  <a:gd name="T51" fmla="*/ 2147483647 h 329"/>
                  <a:gd name="T52" fmla="*/ 2147483647 w 143"/>
                  <a:gd name="T53" fmla="*/ 2147483647 h 329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43"/>
                  <a:gd name="T82" fmla="*/ 0 h 329"/>
                  <a:gd name="T83" fmla="*/ 143 w 143"/>
                  <a:gd name="T84" fmla="*/ 329 h 329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43" h="329">
                    <a:moveTo>
                      <a:pt x="82" y="288"/>
                    </a:moveTo>
                    <a:lnTo>
                      <a:pt x="84" y="270"/>
                    </a:lnTo>
                    <a:lnTo>
                      <a:pt x="76" y="242"/>
                    </a:lnTo>
                    <a:lnTo>
                      <a:pt x="108" y="208"/>
                    </a:lnTo>
                    <a:lnTo>
                      <a:pt x="118" y="178"/>
                    </a:lnTo>
                    <a:lnTo>
                      <a:pt x="112" y="150"/>
                    </a:lnTo>
                    <a:lnTo>
                      <a:pt x="110" y="126"/>
                    </a:lnTo>
                    <a:lnTo>
                      <a:pt x="116" y="98"/>
                    </a:lnTo>
                    <a:lnTo>
                      <a:pt x="132" y="78"/>
                    </a:lnTo>
                    <a:lnTo>
                      <a:pt x="142" y="54"/>
                    </a:lnTo>
                    <a:lnTo>
                      <a:pt x="134" y="14"/>
                    </a:lnTo>
                    <a:lnTo>
                      <a:pt x="110" y="0"/>
                    </a:lnTo>
                    <a:lnTo>
                      <a:pt x="94" y="8"/>
                    </a:lnTo>
                    <a:lnTo>
                      <a:pt x="76" y="18"/>
                    </a:lnTo>
                    <a:lnTo>
                      <a:pt x="54" y="52"/>
                    </a:lnTo>
                    <a:lnTo>
                      <a:pt x="44" y="82"/>
                    </a:lnTo>
                    <a:lnTo>
                      <a:pt x="26" y="118"/>
                    </a:lnTo>
                    <a:lnTo>
                      <a:pt x="16" y="142"/>
                    </a:lnTo>
                    <a:lnTo>
                      <a:pt x="2" y="162"/>
                    </a:lnTo>
                    <a:lnTo>
                      <a:pt x="0" y="196"/>
                    </a:lnTo>
                    <a:lnTo>
                      <a:pt x="8" y="242"/>
                    </a:lnTo>
                    <a:lnTo>
                      <a:pt x="30" y="250"/>
                    </a:lnTo>
                    <a:lnTo>
                      <a:pt x="44" y="274"/>
                    </a:lnTo>
                    <a:lnTo>
                      <a:pt x="52" y="302"/>
                    </a:lnTo>
                    <a:lnTo>
                      <a:pt x="58" y="322"/>
                    </a:lnTo>
                    <a:lnTo>
                      <a:pt x="86" y="328"/>
                    </a:lnTo>
                    <a:lnTo>
                      <a:pt x="82" y="288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138" name="Freeform 28"/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auto">
              <a:xfrm>
                <a:off x="5353050" y="4381500"/>
                <a:ext cx="622300" cy="820738"/>
              </a:xfrm>
              <a:custGeom>
                <a:avLst/>
                <a:gdLst>
                  <a:gd name="T0" fmla="*/ 2147483647 w 379"/>
                  <a:gd name="T1" fmla="*/ 2147483647 h 521"/>
                  <a:gd name="T2" fmla="*/ 2147483647 w 379"/>
                  <a:gd name="T3" fmla="*/ 2147483647 h 521"/>
                  <a:gd name="T4" fmla="*/ 2147483647 w 379"/>
                  <a:gd name="T5" fmla="*/ 2147483647 h 521"/>
                  <a:gd name="T6" fmla="*/ 2147483647 w 379"/>
                  <a:gd name="T7" fmla="*/ 2147483647 h 521"/>
                  <a:gd name="T8" fmla="*/ 2147483647 w 379"/>
                  <a:gd name="T9" fmla="*/ 2147483647 h 521"/>
                  <a:gd name="T10" fmla="*/ 2147483647 w 379"/>
                  <a:gd name="T11" fmla="*/ 2147483647 h 521"/>
                  <a:gd name="T12" fmla="*/ 2147483647 w 379"/>
                  <a:gd name="T13" fmla="*/ 2147483647 h 521"/>
                  <a:gd name="T14" fmla="*/ 2147483647 w 379"/>
                  <a:gd name="T15" fmla="*/ 2147483647 h 521"/>
                  <a:gd name="T16" fmla="*/ 2147483647 w 379"/>
                  <a:gd name="T17" fmla="*/ 2147483647 h 521"/>
                  <a:gd name="T18" fmla="*/ 2147483647 w 379"/>
                  <a:gd name="T19" fmla="*/ 2147483647 h 521"/>
                  <a:gd name="T20" fmla="*/ 2147483647 w 379"/>
                  <a:gd name="T21" fmla="*/ 2147483647 h 521"/>
                  <a:gd name="T22" fmla="*/ 2147483647 w 379"/>
                  <a:gd name="T23" fmla="*/ 2147483647 h 521"/>
                  <a:gd name="T24" fmla="*/ 2147483647 w 379"/>
                  <a:gd name="T25" fmla="*/ 2147483647 h 521"/>
                  <a:gd name="T26" fmla="*/ 2147483647 w 379"/>
                  <a:gd name="T27" fmla="*/ 2147483647 h 521"/>
                  <a:gd name="T28" fmla="*/ 2147483647 w 379"/>
                  <a:gd name="T29" fmla="*/ 2147483647 h 521"/>
                  <a:gd name="T30" fmla="*/ 2147483647 w 379"/>
                  <a:gd name="T31" fmla="*/ 2147483647 h 521"/>
                  <a:gd name="T32" fmla="*/ 2147483647 w 379"/>
                  <a:gd name="T33" fmla="*/ 2147483647 h 521"/>
                  <a:gd name="T34" fmla="*/ 2147483647 w 379"/>
                  <a:gd name="T35" fmla="*/ 2147483647 h 521"/>
                  <a:gd name="T36" fmla="*/ 2147483647 w 379"/>
                  <a:gd name="T37" fmla="*/ 2147483647 h 521"/>
                  <a:gd name="T38" fmla="*/ 2147483647 w 379"/>
                  <a:gd name="T39" fmla="*/ 2147483647 h 521"/>
                  <a:gd name="T40" fmla="*/ 2147483647 w 379"/>
                  <a:gd name="T41" fmla="*/ 2147483647 h 521"/>
                  <a:gd name="T42" fmla="*/ 2147483647 w 379"/>
                  <a:gd name="T43" fmla="*/ 2147483647 h 521"/>
                  <a:gd name="T44" fmla="*/ 2147483647 w 379"/>
                  <a:gd name="T45" fmla="*/ 2147483647 h 521"/>
                  <a:gd name="T46" fmla="*/ 2147483647 w 379"/>
                  <a:gd name="T47" fmla="*/ 2147483647 h 521"/>
                  <a:gd name="T48" fmla="*/ 2147483647 w 379"/>
                  <a:gd name="T49" fmla="*/ 2147483647 h 521"/>
                  <a:gd name="T50" fmla="*/ 2147483647 w 379"/>
                  <a:gd name="T51" fmla="*/ 2147483647 h 521"/>
                  <a:gd name="T52" fmla="*/ 2147483647 w 379"/>
                  <a:gd name="T53" fmla="*/ 2147483647 h 521"/>
                  <a:gd name="T54" fmla="*/ 2147483647 w 379"/>
                  <a:gd name="T55" fmla="*/ 2147483647 h 521"/>
                  <a:gd name="T56" fmla="*/ 2147483647 w 379"/>
                  <a:gd name="T57" fmla="*/ 2147483647 h 521"/>
                  <a:gd name="T58" fmla="*/ 2147483647 w 379"/>
                  <a:gd name="T59" fmla="*/ 2147483647 h 521"/>
                  <a:gd name="T60" fmla="*/ 2147483647 w 379"/>
                  <a:gd name="T61" fmla="*/ 2147483647 h 521"/>
                  <a:gd name="T62" fmla="*/ 2147483647 w 379"/>
                  <a:gd name="T63" fmla="*/ 2147483647 h 521"/>
                  <a:gd name="T64" fmla="*/ 2147483647 w 379"/>
                  <a:gd name="T65" fmla="*/ 2147483647 h 521"/>
                  <a:gd name="T66" fmla="*/ 2147483647 w 379"/>
                  <a:gd name="T67" fmla="*/ 2147483647 h 521"/>
                  <a:gd name="T68" fmla="*/ 2147483647 w 379"/>
                  <a:gd name="T69" fmla="*/ 2147483647 h 521"/>
                  <a:gd name="T70" fmla="*/ 2147483647 w 379"/>
                  <a:gd name="T71" fmla="*/ 2147483647 h 521"/>
                  <a:gd name="T72" fmla="*/ 2147483647 w 379"/>
                  <a:gd name="T73" fmla="*/ 2147483647 h 521"/>
                  <a:gd name="T74" fmla="*/ 2147483647 w 379"/>
                  <a:gd name="T75" fmla="*/ 2147483647 h 521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79"/>
                  <a:gd name="T115" fmla="*/ 0 h 521"/>
                  <a:gd name="T116" fmla="*/ 379 w 379"/>
                  <a:gd name="T117" fmla="*/ 521 h 521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79" h="521">
                    <a:moveTo>
                      <a:pt x="34" y="456"/>
                    </a:moveTo>
                    <a:lnTo>
                      <a:pt x="30" y="418"/>
                    </a:lnTo>
                    <a:lnTo>
                      <a:pt x="40" y="400"/>
                    </a:lnTo>
                    <a:lnTo>
                      <a:pt x="48" y="380"/>
                    </a:lnTo>
                    <a:lnTo>
                      <a:pt x="38" y="358"/>
                    </a:lnTo>
                    <a:lnTo>
                      <a:pt x="26" y="336"/>
                    </a:lnTo>
                    <a:lnTo>
                      <a:pt x="28" y="308"/>
                    </a:lnTo>
                    <a:lnTo>
                      <a:pt x="12" y="288"/>
                    </a:lnTo>
                    <a:lnTo>
                      <a:pt x="6" y="236"/>
                    </a:lnTo>
                    <a:lnTo>
                      <a:pt x="22" y="208"/>
                    </a:lnTo>
                    <a:lnTo>
                      <a:pt x="32" y="198"/>
                    </a:lnTo>
                    <a:lnTo>
                      <a:pt x="30" y="158"/>
                    </a:lnTo>
                    <a:lnTo>
                      <a:pt x="22" y="146"/>
                    </a:lnTo>
                    <a:lnTo>
                      <a:pt x="8" y="112"/>
                    </a:lnTo>
                    <a:lnTo>
                      <a:pt x="0" y="90"/>
                    </a:lnTo>
                    <a:lnTo>
                      <a:pt x="14" y="90"/>
                    </a:lnTo>
                    <a:lnTo>
                      <a:pt x="26" y="74"/>
                    </a:lnTo>
                    <a:lnTo>
                      <a:pt x="44" y="66"/>
                    </a:lnTo>
                    <a:lnTo>
                      <a:pt x="64" y="66"/>
                    </a:lnTo>
                    <a:lnTo>
                      <a:pt x="76" y="70"/>
                    </a:lnTo>
                    <a:lnTo>
                      <a:pt x="84" y="58"/>
                    </a:lnTo>
                    <a:lnTo>
                      <a:pt x="88" y="42"/>
                    </a:lnTo>
                    <a:lnTo>
                      <a:pt x="106" y="46"/>
                    </a:lnTo>
                    <a:lnTo>
                      <a:pt x="120" y="34"/>
                    </a:lnTo>
                    <a:lnTo>
                      <a:pt x="152" y="28"/>
                    </a:lnTo>
                    <a:lnTo>
                      <a:pt x="172" y="26"/>
                    </a:lnTo>
                    <a:lnTo>
                      <a:pt x="178" y="14"/>
                    </a:lnTo>
                    <a:lnTo>
                      <a:pt x="186" y="16"/>
                    </a:lnTo>
                    <a:lnTo>
                      <a:pt x="220" y="12"/>
                    </a:lnTo>
                    <a:lnTo>
                      <a:pt x="220" y="14"/>
                    </a:lnTo>
                    <a:lnTo>
                      <a:pt x="224" y="14"/>
                    </a:lnTo>
                    <a:lnTo>
                      <a:pt x="234" y="32"/>
                    </a:lnTo>
                    <a:lnTo>
                      <a:pt x="248" y="26"/>
                    </a:lnTo>
                    <a:lnTo>
                      <a:pt x="248" y="10"/>
                    </a:lnTo>
                    <a:lnTo>
                      <a:pt x="266" y="0"/>
                    </a:lnTo>
                    <a:lnTo>
                      <a:pt x="280" y="16"/>
                    </a:lnTo>
                    <a:lnTo>
                      <a:pt x="308" y="34"/>
                    </a:lnTo>
                    <a:lnTo>
                      <a:pt x="334" y="44"/>
                    </a:lnTo>
                    <a:lnTo>
                      <a:pt x="348" y="52"/>
                    </a:lnTo>
                    <a:lnTo>
                      <a:pt x="350" y="90"/>
                    </a:lnTo>
                    <a:lnTo>
                      <a:pt x="354" y="104"/>
                    </a:lnTo>
                    <a:lnTo>
                      <a:pt x="378" y="122"/>
                    </a:lnTo>
                    <a:lnTo>
                      <a:pt x="374" y="144"/>
                    </a:lnTo>
                    <a:lnTo>
                      <a:pt x="352" y="184"/>
                    </a:lnTo>
                    <a:lnTo>
                      <a:pt x="326" y="212"/>
                    </a:lnTo>
                    <a:lnTo>
                      <a:pt x="300" y="218"/>
                    </a:lnTo>
                    <a:lnTo>
                      <a:pt x="282" y="220"/>
                    </a:lnTo>
                    <a:lnTo>
                      <a:pt x="272" y="228"/>
                    </a:lnTo>
                    <a:lnTo>
                      <a:pt x="276" y="242"/>
                    </a:lnTo>
                    <a:lnTo>
                      <a:pt x="270" y="276"/>
                    </a:lnTo>
                    <a:lnTo>
                      <a:pt x="248" y="288"/>
                    </a:lnTo>
                    <a:lnTo>
                      <a:pt x="244" y="324"/>
                    </a:lnTo>
                    <a:lnTo>
                      <a:pt x="244" y="330"/>
                    </a:lnTo>
                    <a:lnTo>
                      <a:pt x="224" y="352"/>
                    </a:lnTo>
                    <a:lnTo>
                      <a:pt x="218" y="366"/>
                    </a:lnTo>
                    <a:lnTo>
                      <a:pt x="228" y="390"/>
                    </a:lnTo>
                    <a:lnTo>
                      <a:pt x="218" y="404"/>
                    </a:lnTo>
                    <a:lnTo>
                      <a:pt x="200" y="426"/>
                    </a:lnTo>
                    <a:lnTo>
                      <a:pt x="194" y="458"/>
                    </a:lnTo>
                    <a:lnTo>
                      <a:pt x="194" y="480"/>
                    </a:lnTo>
                    <a:lnTo>
                      <a:pt x="170" y="502"/>
                    </a:lnTo>
                    <a:lnTo>
                      <a:pt x="160" y="504"/>
                    </a:lnTo>
                    <a:lnTo>
                      <a:pt x="142" y="488"/>
                    </a:lnTo>
                    <a:lnTo>
                      <a:pt x="134" y="488"/>
                    </a:lnTo>
                    <a:lnTo>
                      <a:pt x="124" y="490"/>
                    </a:lnTo>
                    <a:lnTo>
                      <a:pt x="110" y="510"/>
                    </a:lnTo>
                    <a:lnTo>
                      <a:pt x="90" y="520"/>
                    </a:lnTo>
                    <a:lnTo>
                      <a:pt x="78" y="516"/>
                    </a:lnTo>
                    <a:lnTo>
                      <a:pt x="70" y="496"/>
                    </a:lnTo>
                    <a:lnTo>
                      <a:pt x="74" y="474"/>
                    </a:lnTo>
                    <a:lnTo>
                      <a:pt x="86" y="450"/>
                    </a:lnTo>
                    <a:lnTo>
                      <a:pt x="94" y="434"/>
                    </a:lnTo>
                    <a:lnTo>
                      <a:pt x="86" y="430"/>
                    </a:lnTo>
                    <a:lnTo>
                      <a:pt x="74" y="438"/>
                    </a:lnTo>
                    <a:lnTo>
                      <a:pt x="56" y="444"/>
                    </a:lnTo>
                    <a:lnTo>
                      <a:pt x="34" y="45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139" name="Freeform 35"/>
              <p:cNvSpPr>
                <a:spLocks/>
              </p:cNvSpPr>
              <p:nvPr>
                <p:custDataLst>
                  <p:tags r:id="rId88"/>
                </p:custDataLst>
              </p:nvPr>
            </p:nvSpPr>
            <p:spPr bwMode="auto">
              <a:xfrm>
                <a:off x="4273551" y="4156075"/>
                <a:ext cx="587375" cy="534988"/>
              </a:xfrm>
              <a:custGeom>
                <a:avLst/>
                <a:gdLst>
                  <a:gd name="T0" fmla="*/ 2147483647 w 360"/>
                  <a:gd name="T1" fmla="*/ 2147483647 h 339"/>
                  <a:gd name="T2" fmla="*/ 2147483647 w 360"/>
                  <a:gd name="T3" fmla="*/ 2147483647 h 339"/>
                  <a:gd name="T4" fmla="*/ 2147483647 w 360"/>
                  <a:gd name="T5" fmla="*/ 2147483647 h 339"/>
                  <a:gd name="T6" fmla="*/ 2147483647 w 360"/>
                  <a:gd name="T7" fmla="*/ 2147483647 h 339"/>
                  <a:gd name="T8" fmla="*/ 2147483647 w 360"/>
                  <a:gd name="T9" fmla="*/ 2147483647 h 339"/>
                  <a:gd name="T10" fmla="*/ 2147483647 w 360"/>
                  <a:gd name="T11" fmla="*/ 2147483647 h 339"/>
                  <a:gd name="T12" fmla="*/ 2147483647 w 360"/>
                  <a:gd name="T13" fmla="*/ 2147483647 h 339"/>
                  <a:gd name="T14" fmla="*/ 2147483647 w 360"/>
                  <a:gd name="T15" fmla="*/ 2147483647 h 339"/>
                  <a:gd name="T16" fmla="*/ 2147483647 w 360"/>
                  <a:gd name="T17" fmla="*/ 2147483647 h 339"/>
                  <a:gd name="T18" fmla="*/ 2147483647 w 360"/>
                  <a:gd name="T19" fmla="*/ 2147483647 h 339"/>
                  <a:gd name="T20" fmla="*/ 2147483647 w 360"/>
                  <a:gd name="T21" fmla="*/ 2147483647 h 339"/>
                  <a:gd name="T22" fmla="*/ 2147483647 w 360"/>
                  <a:gd name="T23" fmla="*/ 2147483647 h 339"/>
                  <a:gd name="T24" fmla="*/ 2147483647 w 360"/>
                  <a:gd name="T25" fmla="*/ 2147483647 h 339"/>
                  <a:gd name="T26" fmla="*/ 2147483647 w 360"/>
                  <a:gd name="T27" fmla="*/ 2147483647 h 339"/>
                  <a:gd name="T28" fmla="*/ 2147483647 w 360"/>
                  <a:gd name="T29" fmla="*/ 2147483647 h 339"/>
                  <a:gd name="T30" fmla="*/ 0 w 360"/>
                  <a:gd name="T31" fmla="*/ 2147483647 h 339"/>
                  <a:gd name="T32" fmla="*/ 2147483647 w 360"/>
                  <a:gd name="T33" fmla="*/ 2147483647 h 339"/>
                  <a:gd name="T34" fmla="*/ 2147483647 w 360"/>
                  <a:gd name="T35" fmla="*/ 2147483647 h 339"/>
                  <a:gd name="T36" fmla="*/ 2147483647 w 360"/>
                  <a:gd name="T37" fmla="*/ 2147483647 h 339"/>
                  <a:gd name="T38" fmla="*/ 2147483647 w 360"/>
                  <a:gd name="T39" fmla="*/ 2147483647 h 339"/>
                  <a:gd name="T40" fmla="*/ 2147483647 w 360"/>
                  <a:gd name="T41" fmla="*/ 2147483647 h 339"/>
                  <a:gd name="T42" fmla="*/ 2147483647 w 360"/>
                  <a:gd name="T43" fmla="*/ 2147483647 h 339"/>
                  <a:gd name="T44" fmla="*/ 2147483647 w 360"/>
                  <a:gd name="T45" fmla="*/ 2147483647 h 339"/>
                  <a:gd name="T46" fmla="*/ 2147483647 w 360"/>
                  <a:gd name="T47" fmla="*/ 2147483647 h 339"/>
                  <a:gd name="T48" fmla="*/ 2147483647 w 360"/>
                  <a:gd name="T49" fmla="*/ 2147483647 h 339"/>
                  <a:gd name="T50" fmla="*/ 2147483647 w 360"/>
                  <a:gd name="T51" fmla="*/ 2147483647 h 339"/>
                  <a:gd name="T52" fmla="*/ 2147483647 w 360"/>
                  <a:gd name="T53" fmla="*/ 2147483647 h 339"/>
                  <a:gd name="T54" fmla="*/ 2147483647 w 360"/>
                  <a:gd name="T55" fmla="*/ 2147483647 h 339"/>
                  <a:gd name="T56" fmla="*/ 2147483647 w 360"/>
                  <a:gd name="T57" fmla="*/ 2147483647 h 339"/>
                  <a:gd name="T58" fmla="*/ 2147483647 w 360"/>
                  <a:gd name="T59" fmla="*/ 2147483647 h 339"/>
                  <a:gd name="T60" fmla="*/ 2147483647 w 360"/>
                  <a:gd name="T61" fmla="*/ 2147483647 h 339"/>
                  <a:gd name="T62" fmla="*/ 2147483647 w 360"/>
                  <a:gd name="T63" fmla="*/ 2147483647 h 339"/>
                  <a:gd name="T64" fmla="*/ 2147483647 w 360"/>
                  <a:gd name="T65" fmla="*/ 2147483647 h 339"/>
                  <a:gd name="T66" fmla="*/ 2147483647 w 360"/>
                  <a:gd name="T67" fmla="*/ 2147483647 h 339"/>
                  <a:gd name="T68" fmla="*/ 2147483647 w 360"/>
                  <a:gd name="T69" fmla="*/ 2147483647 h 339"/>
                  <a:gd name="T70" fmla="*/ 2147483647 w 360"/>
                  <a:gd name="T71" fmla="*/ 2147483647 h 339"/>
                  <a:gd name="T72" fmla="*/ 2147483647 w 360"/>
                  <a:gd name="T73" fmla="*/ 2147483647 h 339"/>
                  <a:gd name="T74" fmla="*/ 2147483647 w 360"/>
                  <a:gd name="T75" fmla="*/ 2147483647 h 339"/>
                  <a:gd name="T76" fmla="*/ 2147483647 w 360"/>
                  <a:gd name="T77" fmla="*/ 2147483647 h 339"/>
                  <a:gd name="T78" fmla="*/ 2147483647 w 360"/>
                  <a:gd name="T79" fmla="*/ 2147483647 h 339"/>
                  <a:gd name="T80" fmla="*/ 2147483647 w 360"/>
                  <a:gd name="T81" fmla="*/ 2147483647 h 339"/>
                  <a:gd name="T82" fmla="*/ 2147483647 w 360"/>
                  <a:gd name="T83" fmla="*/ 2147483647 h 339"/>
                  <a:gd name="T84" fmla="*/ 2147483647 w 360"/>
                  <a:gd name="T85" fmla="*/ 2147483647 h 339"/>
                  <a:gd name="T86" fmla="*/ 2147483647 w 360"/>
                  <a:gd name="T87" fmla="*/ 2147483647 h 339"/>
                  <a:gd name="T88" fmla="*/ 2147483647 w 360"/>
                  <a:gd name="T89" fmla="*/ 0 h 339"/>
                  <a:gd name="T90" fmla="*/ 2147483647 w 360"/>
                  <a:gd name="T91" fmla="*/ 2147483647 h 339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60"/>
                  <a:gd name="T139" fmla="*/ 0 h 339"/>
                  <a:gd name="T140" fmla="*/ 360 w 360"/>
                  <a:gd name="T141" fmla="*/ 339 h 339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60" h="339">
                    <a:moveTo>
                      <a:pt x="210" y="9"/>
                    </a:moveTo>
                    <a:lnTo>
                      <a:pt x="210" y="45"/>
                    </a:lnTo>
                    <a:lnTo>
                      <a:pt x="180" y="72"/>
                    </a:lnTo>
                    <a:lnTo>
                      <a:pt x="180" y="99"/>
                    </a:lnTo>
                    <a:lnTo>
                      <a:pt x="153" y="111"/>
                    </a:lnTo>
                    <a:lnTo>
                      <a:pt x="150" y="156"/>
                    </a:lnTo>
                    <a:lnTo>
                      <a:pt x="132" y="180"/>
                    </a:lnTo>
                    <a:lnTo>
                      <a:pt x="99" y="201"/>
                    </a:lnTo>
                    <a:lnTo>
                      <a:pt x="60" y="210"/>
                    </a:lnTo>
                    <a:lnTo>
                      <a:pt x="39" y="216"/>
                    </a:lnTo>
                    <a:lnTo>
                      <a:pt x="30" y="216"/>
                    </a:lnTo>
                    <a:lnTo>
                      <a:pt x="15" y="225"/>
                    </a:lnTo>
                    <a:lnTo>
                      <a:pt x="12" y="237"/>
                    </a:lnTo>
                    <a:lnTo>
                      <a:pt x="18" y="255"/>
                    </a:lnTo>
                    <a:lnTo>
                      <a:pt x="9" y="267"/>
                    </a:lnTo>
                    <a:lnTo>
                      <a:pt x="0" y="285"/>
                    </a:lnTo>
                    <a:lnTo>
                      <a:pt x="18" y="297"/>
                    </a:lnTo>
                    <a:lnTo>
                      <a:pt x="51" y="330"/>
                    </a:lnTo>
                    <a:lnTo>
                      <a:pt x="68" y="327"/>
                    </a:lnTo>
                    <a:lnTo>
                      <a:pt x="93" y="327"/>
                    </a:lnTo>
                    <a:lnTo>
                      <a:pt x="120" y="297"/>
                    </a:lnTo>
                    <a:lnTo>
                      <a:pt x="147" y="300"/>
                    </a:lnTo>
                    <a:lnTo>
                      <a:pt x="141" y="264"/>
                    </a:lnTo>
                    <a:lnTo>
                      <a:pt x="171" y="261"/>
                    </a:lnTo>
                    <a:lnTo>
                      <a:pt x="192" y="282"/>
                    </a:lnTo>
                    <a:lnTo>
                      <a:pt x="222" y="276"/>
                    </a:lnTo>
                    <a:lnTo>
                      <a:pt x="228" y="309"/>
                    </a:lnTo>
                    <a:lnTo>
                      <a:pt x="255" y="324"/>
                    </a:lnTo>
                    <a:lnTo>
                      <a:pt x="267" y="339"/>
                    </a:lnTo>
                    <a:lnTo>
                      <a:pt x="300" y="327"/>
                    </a:lnTo>
                    <a:lnTo>
                      <a:pt x="303" y="264"/>
                    </a:lnTo>
                    <a:lnTo>
                      <a:pt x="270" y="249"/>
                    </a:lnTo>
                    <a:lnTo>
                      <a:pt x="252" y="222"/>
                    </a:lnTo>
                    <a:lnTo>
                      <a:pt x="234" y="180"/>
                    </a:lnTo>
                    <a:lnTo>
                      <a:pt x="252" y="153"/>
                    </a:lnTo>
                    <a:lnTo>
                      <a:pt x="291" y="150"/>
                    </a:lnTo>
                    <a:lnTo>
                      <a:pt x="300" y="129"/>
                    </a:lnTo>
                    <a:lnTo>
                      <a:pt x="339" y="117"/>
                    </a:lnTo>
                    <a:lnTo>
                      <a:pt x="360" y="93"/>
                    </a:lnTo>
                    <a:lnTo>
                      <a:pt x="357" y="57"/>
                    </a:lnTo>
                    <a:lnTo>
                      <a:pt x="351" y="21"/>
                    </a:lnTo>
                    <a:lnTo>
                      <a:pt x="312" y="24"/>
                    </a:lnTo>
                    <a:lnTo>
                      <a:pt x="264" y="33"/>
                    </a:lnTo>
                    <a:lnTo>
                      <a:pt x="264" y="12"/>
                    </a:lnTo>
                    <a:lnTo>
                      <a:pt x="243" y="0"/>
                    </a:lnTo>
                    <a:lnTo>
                      <a:pt x="210" y="9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</p:grpSp>
        <p:sp>
          <p:nvSpPr>
            <p:cNvPr id="97" name="Freeform 6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5746750" y="2398715"/>
              <a:ext cx="808038" cy="701675"/>
            </a:xfrm>
            <a:custGeom>
              <a:avLst/>
              <a:gdLst>
                <a:gd name="T0" fmla="*/ 2147483647 w 493"/>
                <a:gd name="T1" fmla="*/ 2147483647 h 445"/>
                <a:gd name="T2" fmla="*/ 2147483647 w 493"/>
                <a:gd name="T3" fmla="*/ 2147483647 h 445"/>
                <a:gd name="T4" fmla="*/ 2147483647 w 493"/>
                <a:gd name="T5" fmla="*/ 2147483647 h 445"/>
                <a:gd name="T6" fmla="*/ 2147483647 w 493"/>
                <a:gd name="T7" fmla="*/ 0 h 445"/>
                <a:gd name="T8" fmla="*/ 2147483647 w 493"/>
                <a:gd name="T9" fmla="*/ 2147483647 h 445"/>
                <a:gd name="T10" fmla="*/ 2147483647 w 493"/>
                <a:gd name="T11" fmla="*/ 2147483647 h 445"/>
                <a:gd name="T12" fmla="*/ 2147483647 w 493"/>
                <a:gd name="T13" fmla="*/ 2147483647 h 445"/>
                <a:gd name="T14" fmla="*/ 2147483647 w 493"/>
                <a:gd name="T15" fmla="*/ 2147483647 h 445"/>
                <a:gd name="T16" fmla="*/ 2147483647 w 493"/>
                <a:gd name="T17" fmla="*/ 2147483647 h 445"/>
                <a:gd name="T18" fmla="*/ 2147483647 w 493"/>
                <a:gd name="T19" fmla="*/ 2147483647 h 445"/>
                <a:gd name="T20" fmla="*/ 2147483647 w 493"/>
                <a:gd name="T21" fmla="*/ 2147483647 h 445"/>
                <a:gd name="T22" fmla="*/ 2147483647 w 493"/>
                <a:gd name="T23" fmla="*/ 2147483647 h 445"/>
                <a:gd name="T24" fmla="*/ 2147483647 w 493"/>
                <a:gd name="T25" fmla="*/ 2147483647 h 445"/>
                <a:gd name="T26" fmla="*/ 2147483647 w 493"/>
                <a:gd name="T27" fmla="*/ 2147483647 h 445"/>
                <a:gd name="T28" fmla="*/ 2147483647 w 493"/>
                <a:gd name="T29" fmla="*/ 2147483647 h 445"/>
                <a:gd name="T30" fmla="*/ 2147483647 w 493"/>
                <a:gd name="T31" fmla="*/ 2147483647 h 445"/>
                <a:gd name="T32" fmla="*/ 2147483647 w 493"/>
                <a:gd name="T33" fmla="*/ 2147483647 h 445"/>
                <a:gd name="T34" fmla="*/ 0 w 493"/>
                <a:gd name="T35" fmla="*/ 2147483647 h 445"/>
                <a:gd name="T36" fmla="*/ 2147483647 w 493"/>
                <a:gd name="T37" fmla="*/ 2147483647 h 445"/>
                <a:gd name="T38" fmla="*/ 2147483647 w 493"/>
                <a:gd name="T39" fmla="*/ 2147483647 h 445"/>
                <a:gd name="T40" fmla="*/ 2147483647 w 493"/>
                <a:gd name="T41" fmla="*/ 2147483647 h 445"/>
                <a:gd name="T42" fmla="*/ 2147483647 w 493"/>
                <a:gd name="T43" fmla="*/ 2147483647 h 445"/>
                <a:gd name="T44" fmla="*/ 2147483647 w 493"/>
                <a:gd name="T45" fmla="*/ 2147483647 h 445"/>
                <a:gd name="T46" fmla="*/ 2147483647 w 493"/>
                <a:gd name="T47" fmla="*/ 2147483647 h 445"/>
                <a:gd name="T48" fmla="*/ 2147483647 w 493"/>
                <a:gd name="T49" fmla="*/ 2147483647 h 445"/>
                <a:gd name="T50" fmla="*/ 2147483647 w 493"/>
                <a:gd name="T51" fmla="*/ 2147483647 h 445"/>
                <a:gd name="T52" fmla="*/ 2147483647 w 493"/>
                <a:gd name="T53" fmla="*/ 2147483647 h 445"/>
                <a:gd name="T54" fmla="*/ 2147483647 w 493"/>
                <a:gd name="T55" fmla="*/ 2147483647 h 445"/>
                <a:gd name="T56" fmla="*/ 2147483647 w 493"/>
                <a:gd name="T57" fmla="*/ 2147483647 h 445"/>
                <a:gd name="T58" fmla="*/ 2147483647 w 493"/>
                <a:gd name="T59" fmla="*/ 2147483647 h 445"/>
                <a:gd name="T60" fmla="*/ 2147483647 w 493"/>
                <a:gd name="T61" fmla="*/ 2147483647 h 445"/>
                <a:gd name="T62" fmla="*/ 2147483647 w 493"/>
                <a:gd name="T63" fmla="*/ 2147483647 h 445"/>
                <a:gd name="T64" fmla="*/ 2147483647 w 493"/>
                <a:gd name="T65" fmla="*/ 2147483647 h 445"/>
                <a:gd name="T66" fmla="*/ 2147483647 w 493"/>
                <a:gd name="T67" fmla="*/ 2147483647 h 445"/>
                <a:gd name="T68" fmla="*/ 2147483647 w 493"/>
                <a:gd name="T69" fmla="*/ 2147483647 h 445"/>
                <a:gd name="T70" fmla="*/ 2147483647 w 493"/>
                <a:gd name="T71" fmla="*/ 2147483647 h 445"/>
                <a:gd name="T72" fmla="*/ 2147483647 w 493"/>
                <a:gd name="T73" fmla="*/ 2147483647 h 445"/>
                <a:gd name="T74" fmla="*/ 2147483647 w 493"/>
                <a:gd name="T75" fmla="*/ 2147483647 h 445"/>
                <a:gd name="T76" fmla="*/ 2147483647 w 493"/>
                <a:gd name="T77" fmla="*/ 2147483647 h 445"/>
                <a:gd name="T78" fmla="*/ 2147483647 w 493"/>
                <a:gd name="T79" fmla="*/ 2147483647 h 445"/>
                <a:gd name="T80" fmla="*/ 2147483647 w 493"/>
                <a:gd name="T81" fmla="*/ 2147483647 h 445"/>
                <a:gd name="T82" fmla="*/ 2147483647 w 493"/>
                <a:gd name="T83" fmla="*/ 2147483647 h 445"/>
                <a:gd name="T84" fmla="*/ 2147483647 w 493"/>
                <a:gd name="T85" fmla="*/ 2147483647 h 44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93"/>
                <a:gd name="T130" fmla="*/ 0 h 445"/>
                <a:gd name="T131" fmla="*/ 493 w 493"/>
                <a:gd name="T132" fmla="*/ 445 h 44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93" h="445">
                  <a:moveTo>
                    <a:pt x="492" y="186"/>
                  </a:moveTo>
                  <a:lnTo>
                    <a:pt x="480" y="166"/>
                  </a:lnTo>
                  <a:lnTo>
                    <a:pt x="438" y="136"/>
                  </a:lnTo>
                  <a:lnTo>
                    <a:pt x="442" y="112"/>
                  </a:lnTo>
                  <a:lnTo>
                    <a:pt x="444" y="90"/>
                  </a:lnTo>
                  <a:lnTo>
                    <a:pt x="404" y="60"/>
                  </a:lnTo>
                  <a:lnTo>
                    <a:pt x="394" y="22"/>
                  </a:lnTo>
                  <a:lnTo>
                    <a:pt x="380" y="0"/>
                  </a:lnTo>
                  <a:lnTo>
                    <a:pt x="362" y="32"/>
                  </a:lnTo>
                  <a:lnTo>
                    <a:pt x="332" y="2"/>
                  </a:lnTo>
                  <a:lnTo>
                    <a:pt x="290" y="6"/>
                  </a:lnTo>
                  <a:lnTo>
                    <a:pt x="268" y="44"/>
                  </a:lnTo>
                  <a:lnTo>
                    <a:pt x="256" y="58"/>
                  </a:lnTo>
                  <a:lnTo>
                    <a:pt x="208" y="54"/>
                  </a:lnTo>
                  <a:lnTo>
                    <a:pt x="198" y="76"/>
                  </a:lnTo>
                  <a:lnTo>
                    <a:pt x="186" y="88"/>
                  </a:lnTo>
                  <a:lnTo>
                    <a:pt x="178" y="96"/>
                  </a:lnTo>
                  <a:lnTo>
                    <a:pt x="180" y="110"/>
                  </a:lnTo>
                  <a:lnTo>
                    <a:pt x="144" y="134"/>
                  </a:lnTo>
                  <a:lnTo>
                    <a:pt x="136" y="150"/>
                  </a:lnTo>
                  <a:lnTo>
                    <a:pt x="108" y="148"/>
                  </a:lnTo>
                  <a:lnTo>
                    <a:pt x="104" y="168"/>
                  </a:lnTo>
                  <a:lnTo>
                    <a:pt x="84" y="170"/>
                  </a:lnTo>
                  <a:lnTo>
                    <a:pt x="68" y="158"/>
                  </a:lnTo>
                  <a:lnTo>
                    <a:pt x="44" y="146"/>
                  </a:lnTo>
                  <a:lnTo>
                    <a:pt x="32" y="180"/>
                  </a:lnTo>
                  <a:lnTo>
                    <a:pt x="36" y="206"/>
                  </a:lnTo>
                  <a:lnTo>
                    <a:pt x="24" y="230"/>
                  </a:lnTo>
                  <a:lnTo>
                    <a:pt x="24" y="274"/>
                  </a:lnTo>
                  <a:lnTo>
                    <a:pt x="14" y="282"/>
                  </a:lnTo>
                  <a:lnTo>
                    <a:pt x="16" y="312"/>
                  </a:lnTo>
                  <a:lnTo>
                    <a:pt x="30" y="310"/>
                  </a:lnTo>
                  <a:lnTo>
                    <a:pt x="26" y="326"/>
                  </a:lnTo>
                  <a:lnTo>
                    <a:pt x="12" y="330"/>
                  </a:lnTo>
                  <a:lnTo>
                    <a:pt x="14" y="386"/>
                  </a:lnTo>
                  <a:lnTo>
                    <a:pt x="0" y="418"/>
                  </a:lnTo>
                  <a:lnTo>
                    <a:pt x="12" y="432"/>
                  </a:lnTo>
                  <a:lnTo>
                    <a:pt x="48" y="432"/>
                  </a:lnTo>
                  <a:lnTo>
                    <a:pt x="56" y="430"/>
                  </a:lnTo>
                  <a:lnTo>
                    <a:pt x="58" y="384"/>
                  </a:lnTo>
                  <a:lnTo>
                    <a:pt x="80" y="374"/>
                  </a:lnTo>
                  <a:lnTo>
                    <a:pt x="88" y="362"/>
                  </a:lnTo>
                  <a:lnTo>
                    <a:pt x="108" y="360"/>
                  </a:lnTo>
                  <a:lnTo>
                    <a:pt x="110" y="352"/>
                  </a:lnTo>
                  <a:lnTo>
                    <a:pt x="124" y="342"/>
                  </a:lnTo>
                  <a:lnTo>
                    <a:pt x="130" y="324"/>
                  </a:lnTo>
                  <a:lnTo>
                    <a:pt x="142" y="316"/>
                  </a:lnTo>
                  <a:lnTo>
                    <a:pt x="140" y="298"/>
                  </a:lnTo>
                  <a:lnTo>
                    <a:pt x="152" y="282"/>
                  </a:lnTo>
                  <a:lnTo>
                    <a:pt x="156" y="264"/>
                  </a:lnTo>
                  <a:lnTo>
                    <a:pt x="184" y="264"/>
                  </a:lnTo>
                  <a:lnTo>
                    <a:pt x="194" y="248"/>
                  </a:lnTo>
                  <a:lnTo>
                    <a:pt x="216" y="242"/>
                  </a:lnTo>
                  <a:lnTo>
                    <a:pt x="238" y="246"/>
                  </a:lnTo>
                  <a:lnTo>
                    <a:pt x="242" y="264"/>
                  </a:lnTo>
                  <a:lnTo>
                    <a:pt x="252" y="276"/>
                  </a:lnTo>
                  <a:lnTo>
                    <a:pt x="266" y="280"/>
                  </a:lnTo>
                  <a:lnTo>
                    <a:pt x="260" y="308"/>
                  </a:lnTo>
                  <a:lnTo>
                    <a:pt x="240" y="314"/>
                  </a:lnTo>
                  <a:lnTo>
                    <a:pt x="220" y="336"/>
                  </a:lnTo>
                  <a:lnTo>
                    <a:pt x="220" y="372"/>
                  </a:lnTo>
                  <a:lnTo>
                    <a:pt x="238" y="382"/>
                  </a:lnTo>
                  <a:lnTo>
                    <a:pt x="228" y="394"/>
                  </a:lnTo>
                  <a:lnTo>
                    <a:pt x="210" y="406"/>
                  </a:lnTo>
                  <a:lnTo>
                    <a:pt x="208" y="442"/>
                  </a:lnTo>
                  <a:lnTo>
                    <a:pt x="244" y="444"/>
                  </a:lnTo>
                  <a:lnTo>
                    <a:pt x="248" y="426"/>
                  </a:lnTo>
                  <a:lnTo>
                    <a:pt x="262" y="420"/>
                  </a:lnTo>
                  <a:lnTo>
                    <a:pt x="266" y="398"/>
                  </a:lnTo>
                  <a:lnTo>
                    <a:pt x="276" y="374"/>
                  </a:lnTo>
                  <a:lnTo>
                    <a:pt x="292" y="352"/>
                  </a:lnTo>
                  <a:lnTo>
                    <a:pt x="310" y="348"/>
                  </a:lnTo>
                  <a:lnTo>
                    <a:pt x="318" y="326"/>
                  </a:lnTo>
                  <a:lnTo>
                    <a:pt x="340" y="320"/>
                  </a:lnTo>
                  <a:lnTo>
                    <a:pt x="344" y="304"/>
                  </a:lnTo>
                  <a:lnTo>
                    <a:pt x="384" y="306"/>
                  </a:lnTo>
                  <a:lnTo>
                    <a:pt x="384" y="298"/>
                  </a:lnTo>
                  <a:lnTo>
                    <a:pt x="406" y="298"/>
                  </a:lnTo>
                  <a:lnTo>
                    <a:pt x="406" y="270"/>
                  </a:lnTo>
                  <a:lnTo>
                    <a:pt x="420" y="252"/>
                  </a:lnTo>
                  <a:lnTo>
                    <a:pt x="424" y="238"/>
                  </a:lnTo>
                  <a:lnTo>
                    <a:pt x="438" y="240"/>
                  </a:lnTo>
                  <a:lnTo>
                    <a:pt x="436" y="226"/>
                  </a:lnTo>
                  <a:lnTo>
                    <a:pt x="462" y="224"/>
                  </a:lnTo>
                  <a:lnTo>
                    <a:pt x="462" y="214"/>
                  </a:lnTo>
                  <a:lnTo>
                    <a:pt x="474" y="212"/>
                  </a:lnTo>
                  <a:lnTo>
                    <a:pt x="492" y="186"/>
                  </a:lnTo>
                </a:path>
              </a:pathLst>
            </a:custGeom>
            <a:solidFill>
              <a:srgbClr val="F9EFBD"/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rIns="18288"/>
            <a:lstStyle/>
            <a:p>
              <a:endParaRPr lang="en-US" dirty="0"/>
            </a:p>
          </p:txBody>
        </p:sp>
        <p:sp>
          <p:nvSpPr>
            <p:cNvPr id="98" name="Freeform 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5197476" y="2614615"/>
              <a:ext cx="598488" cy="949325"/>
            </a:xfrm>
            <a:custGeom>
              <a:avLst/>
              <a:gdLst>
                <a:gd name="T0" fmla="*/ 2147483647 w 363"/>
                <a:gd name="T1" fmla="*/ 2147483647 h 605"/>
                <a:gd name="T2" fmla="*/ 2147483647 w 363"/>
                <a:gd name="T3" fmla="*/ 2147483647 h 605"/>
                <a:gd name="T4" fmla="*/ 2147483647 w 363"/>
                <a:gd name="T5" fmla="*/ 2147483647 h 605"/>
                <a:gd name="T6" fmla="*/ 2147483647 w 363"/>
                <a:gd name="T7" fmla="*/ 2147483647 h 605"/>
                <a:gd name="T8" fmla="*/ 2147483647 w 363"/>
                <a:gd name="T9" fmla="*/ 2147483647 h 605"/>
                <a:gd name="T10" fmla="*/ 2147483647 w 363"/>
                <a:gd name="T11" fmla="*/ 2147483647 h 605"/>
                <a:gd name="T12" fmla="*/ 2147483647 w 363"/>
                <a:gd name="T13" fmla="*/ 2147483647 h 605"/>
                <a:gd name="T14" fmla="*/ 2147483647 w 363"/>
                <a:gd name="T15" fmla="*/ 2147483647 h 605"/>
                <a:gd name="T16" fmla="*/ 2147483647 w 363"/>
                <a:gd name="T17" fmla="*/ 0 h 605"/>
                <a:gd name="T18" fmla="*/ 2147483647 w 363"/>
                <a:gd name="T19" fmla="*/ 2147483647 h 605"/>
                <a:gd name="T20" fmla="*/ 2147483647 w 363"/>
                <a:gd name="T21" fmla="*/ 2147483647 h 605"/>
                <a:gd name="T22" fmla="*/ 2147483647 w 363"/>
                <a:gd name="T23" fmla="*/ 2147483647 h 605"/>
                <a:gd name="T24" fmla="*/ 2147483647 w 363"/>
                <a:gd name="T25" fmla="*/ 2147483647 h 605"/>
                <a:gd name="T26" fmla="*/ 2147483647 w 363"/>
                <a:gd name="T27" fmla="*/ 2147483647 h 605"/>
                <a:gd name="T28" fmla="*/ 2147483647 w 363"/>
                <a:gd name="T29" fmla="*/ 2147483647 h 605"/>
                <a:gd name="T30" fmla="*/ 2147483647 w 363"/>
                <a:gd name="T31" fmla="*/ 2147483647 h 605"/>
                <a:gd name="T32" fmla="*/ 2147483647 w 363"/>
                <a:gd name="T33" fmla="*/ 2147483647 h 605"/>
                <a:gd name="T34" fmla="*/ 2147483647 w 363"/>
                <a:gd name="T35" fmla="*/ 2147483647 h 605"/>
                <a:gd name="T36" fmla="*/ 2147483647 w 363"/>
                <a:gd name="T37" fmla="*/ 2147483647 h 605"/>
                <a:gd name="T38" fmla="*/ 2147483647 w 363"/>
                <a:gd name="T39" fmla="*/ 2147483647 h 605"/>
                <a:gd name="T40" fmla="*/ 2147483647 w 363"/>
                <a:gd name="T41" fmla="*/ 2147483647 h 605"/>
                <a:gd name="T42" fmla="*/ 2147483647 w 363"/>
                <a:gd name="T43" fmla="*/ 2147483647 h 605"/>
                <a:gd name="T44" fmla="*/ 2147483647 w 363"/>
                <a:gd name="T45" fmla="*/ 2147483647 h 605"/>
                <a:gd name="T46" fmla="*/ 2147483647 w 363"/>
                <a:gd name="T47" fmla="*/ 2147483647 h 605"/>
                <a:gd name="T48" fmla="*/ 2147483647 w 363"/>
                <a:gd name="T49" fmla="*/ 2147483647 h 605"/>
                <a:gd name="T50" fmla="*/ 2147483647 w 363"/>
                <a:gd name="T51" fmla="*/ 2147483647 h 605"/>
                <a:gd name="T52" fmla="*/ 2147483647 w 363"/>
                <a:gd name="T53" fmla="*/ 2147483647 h 605"/>
                <a:gd name="T54" fmla="*/ 2147483647 w 363"/>
                <a:gd name="T55" fmla="*/ 2147483647 h 605"/>
                <a:gd name="T56" fmla="*/ 2147483647 w 363"/>
                <a:gd name="T57" fmla="*/ 2147483647 h 605"/>
                <a:gd name="T58" fmla="*/ 2147483647 w 363"/>
                <a:gd name="T59" fmla="*/ 2147483647 h 605"/>
                <a:gd name="T60" fmla="*/ 2147483647 w 363"/>
                <a:gd name="T61" fmla="*/ 2147483647 h 605"/>
                <a:gd name="T62" fmla="*/ 2147483647 w 363"/>
                <a:gd name="T63" fmla="*/ 2147483647 h 605"/>
                <a:gd name="T64" fmla="*/ 2147483647 w 363"/>
                <a:gd name="T65" fmla="*/ 2147483647 h 605"/>
                <a:gd name="T66" fmla="*/ 2147483647 w 363"/>
                <a:gd name="T67" fmla="*/ 2147483647 h 605"/>
                <a:gd name="T68" fmla="*/ 2147483647 w 363"/>
                <a:gd name="T69" fmla="*/ 2147483647 h 605"/>
                <a:gd name="T70" fmla="*/ 2147483647 w 363"/>
                <a:gd name="T71" fmla="*/ 2147483647 h 605"/>
                <a:gd name="T72" fmla="*/ 2147483647 w 363"/>
                <a:gd name="T73" fmla="*/ 2147483647 h 605"/>
                <a:gd name="T74" fmla="*/ 2147483647 w 363"/>
                <a:gd name="T75" fmla="*/ 2147483647 h 605"/>
                <a:gd name="T76" fmla="*/ 2147483647 w 363"/>
                <a:gd name="T77" fmla="*/ 2147483647 h 605"/>
                <a:gd name="T78" fmla="*/ 2147483647 w 363"/>
                <a:gd name="T79" fmla="*/ 2147483647 h 605"/>
                <a:gd name="T80" fmla="*/ 2147483647 w 363"/>
                <a:gd name="T81" fmla="*/ 2147483647 h 605"/>
                <a:gd name="T82" fmla="*/ 2147483647 w 363"/>
                <a:gd name="T83" fmla="*/ 2147483647 h 605"/>
                <a:gd name="T84" fmla="*/ 2147483647 w 363"/>
                <a:gd name="T85" fmla="*/ 2147483647 h 605"/>
                <a:gd name="T86" fmla="*/ 2147483647 w 363"/>
                <a:gd name="T87" fmla="*/ 2147483647 h 605"/>
                <a:gd name="T88" fmla="*/ 2147483647 w 363"/>
                <a:gd name="T89" fmla="*/ 2147483647 h 605"/>
                <a:gd name="T90" fmla="*/ 2147483647 w 363"/>
                <a:gd name="T91" fmla="*/ 2147483647 h 605"/>
                <a:gd name="T92" fmla="*/ 2147483647 w 363"/>
                <a:gd name="T93" fmla="*/ 2147483647 h 605"/>
                <a:gd name="T94" fmla="*/ 2147483647 w 363"/>
                <a:gd name="T95" fmla="*/ 2147483647 h 60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63"/>
                <a:gd name="T145" fmla="*/ 0 h 605"/>
                <a:gd name="T146" fmla="*/ 363 w 363"/>
                <a:gd name="T147" fmla="*/ 605 h 60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63" h="605">
                  <a:moveTo>
                    <a:pt x="330" y="282"/>
                  </a:moveTo>
                  <a:lnTo>
                    <a:pt x="340" y="274"/>
                  </a:lnTo>
                  <a:lnTo>
                    <a:pt x="352" y="228"/>
                  </a:lnTo>
                  <a:lnTo>
                    <a:pt x="346" y="190"/>
                  </a:lnTo>
                  <a:lnTo>
                    <a:pt x="360" y="190"/>
                  </a:lnTo>
                  <a:lnTo>
                    <a:pt x="362" y="172"/>
                  </a:lnTo>
                  <a:lnTo>
                    <a:pt x="352" y="170"/>
                  </a:lnTo>
                  <a:lnTo>
                    <a:pt x="348" y="148"/>
                  </a:lnTo>
                  <a:lnTo>
                    <a:pt x="360" y="136"/>
                  </a:lnTo>
                  <a:lnTo>
                    <a:pt x="356" y="118"/>
                  </a:lnTo>
                  <a:lnTo>
                    <a:pt x="334" y="118"/>
                  </a:lnTo>
                  <a:lnTo>
                    <a:pt x="332" y="104"/>
                  </a:lnTo>
                  <a:lnTo>
                    <a:pt x="306" y="108"/>
                  </a:lnTo>
                  <a:lnTo>
                    <a:pt x="300" y="90"/>
                  </a:lnTo>
                  <a:lnTo>
                    <a:pt x="298" y="50"/>
                  </a:lnTo>
                  <a:lnTo>
                    <a:pt x="270" y="28"/>
                  </a:lnTo>
                  <a:lnTo>
                    <a:pt x="254" y="14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2" y="18"/>
                  </a:lnTo>
                  <a:lnTo>
                    <a:pt x="202" y="38"/>
                  </a:lnTo>
                  <a:lnTo>
                    <a:pt x="186" y="40"/>
                  </a:lnTo>
                  <a:lnTo>
                    <a:pt x="192" y="66"/>
                  </a:lnTo>
                  <a:lnTo>
                    <a:pt x="172" y="70"/>
                  </a:lnTo>
                  <a:lnTo>
                    <a:pt x="134" y="76"/>
                  </a:lnTo>
                  <a:lnTo>
                    <a:pt x="106" y="90"/>
                  </a:lnTo>
                  <a:lnTo>
                    <a:pt x="64" y="88"/>
                  </a:lnTo>
                  <a:lnTo>
                    <a:pt x="48" y="72"/>
                  </a:lnTo>
                  <a:lnTo>
                    <a:pt x="32" y="92"/>
                  </a:lnTo>
                  <a:lnTo>
                    <a:pt x="16" y="106"/>
                  </a:lnTo>
                  <a:lnTo>
                    <a:pt x="14" y="122"/>
                  </a:lnTo>
                  <a:lnTo>
                    <a:pt x="12" y="154"/>
                  </a:lnTo>
                  <a:lnTo>
                    <a:pt x="0" y="166"/>
                  </a:lnTo>
                  <a:lnTo>
                    <a:pt x="4" y="184"/>
                  </a:lnTo>
                  <a:lnTo>
                    <a:pt x="28" y="192"/>
                  </a:lnTo>
                  <a:lnTo>
                    <a:pt x="38" y="204"/>
                  </a:lnTo>
                  <a:lnTo>
                    <a:pt x="42" y="238"/>
                  </a:lnTo>
                  <a:lnTo>
                    <a:pt x="22" y="238"/>
                  </a:lnTo>
                  <a:lnTo>
                    <a:pt x="32" y="272"/>
                  </a:lnTo>
                  <a:lnTo>
                    <a:pt x="42" y="284"/>
                  </a:lnTo>
                  <a:lnTo>
                    <a:pt x="46" y="308"/>
                  </a:lnTo>
                  <a:lnTo>
                    <a:pt x="50" y="340"/>
                  </a:lnTo>
                  <a:lnTo>
                    <a:pt x="28" y="350"/>
                  </a:lnTo>
                  <a:lnTo>
                    <a:pt x="16" y="368"/>
                  </a:lnTo>
                  <a:lnTo>
                    <a:pt x="12" y="410"/>
                  </a:lnTo>
                  <a:lnTo>
                    <a:pt x="14" y="442"/>
                  </a:lnTo>
                  <a:lnTo>
                    <a:pt x="40" y="458"/>
                  </a:lnTo>
                  <a:lnTo>
                    <a:pt x="40" y="506"/>
                  </a:lnTo>
                  <a:lnTo>
                    <a:pt x="14" y="536"/>
                  </a:lnTo>
                  <a:lnTo>
                    <a:pt x="10" y="578"/>
                  </a:lnTo>
                  <a:lnTo>
                    <a:pt x="22" y="592"/>
                  </a:lnTo>
                  <a:lnTo>
                    <a:pt x="52" y="594"/>
                  </a:lnTo>
                  <a:lnTo>
                    <a:pt x="62" y="586"/>
                  </a:lnTo>
                  <a:lnTo>
                    <a:pt x="78" y="592"/>
                  </a:lnTo>
                  <a:lnTo>
                    <a:pt x="88" y="604"/>
                  </a:lnTo>
                  <a:lnTo>
                    <a:pt x="106" y="592"/>
                  </a:lnTo>
                  <a:lnTo>
                    <a:pt x="146" y="592"/>
                  </a:lnTo>
                  <a:lnTo>
                    <a:pt x="146" y="562"/>
                  </a:lnTo>
                  <a:lnTo>
                    <a:pt x="144" y="542"/>
                  </a:lnTo>
                  <a:lnTo>
                    <a:pt x="158" y="524"/>
                  </a:lnTo>
                  <a:lnTo>
                    <a:pt x="170" y="504"/>
                  </a:lnTo>
                  <a:lnTo>
                    <a:pt x="188" y="482"/>
                  </a:lnTo>
                  <a:lnTo>
                    <a:pt x="216" y="480"/>
                  </a:lnTo>
                  <a:lnTo>
                    <a:pt x="216" y="456"/>
                  </a:lnTo>
                  <a:lnTo>
                    <a:pt x="232" y="440"/>
                  </a:lnTo>
                  <a:lnTo>
                    <a:pt x="274" y="436"/>
                  </a:lnTo>
                  <a:lnTo>
                    <a:pt x="286" y="404"/>
                  </a:lnTo>
                  <a:lnTo>
                    <a:pt x="310" y="388"/>
                  </a:lnTo>
                  <a:lnTo>
                    <a:pt x="296" y="358"/>
                  </a:lnTo>
                  <a:lnTo>
                    <a:pt x="262" y="354"/>
                  </a:lnTo>
                  <a:lnTo>
                    <a:pt x="230" y="332"/>
                  </a:lnTo>
                  <a:lnTo>
                    <a:pt x="228" y="306"/>
                  </a:lnTo>
                  <a:lnTo>
                    <a:pt x="224" y="276"/>
                  </a:lnTo>
                  <a:lnTo>
                    <a:pt x="194" y="272"/>
                  </a:lnTo>
                  <a:lnTo>
                    <a:pt x="182" y="272"/>
                  </a:lnTo>
                  <a:lnTo>
                    <a:pt x="176" y="286"/>
                  </a:lnTo>
                  <a:lnTo>
                    <a:pt x="162" y="284"/>
                  </a:lnTo>
                  <a:lnTo>
                    <a:pt x="154" y="298"/>
                  </a:lnTo>
                  <a:lnTo>
                    <a:pt x="128" y="282"/>
                  </a:lnTo>
                  <a:lnTo>
                    <a:pt x="116" y="252"/>
                  </a:lnTo>
                  <a:lnTo>
                    <a:pt x="134" y="246"/>
                  </a:lnTo>
                  <a:lnTo>
                    <a:pt x="134" y="214"/>
                  </a:lnTo>
                  <a:lnTo>
                    <a:pt x="148" y="220"/>
                  </a:lnTo>
                  <a:lnTo>
                    <a:pt x="148" y="188"/>
                  </a:lnTo>
                  <a:lnTo>
                    <a:pt x="182" y="170"/>
                  </a:lnTo>
                  <a:lnTo>
                    <a:pt x="212" y="170"/>
                  </a:lnTo>
                  <a:lnTo>
                    <a:pt x="228" y="174"/>
                  </a:lnTo>
                  <a:lnTo>
                    <a:pt x="244" y="178"/>
                  </a:lnTo>
                  <a:lnTo>
                    <a:pt x="246" y="190"/>
                  </a:lnTo>
                  <a:lnTo>
                    <a:pt x="246" y="204"/>
                  </a:lnTo>
                  <a:lnTo>
                    <a:pt x="262" y="224"/>
                  </a:lnTo>
                  <a:lnTo>
                    <a:pt x="260" y="236"/>
                  </a:lnTo>
                  <a:lnTo>
                    <a:pt x="278" y="242"/>
                  </a:lnTo>
                  <a:lnTo>
                    <a:pt x="280" y="258"/>
                  </a:lnTo>
                  <a:lnTo>
                    <a:pt x="280" y="270"/>
                  </a:lnTo>
                  <a:lnTo>
                    <a:pt x="312" y="272"/>
                  </a:lnTo>
                  <a:lnTo>
                    <a:pt x="330" y="282"/>
                  </a:lnTo>
                </a:path>
              </a:pathLst>
            </a:custGeom>
            <a:solidFill>
              <a:srgbClr val="F9EFBD"/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rIns="18288"/>
            <a:lstStyle/>
            <a:p>
              <a:endParaRPr lang="en-US" dirty="0"/>
            </a:p>
          </p:txBody>
        </p:sp>
        <p:sp>
          <p:nvSpPr>
            <p:cNvPr id="100" name="Freeform 11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5667376" y="3678238"/>
              <a:ext cx="658813" cy="571500"/>
            </a:xfrm>
            <a:custGeom>
              <a:avLst/>
              <a:gdLst>
                <a:gd name="T0" fmla="*/ 0 w 401"/>
                <a:gd name="T1" fmla="*/ 2147483647 h 363"/>
                <a:gd name="T2" fmla="*/ 2147483647 w 401"/>
                <a:gd name="T3" fmla="*/ 2147483647 h 363"/>
                <a:gd name="T4" fmla="*/ 2147483647 w 401"/>
                <a:gd name="T5" fmla="*/ 2147483647 h 363"/>
                <a:gd name="T6" fmla="*/ 2147483647 w 401"/>
                <a:gd name="T7" fmla="*/ 2147483647 h 363"/>
                <a:gd name="T8" fmla="*/ 2147483647 w 401"/>
                <a:gd name="T9" fmla="*/ 2147483647 h 363"/>
                <a:gd name="T10" fmla="*/ 2147483647 w 401"/>
                <a:gd name="T11" fmla="*/ 2147483647 h 363"/>
                <a:gd name="T12" fmla="*/ 2147483647 w 401"/>
                <a:gd name="T13" fmla="*/ 2147483647 h 363"/>
                <a:gd name="T14" fmla="*/ 2147483647 w 401"/>
                <a:gd name="T15" fmla="*/ 2147483647 h 363"/>
                <a:gd name="T16" fmla="*/ 2147483647 w 401"/>
                <a:gd name="T17" fmla="*/ 2147483647 h 363"/>
                <a:gd name="T18" fmla="*/ 2147483647 w 401"/>
                <a:gd name="T19" fmla="*/ 2147483647 h 363"/>
                <a:gd name="T20" fmla="*/ 2147483647 w 401"/>
                <a:gd name="T21" fmla="*/ 0 h 363"/>
                <a:gd name="T22" fmla="*/ 2147483647 w 401"/>
                <a:gd name="T23" fmla="*/ 2147483647 h 363"/>
                <a:gd name="T24" fmla="*/ 2147483647 w 401"/>
                <a:gd name="T25" fmla="*/ 2147483647 h 363"/>
                <a:gd name="T26" fmla="*/ 2147483647 w 401"/>
                <a:gd name="T27" fmla="*/ 2147483647 h 363"/>
                <a:gd name="T28" fmla="*/ 2147483647 w 401"/>
                <a:gd name="T29" fmla="*/ 2147483647 h 363"/>
                <a:gd name="T30" fmla="*/ 2147483647 w 401"/>
                <a:gd name="T31" fmla="*/ 2147483647 h 363"/>
                <a:gd name="T32" fmla="*/ 2147483647 w 401"/>
                <a:gd name="T33" fmla="*/ 2147483647 h 363"/>
                <a:gd name="T34" fmla="*/ 2147483647 w 401"/>
                <a:gd name="T35" fmla="*/ 2147483647 h 363"/>
                <a:gd name="T36" fmla="*/ 2147483647 w 401"/>
                <a:gd name="T37" fmla="*/ 2147483647 h 363"/>
                <a:gd name="T38" fmla="*/ 2147483647 w 401"/>
                <a:gd name="T39" fmla="*/ 2147483647 h 363"/>
                <a:gd name="T40" fmla="*/ 2147483647 w 401"/>
                <a:gd name="T41" fmla="*/ 2147483647 h 363"/>
                <a:gd name="T42" fmla="*/ 2147483647 w 401"/>
                <a:gd name="T43" fmla="*/ 2147483647 h 363"/>
                <a:gd name="T44" fmla="*/ 2147483647 w 401"/>
                <a:gd name="T45" fmla="*/ 2147483647 h 363"/>
                <a:gd name="T46" fmla="*/ 2147483647 w 401"/>
                <a:gd name="T47" fmla="*/ 2147483647 h 363"/>
                <a:gd name="T48" fmla="*/ 2147483647 w 401"/>
                <a:gd name="T49" fmla="*/ 2147483647 h 363"/>
                <a:gd name="T50" fmla="*/ 2147483647 w 401"/>
                <a:gd name="T51" fmla="*/ 2147483647 h 363"/>
                <a:gd name="T52" fmla="*/ 2147483647 w 401"/>
                <a:gd name="T53" fmla="*/ 2147483647 h 363"/>
                <a:gd name="T54" fmla="*/ 2147483647 w 401"/>
                <a:gd name="T55" fmla="*/ 2147483647 h 363"/>
                <a:gd name="T56" fmla="*/ 2147483647 w 401"/>
                <a:gd name="T57" fmla="*/ 2147483647 h 363"/>
                <a:gd name="T58" fmla="*/ 2147483647 w 401"/>
                <a:gd name="T59" fmla="*/ 2147483647 h 363"/>
                <a:gd name="T60" fmla="*/ 2147483647 w 401"/>
                <a:gd name="T61" fmla="*/ 2147483647 h 363"/>
                <a:gd name="T62" fmla="*/ 2147483647 w 401"/>
                <a:gd name="T63" fmla="*/ 2147483647 h 363"/>
                <a:gd name="T64" fmla="*/ 2147483647 w 401"/>
                <a:gd name="T65" fmla="*/ 2147483647 h 363"/>
                <a:gd name="T66" fmla="*/ 2147483647 w 401"/>
                <a:gd name="T67" fmla="*/ 2147483647 h 363"/>
                <a:gd name="T68" fmla="*/ 2147483647 w 401"/>
                <a:gd name="T69" fmla="*/ 2147483647 h 363"/>
                <a:gd name="T70" fmla="*/ 2147483647 w 401"/>
                <a:gd name="T71" fmla="*/ 2147483647 h 363"/>
                <a:gd name="T72" fmla="*/ 2147483647 w 401"/>
                <a:gd name="T73" fmla="*/ 2147483647 h 363"/>
                <a:gd name="T74" fmla="*/ 2147483647 w 401"/>
                <a:gd name="T75" fmla="*/ 2147483647 h 363"/>
                <a:gd name="T76" fmla="*/ 2147483647 w 401"/>
                <a:gd name="T77" fmla="*/ 2147483647 h 363"/>
                <a:gd name="T78" fmla="*/ 2147483647 w 401"/>
                <a:gd name="T79" fmla="*/ 2147483647 h 363"/>
                <a:gd name="T80" fmla="*/ 2147483647 w 401"/>
                <a:gd name="T81" fmla="*/ 2147483647 h 363"/>
                <a:gd name="T82" fmla="*/ 2147483647 w 401"/>
                <a:gd name="T83" fmla="*/ 2147483647 h 363"/>
                <a:gd name="T84" fmla="*/ 2147483647 w 401"/>
                <a:gd name="T85" fmla="*/ 2147483647 h 363"/>
                <a:gd name="T86" fmla="*/ 2147483647 w 401"/>
                <a:gd name="T87" fmla="*/ 2147483647 h 363"/>
                <a:gd name="T88" fmla="*/ 2147483647 w 401"/>
                <a:gd name="T89" fmla="*/ 2147483647 h 363"/>
                <a:gd name="T90" fmla="*/ 2147483647 w 401"/>
                <a:gd name="T91" fmla="*/ 2147483647 h 363"/>
                <a:gd name="T92" fmla="*/ 2147483647 w 401"/>
                <a:gd name="T93" fmla="*/ 2147483647 h 363"/>
                <a:gd name="T94" fmla="*/ 2147483647 w 401"/>
                <a:gd name="T95" fmla="*/ 2147483647 h 363"/>
                <a:gd name="T96" fmla="*/ 2147483647 w 401"/>
                <a:gd name="T97" fmla="*/ 2147483647 h 363"/>
                <a:gd name="T98" fmla="*/ 2147483647 w 401"/>
                <a:gd name="T99" fmla="*/ 2147483647 h 363"/>
                <a:gd name="T100" fmla="*/ 2147483647 w 401"/>
                <a:gd name="T101" fmla="*/ 2147483647 h 363"/>
                <a:gd name="T102" fmla="*/ 2147483647 w 401"/>
                <a:gd name="T103" fmla="*/ 2147483647 h 363"/>
                <a:gd name="T104" fmla="*/ 2147483647 w 401"/>
                <a:gd name="T105" fmla="*/ 2147483647 h 363"/>
                <a:gd name="T106" fmla="*/ 2147483647 w 401"/>
                <a:gd name="T107" fmla="*/ 2147483647 h 363"/>
                <a:gd name="T108" fmla="*/ 2147483647 w 401"/>
                <a:gd name="T109" fmla="*/ 2147483647 h 363"/>
                <a:gd name="T110" fmla="*/ 2147483647 w 401"/>
                <a:gd name="T111" fmla="*/ 2147483647 h 363"/>
                <a:gd name="T112" fmla="*/ 0 w 401"/>
                <a:gd name="T113" fmla="*/ 2147483647 h 36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01"/>
                <a:gd name="T172" fmla="*/ 0 h 363"/>
                <a:gd name="T173" fmla="*/ 401 w 401"/>
                <a:gd name="T174" fmla="*/ 363 h 36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01" h="363">
                  <a:moveTo>
                    <a:pt x="0" y="70"/>
                  </a:moveTo>
                  <a:lnTo>
                    <a:pt x="12" y="52"/>
                  </a:lnTo>
                  <a:lnTo>
                    <a:pt x="36" y="58"/>
                  </a:lnTo>
                  <a:lnTo>
                    <a:pt x="46" y="56"/>
                  </a:lnTo>
                  <a:lnTo>
                    <a:pt x="46" y="42"/>
                  </a:lnTo>
                  <a:lnTo>
                    <a:pt x="82" y="32"/>
                  </a:lnTo>
                  <a:lnTo>
                    <a:pt x="94" y="50"/>
                  </a:lnTo>
                  <a:lnTo>
                    <a:pt x="110" y="50"/>
                  </a:lnTo>
                  <a:lnTo>
                    <a:pt x="120" y="22"/>
                  </a:lnTo>
                  <a:lnTo>
                    <a:pt x="138" y="24"/>
                  </a:lnTo>
                  <a:lnTo>
                    <a:pt x="154" y="0"/>
                  </a:lnTo>
                  <a:lnTo>
                    <a:pt x="168" y="8"/>
                  </a:lnTo>
                  <a:lnTo>
                    <a:pt x="184" y="30"/>
                  </a:lnTo>
                  <a:lnTo>
                    <a:pt x="212" y="38"/>
                  </a:lnTo>
                  <a:lnTo>
                    <a:pt x="230" y="44"/>
                  </a:lnTo>
                  <a:lnTo>
                    <a:pt x="246" y="64"/>
                  </a:lnTo>
                  <a:lnTo>
                    <a:pt x="278" y="102"/>
                  </a:lnTo>
                  <a:lnTo>
                    <a:pt x="298" y="118"/>
                  </a:lnTo>
                  <a:lnTo>
                    <a:pt x="298" y="150"/>
                  </a:lnTo>
                  <a:lnTo>
                    <a:pt x="318" y="166"/>
                  </a:lnTo>
                  <a:lnTo>
                    <a:pt x="338" y="178"/>
                  </a:lnTo>
                  <a:lnTo>
                    <a:pt x="342" y="200"/>
                  </a:lnTo>
                  <a:lnTo>
                    <a:pt x="360" y="216"/>
                  </a:lnTo>
                  <a:lnTo>
                    <a:pt x="366" y="232"/>
                  </a:lnTo>
                  <a:lnTo>
                    <a:pt x="398" y="230"/>
                  </a:lnTo>
                  <a:lnTo>
                    <a:pt x="400" y="266"/>
                  </a:lnTo>
                  <a:lnTo>
                    <a:pt x="358" y="264"/>
                  </a:lnTo>
                  <a:lnTo>
                    <a:pt x="350" y="272"/>
                  </a:lnTo>
                  <a:lnTo>
                    <a:pt x="360" y="296"/>
                  </a:lnTo>
                  <a:lnTo>
                    <a:pt x="346" y="312"/>
                  </a:lnTo>
                  <a:lnTo>
                    <a:pt x="344" y="348"/>
                  </a:lnTo>
                  <a:lnTo>
                    <a:pt x="334" y="362"/>
                  </a:lnTo>
                  <a:lnTo>
                    <a:pt x="302" y="348"/>
                  </a:lnTo>
                  <a:lnTo>
                    <a:pt x="288" y="344"/>
                  </a:lnTo>
                  <a:lnTo>
                    <a:pt x="274" y="356"/>
                  </a:lnTo>
                  <a:lnTo>
                    <a:pt x="258" y="350"/>
                  </a:lnTo>
                  <a:lnTo>
                    <a:pt x="258" y="344"/>
                  </a:lnTo>
                  <a:lnTo>
                    <a:pt x="200" y="344"/>
                  </a:lnTo>
                  <a:lnTo>
                    <a:pt x="178" y="340"/>
                  </a:lnTo>
                  <a:lnTo>
                    <a:pt x="180" y="318"/>
                  </a:lnTo>
                  <a:lnTo>
                    <a:pt x="168" y="304"/>
                  </a:lnTo>
                  <a:lnTo>
                    <a:pt x="170" y="296"/>
                  </a:lnTo>
                  <a:lnTo>
                    <a:pt x="138" y="296"/>
                  </a:lnTo>
                  <a:lnTo>
                    <a:pt x="140" y="270"/>
                  </a:lnTo>
                  <a:lnTo>
                    <a:pt x="158" y="254"/>
                  </a:lnTo>
                  <a:lnTo>
                    <a:pt x="152" y="222"/>
                  </a:lnTo>
                  <a:lnTo>
                    <a:pt x="124" y="204"/>
                  </a:lnTo>
                  <a:lnTo>
                    <a:pt x="118" y="174"/>
                  </a:lnTo>
                  <a:lnTo>
                    <a:pt x="86" y="166"/>
                  </a:lnTo>
                  <a:lnTo>
                    <a:pt x="92" y="152"/>
                  </a:lnTo>
                  <a:lnTo>
                    <a:pt x="96" y="124"/>
                  </a:lnTo>
                  <a:lnTo>
                    <a:pt x="66" y="126"/>
                  </a:lnTo>
                  <a:lnTo>
                    <a:pt x="60" y="108"/>
                  </a:lnTo>
                  <a:lnTo>
                    <a:pt x="34" y="98"/>
                  </a:lnTo>
                  <a:lnTo>
                    <a:pt x="20" y="82"/>
                  </a:lnTo>
                  <a:lnTo>
                    <a:pt x="2" y="80"/>
                  </a:lnTo>
                  <a:lnTo>
                    <a:pt x="0" y="70"/>
                  </a:lnTo>
                </a:path>
              </a:pathLst>
            </a:custGeom>
            <a:solidFill>
              <a:srgbClr val="F9EFBD"/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rIns="18288"/>
            <a:lstStyle/>
            <a:p>
              <a:endParaRPr lang="en-US" dirty="0"/>
            </a:p>
          </p:txBody>
        </p:sp>
        <p:sp>
          <p:nvSpPr>
            <p:cNvPr id="101" name="Freeform 13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5919789" y="4183063"/>
              <a:ext cx="469900" cy="550862"/>
            </a:xfrm>
            <a:custGeom>
              <a:avLst/>
              <a:gdLst>
                <a:gd name="T0" fmla="*/ 2147483647 w 285"/>
                <a:gd name="T1" fmla="*/ 0 h 349"/>
                <a:gd name="T2" fmla="*/ 2147483647 w 285"/>
                <a:gd name="T3" fmla="*/ 2147483647 h 349"/>
                <a:gd name="T4" fmla="*/ 2147483647 w 285"/>
                <a:gd name="T5" fmla="*/ 2147483647 h 349"/>
                <a:gd name="T6" fmla="*/ 2147483647 w 285"/>
                <a:gd name="T7" fmla="*/ 2147483647 h 349"/>
                <a:gd name="T8" fmla="*/ 2147483647 w 285"/>
                <a:gd name="T9" fmla="*/ 2147483647 h 349"/>
                <a:gd name="T10" fmla="*/ 2147483647 w 285"/>
                <a:gd name="T11" fmla="*/ 2147483647 h 349"/>
                <a:gd name="T12" fmla="*/ 2147483647 w 285"/>
                <a:gd name="T13" fmla="*/ 2147483647 h 349"/>
                <a:gd name="T14" fmla="*/ 2147483647 w 285"/>
                <a:gd name="T15" fmla="*/ 2147483647 h 349"/>
                <a:gd name="T16" fmla="*/ 2147483647 w 285"/>
                <a:gd name="T17" fmla="*/ 2147483647 h 349"/>
                <a:gd name="T18" fmla="*/ 0 w 285"/>
                <a:gd name="T19" fmla="*/ 2147483647 h 349"/>
                <a:gd name="T20" fmla="*/ 0 w 285"/>
                <a:gd name="T21" fmla="*/ 2147483647 h 349"/>
                <a:gd name="T22" fmla="*/ 0 w 285"/>
                <a:gd name="T23" fmla="*/ 2147483647 h 349"/>
                <a:gd name="T24" fmla="*/ 2147483647 w 285"/>
                <a:gd name="T25" fmla="*/ 2147483647 h 349"/>
                <a:gd name="T26" fmla="*/ 2147483647 w 285"/>
                <a:gd name="T27" fmla="*/ 2147483647 h 349"/>
                <a:gd name="T28" fmla="*/ 2147483647 w 285"/>
                <a:gd name="T29" fmla="*/ 2147483647 h 349"/>
                <a:gd name="T30" fmla="*/ 2147483647 w 285"/>
                <a:gd name="T31" fmla="*/ 2147483647 h 349"/>
                <a:gd name="T32" fmla="*/ 2147483647 w 285"/>
                <a:gd name="T33" fmla="*/ 2147483647 h 349"/>
                <a:gd name="T34" fmla="*/ 2147483647 w 285"/>
                <a:gd name="T35" fmla="*/ 2147483647 h 349"/>
                <a:gd name="T36" fmla="*/ 2147483647 w 285"/>
                <a:gd name="T37" fmla="*/ 2147483647 h 349"/>
                <a:gd name="T38" fmla="*/ 2147483647 w 285"/>
                <a:gd name="T39" fmla="*/ 2147483647 h 349"/>
                <a:gd name="T40" fmla="*/ 2147483647 w 285"/>
                <a:gd name="T41" fmla="*/ 2147483647 h 349"/>
                <a:gd name="T42" fmla="*/ 2147483647 w 285"/>
                <a:gd name="T43" fmla="*/ 2147483647 h 349"/>
                <a:gd name="T44" fmla="*/ 2147483647 w 285"/>
                <a:gd name="T45" fmla="*/ 2147483647 h 349"/>
                <a:gd name="T46" fmla="*/ 2147483647 w 285"/>
                <a:gd name="T47" fmla="*/ 2147483647 h 349"/>
                <a:gd name="T48" fmla="*/ 2147483647 w 285"/>
                <a:gd name="T49" fmla="*/ 2147483647 h 349"/>
                <a:gd name="T50" fmla="*/ 2147483647 w 285"/>
                <a:gd name="T51" fmla="*/ 2147483647 h 349"/>
                <a:gd name="T52" fmla="*/ 2147483647 w 285"/>
                <a:gd name="T53" fmla="*/ 2147483647 h 349"/>
                <a:gd name="T54" fmla="*/ 2147483647 w 285"/>
                <a:gd name="T55" fmla="*/ 2147483647 h 349"/>
                <a:gd name="T56" fmla="*/ 2147483647 w 285"/>
                <a:gd name="T57" fmla="*/ 2147483647 h 349"/>
                <a:gd name="T58" fmla="*/ 2147483647 w 285"/>
                <a:gd name="T59" fmla="*/ 2147483647 h 349"/>
                <a:gd name="T60" fmla="*/ 2147483647 w 285"/>
                <a:gd name="T61" fmla="*/ 2147483647 h 349"/>
                <a:gd name="T62" fmla="*/ 2147483647 w 285"/>
                <a:gd name="T63" fmla="*/ 2147483647 h 349"/>
                <a:gd name="T64" fmla="*/ 2147483647 w 285"/>
                <a:gd name="T65" fmla="*/ 2147483647 h 349"/>
                <a:gd name="T66" fmla="*/ 2147483647 w 285"/>
                <a:gd name="T67" fmla="*/ 2147483647 h 349"/>
                <a:gd name="T68" fmla="*/ 2147483647 w 285"/>
                <a:gd name="T69" fmla="*/ 2147483647 h 349"/>
                <a:gd name="T70" fmla="*/ 2147483647 w 285"/>
                <a:gd name="T71" fmla="*/ 2147483647 h 349"/>
                <a:gd name="T72" fmla="*/ 2147483647 w 285"/>
                <a:gd name="T73" fmla="*/ 2147483647 h 349"/>
                <a:gd name="T74" fmla="*/ 2147483647 w 285"/>
                <a:gd name="T75" fmla="*/ 2147483647 h 349"/>
                <a:gd name="T76" fmla="*/ 2147483647 w 285"/>
                <a:gd name="T77" fmla="*/ 2147483647 h 349"/>
                <a:gd name="T78" fmla="*/ 2147483647 w 285"/>
                <a:gd name="T79" fmla="*/ 2147483647 h 349"/>
                <a:gd name="T80" fmla="*/ 2147483647 w 285"/>
                <a:gd name="T81" fmla="*/ 2147483647 h 349"/>
                <a:gd name="T82" fmla="*/ 2147483647 w 285"/>
                <a:gd name="T83" fmla="*/ 0 h 349"/>
                <a:gd name="T84" fmla="*/ 2147483647 w 285"/>
                <a:gd name="T85" fmla="*/ 2147483647 h 349"/>
                <a:gd name="T86" fmla="*/ 2147483647 w 285"/>
                <a:gd name="T87" fmla="*/ 2147483647 h 349"/>
                <a:gd name="T88" fmla="*/ 2147483647 w 285"/>
                <a:gd name="T89" fmla="*/ 0 h 349"/>
                <a:gd name="T90" fmla="*/ 2147483647 w 285"/>
                <a:gd name="T91" fmla="*/ 0 h 349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85"/>
                <a:gd name="T139" fmla="*/ 0 h 349"/>
                <a:gd name="T140" fmla="*/ 285 w 285"/>
                <a:gd name="T141" fmla="*/ 349 h 349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85" h="349">
                  <a:moveTo>
                    <a:pt x="78" y="0"/>
                  </a:moveTo>
                  <a:lnTo>
                    <a:pt x="80" y="28"/>
                  </a:lnTo>
                  <a:lnTo>
                    <a:pt x="80" y="72"/>
                  </a:lnTo>
                  <a:lnTo>
                    <a:pt x="64" y="88"/>
                  </a:lnTo>
                  <a:lnTo>
                    <a:pt x="36" y="84"/>
                  </a:lnTo>
                  <a:lnTo>
                    <a:pt x="36" y="128"/>
                  </a:lnTo>
                  <a:lnTo>
                    <a:pt x="26" y="132"/>
                  </a:lnTo>
                  <a:lnTo>
                    <a:pt x="24" y="150"/>
                  </a:lnTo>
                  <a:lnTo>
                    <a:pt x="16" y="162"/>
                  </a:lnTo>
                  <a:lnTo>
                    <a:pt x="0" y="162"/>
                  </a:lnTo>
                  <a:lnTo>
                    <a:pt x="0" y="216"/>
                  </a:lnTo>
                  <a:lnTo>
                    <a:pt x="0" y="238"/>
                  </a:lnTo>
                  <a:lnTo>
                    <a:pt x="14" y="240"/>
                  </a:lnTo>
                  <a:lnTo>
                    <a:pt x="28" y="256"/>
                  </a:lnTo>
                  <a:lnTo>
                    <a:pt x="52" y="268"/>
                  </a:lnTo>
                  <a:lnTo>
                    <a:pt x="54" y="294"/>
                  </a:lnTo>
                  <a:lnTo>
                    <a:pt x="58" y="316"/>
                  </a:lnTo>
                  <a:lnTo>
                    <a:pt x="70" y="318"/>
                  </a:lnTo>
                  <a:lnTo>
                    <a:pt x="72" y="340"/>
                  </a:lnTo>
                  <a:lnTo>
                    <a:pt x="100" y="340"/>
                  </a:lnTo>
                  <a:lnTo>
                    <a:pt x="98" y="330"/>
                  </a:lnTo>
                  <a:lnTo>
                    <a:pt x="122" y="328"/>
                  </a:lnTo>
                  <a:lnTo>
                    <a:pt x="128" y="346"/>
                  </a:lnTo>
                  <a:lnTo>
                    <a:pt x="162" y="348"/>
                  </a:lnTo>
                  <a:lnTo>
                    <a:pt x="186" y="348"/>
                  </a:lnTo>
                  <a:lnTo>
                    <a:pt x="206" y="328"/>
                  </a:lnTo>
                  <a:lnTo>
                    <a:pt x="206" y="294"/>
                  </a:lnTo>
                  <a:lnTo>
                    <a:pt x="220" y="266"/>
                  </a:lnTo>
                  <a:lnTo>
                    <a:pt x="264" y="258"/>
                  </a:lnTo>
                  <a:lnTo>
                    <a:pt x="270" y="196"/>
                  </a:lnTo>
                  <a:lnTo>
                    <a:pt x="262" y="166"/>
                  </a:lnTo>
                  <a:lnTo>
                    <a:pt x="272" y="148"/>
                  </a:lnTo>
                  <a:lnTo>
                    <a:pt x="284" y="114"/>
                  </a:lnTo>
                  <a:lnTo>
                    <a:pt x="276" y="76"/>
                  </a:lnTo>
                  <a:lnTo>
                    <a:pt x="242" y="74"/>
                  </a:lnTo>
                  <a:lnTo>
                    <a:pt x="224" y="70"/>
                  </a:lnTo>
                  <a:lnTo>
                    <a:pt x="204" y="68"/>
                  </a:lnTo>
                  <a:lnTo>
                    <a:pt x="202" y="48"/>
                  </a:lnTo>
                  <a:lnTo>
                    <a:pt x="208" y="26"/>
                  </a:lnTo>
                  <a:lnTo>
                    <a:pt x="188" y="6"/>
                  </a:lnTo>
                  <a:lnTo>
                    <a:pt x="174" y="16"/>
                  </a:lnTo>
                  <a:lnTo>
                    <a:pt x="132" y="0"/>
                  </a:lnTo>
                  <a:lnTo>
                    <a:pt x="118" y="12"/>
                  </a:lnTo>
                  <a:lnTo>
                    <a:pt x="106" y="10"/>
                  </a:lnTo>
                  <a:lnTo>
                    <a:pt x="98" y="0"/>
                  </a:lnTo>
                  <a:lnTo>
                    <a:pt x="78" y="0"/>
                  </a:lnTo>
                </a:path>
              </a:pathLst>
            </a:custGeom>
            <a:solidFill>
              <a:srgbClr val="F9EFBD"/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rIns="18288"/>
            <a:lstStyle/>
            <a:p>
              <a:endParaRPr lang="en-US" dirty="0"/>
            </a:p>
          </p:txBody>
        </p:sp>
        <p:sp>
          <p:nvSpPr>
            <p:cNvPr id="102" name="Freeform 25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4829175" y="5051427"/>
              <a:ext cx="1016000" cy="739775"/>
            </a:xfrm>
            <a:custGeom>
              <a:avLst/>
              <a:gdLst>
                <a:gd name="T0" fmla="*/ 0 w 621"/>
                <a:gd name="T1" fmla="*/ 2147483647 h 469"/>
                <a:gd name="T2" fmla="*/ 2147483647 w 621"/>
                <a:gd name="T3" fmla="*/ 2147483647 h 469"/>
                <a:gd name="T4" fmla="*/ 2147483647 w 621"/>
                <a:gd name="T5" fmla="*/ 2147483647 h 469"/>
                <a:gd name="T6" fmla="*/ 2147483647 w 621"/>
                <a:gd name="T7" fmla="*/ 2147483647 h 469"/>
                <a:gd name="T8" fmla="*/ 2147483647 w 621"/>
                <a:gd name="T9" fmla="*/ 2147483647 h 469"/>
                <a:gd name="T10" fmla="*/ 2147483647 w 621"/>
                <a:gd name="T11" fmla="*/ 2147483647 h 469"/>
                <a:gd name="T12" fmla="*/ 2147483647 w 621"/>
                <a:gd name="T13" fmla="*/ 2147483647 h 469"/>
                <a:gd name="T14" fmla="*/ 2147483647 w 621"/>
                <a:gd name="T15" fmla="*/ 2147483647 h 469"/>
                <a:gd name="T16" fmla="*/ 2147483647 w 621"/>
                <a:gd name="T17" fmla="*/ 2147483647 h 469"/>
                <a:gd name="T18" fmla="*/ 2147483647 w 621"/>
                <a:gd name="T19" fmla="*/ 2147483647 h 469"/>
                <a:gd name="T20" fmla="*/ 2147483647 w 621"/>
                <a:gd name="T21" fmla="*/ 2147483647 h 469"/>
                <a:gd name="T22" fmla="*/ 2147483647 w 621"/>
                <a:gd name="T23" fmla="*/ 2147483647 h 469"/>
                <a:gd name="T24" fmla="*/ 2147483647 w 621"/>
                <a:gd name="T25" fmla="*/ 2147483647 h 469"/>
                <a:gd name="T26" fmla="*/ 2147483647 w 621"/>
                <a:gd name="T27" fmla="*/ 2147483647 h 469"/>
                <a:gd name="T28" fmla="*/ 2147483647 w 621"/>
                <a:gd name="T29" fmla="*/ 2147483647 h 469"/>
                <a:gd name="T30" fmla="*/ 2147483647 w 621"/>
                <a:gd name="T31" fmla="*/ 2147483647 h 469"/>
                <a:gd name="T32" fmla="*/ 2147483647 w 621"/>
                <a:gd name="T33" fmla="*/ 2147483647 h 469"/>
                <a:gd name="T34" fmla="*/ 2147483647 w 621"/>
                <a:gd name="T35" fmla="*/ 2147483647 h 469"/>
                <a:gd name="T36" fmla="*/ 2147483647 w 621"/>
                <a:gd name="T37" fmla="*/ 2147483647 h 469"/>
                <a:gd name="T38" fmla="*/ 2147483647 w 621"/>
                <a:gd name="T39" fmla="*/ 2147483647 h 469"/>
                <a:gd name="T40" fmla="*/ 2147483647 w 621"/>
                <a:gd name="T41" fmla="*/ 2147483647 h 469"/>
                <a:gd name="T42" fmla="*/ 2147483647 w 621"/>
                <a:gd name="T43" fmla="*/ 2147483647 h 469"/>
                <a:gd name="T44" fmla="*/ 2147483647 w 621"/>
                <a:gd name="T45" fmla="*/ 0 h 469"/>
                <a:gd name="T46" fmla="*/ 2147483647 w 621"/>
                <a:gd name="T47" fmla="*/ 2147483647 h 469"/>
                <a:gd name="T48" fmla="*/ 2147483647 w 621"/>
                <a:gd name="T49" fmla="*/ 2147483647 h 469"/>
                <a:gd name="T50" fmla="*/ 2147483647 w 621"/>
                <a:gd name="T51" fmla="*/ 2147483647 h 469"/>
                <a:gd name="T52" fmla="*/ 2147483647 w 621"/>
                <a:gd name="T53" fmla="*/ 2147483647 h 469"/>
                <a:gd name="T54" fmla="*/ 2147483647 w 621"/>
                <a:gd name="T55" fmla="*/ 2147483647 h 469"/>
                <a:gd name="T56" fmla="*/ 2147483647 w 621"/>
                <a:gd name="T57" fmla="*/ 2147483647 h 469"/>
                <a:gd name="T58" fmla="*/ 2147483647 w 621"/>
                <a:gd name="T59" fmla="*/ 2147483647 h 469"/>
                <a:gd name="T60" fmla="*/ 2147483647 w 621"/>
                <a:gd name="T61" fmla="*/ 2147483647 h 469"/>
                <a:gd name="T62" fmla="*/ 2147483647 w 621"/>
                <a:gd name="T63" fmla="*/ 2147483647 h 469"/>
                <a:gd name="T64" fmla="*/ 2147483647 w 621"/>
                <a:gd name="T65" fmla="*/ 2147483647 h 469"/>
                <a:gd name="T66" fmla="*/ 2147483647 w 621"/>
                <a:gd name="T67" fmla="*/ 2147483647 h 469"/>
                <a:gd name="T68" fmla="*/ 2147483647 w 621"/>
                <a:gd name="T69" fmla="*/ 2147483647 h 469"/>
                <a:gd name="T70" fmla="*/ 2147483647 w 621"/>
                <a:gd name="T71" fmla="*/ 2147483647 h 469"/>
                <a:gd name="T72" fmla="*/ 2147483647 w 621"/>
                <a:gd name="T73" fmla="*/ 2147483647 h 469"/>
                <a:gd name="T74" fmla="*/ 2147483647 w 621"/>
                <a:gd name="T75" fmla="*/ 2147483647 h 469"/>
                <a:gd name="T76" fmla="*/ 2147483647 w 621"/>
                <a:gd name="T77" fmla="*/ 2147483647 h 469"/>
                <a:gd name="T78" fmla="*/ 2147483647 w 621"/>
                <a:gd name="T79" fmla="*/ 2147483647 h 469"/>
                <a:gd name="T80" fmla="*/ 2147483647 w 621"/>
                <a:gd name="T81" fmla="*/ 2147483647 h 469"/>
                <a:gd name="T82" fmla="*/ 2147483647 w 621"/>
                <a:gd name="T83" fmla="*/ 2147483647 h 469"/>
                <a:gd name="T84" fmla="*/ 2147483647 w 621"/>
                <a:gd name="T85" fmla="*/ 2147483647 h 469"/>
                <a:gd name="T86" fmla="*/ 2147483647 w 621"/>
                <a:gd name="T87" fmla="*/ 2147483647 h 46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621"/>
                <a:gd name="T133" fmla="*/ 0 h 469"/>
                <a:gd name="T134" fmla="*/ 621 w 621"/>
                <a:gd name="T135" fmla="*/ 469 h 46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621" h="469">
                  <a:moveTo>
                    <a:pt x="2" y="368"/>
                  </a:moveTo>
                  <a:lnTo>
                    <a:pt x="0" y="374"/>
                  </a:lnTo>
                  <a:lnTo>
                    <a:pt x="24" y="390"/>
                  </a:lnTo>
                  <a:lnTo>
                    <a:pt x="16" y="430"/>
                  </a:lnTo>
                  <a:lnTo>
                    <a:pt x="26" y="460"/>
                  </a:lnTo>
                  <a:lnTo>
                    <a:pt x="54" y="468"/>
                  </a:lnTo>
                  <a:lnTo>
                    <a:pt x="78" y="464"/>
                  </a:lnTo>
                  <a:lnTo>
                    <a:pt x="74" y="446"/>
                  </a:lnTo>
                  <a:lnTo>
                    <a:pt x="58" y="432"/>
                  </a:lnTo>
                  <a:lnTo>
                    <a:pt x="58" y="412"/>
                  </a:lnTo>
                  <a:lnTo>
                    <a:pt x="102" y="386"/>
                  </a:lnTo>
                  <a:lnTo>
                    <a:pt x="118" y="366"/>
                  </a:lnTo>
                  <a:lnTo>
                    <a:pt x="174" y="364"/>
                  </a:lnTo>
                  <a:lnTo>
                    <a:pt x="204" y="356"/>
                  </a:lnTo>
                  <a:lnTo>
                    <a:pt x="208" y="342"/>
                  </a:lnTo>
                  <a:lnTo>
                    <a:pt x="236" y="346"/>
                  </a:lnTo>
                  <a:lnTo>
                    <a:pt x="250" y="328"/>
                  </a:lnTo>
                  <a:lnTo>
                    <a:pt x="300" y="330"/>
                  </a:lnTo>
                  <a:lnTo>
                    <a:pt x="310" y="294"/>
                  </a:lnTo>
                  <a:lnTo>
                    <a:pt x="308" y="244"/>
                  </a:lnTo>
                  <a:lnTo>
                    <a:pt x="322" y="226"/>
                  </a:lnTo>
                  <a:lnTo>
                    <a:pt x="346" y="254"/>
                  </a:lnTo>
                  <a:lnTo>
                    <a:pt x="364" y="274"/>
                  </a:lnTo>
                  <a:lnTo>
                    <a:pt x="384" y="264"/>
                  </a:lnTo>
                  <a:lnTo>
                    <a:pt x="402" y="248"/>
                  </a:lnTo>
                  <a:lnTo>
                    <a:pt x="428" y="246"/>
                  </a:lnTo>
                  <a:lnTo>
                    <a:pt x="500" y="244"/>
                  </a:lnTo>
                  <a:lnTo>
                    <a:pt x="518" y="230"/>
                  </a:lnTo>
                  <a:lnTo>
                    <a:pt x="570" y="218"/>
                  </a:lnTo>
                  <a:lnTo>
                    <a:pt x="592" y="188"/>
                  </a:lnTo>
                  <a:lnTo>
                    <a:pt x="620" y="142"/>
                  </a:lnTo>
                  <a:lnTo>
                    <a:pt x="620" y="114"/>
                  </a:lnTo>
                  <a:lnTo>
                    <a:pt x="590" y="76"/>
                  </a:lnTo>
                  <a:lnTo>
                    <a:pt x="586" y="60"/>
                  </a:lnTo>
                  <a:lnTo>
                    <a:pt x="550" y="54"/>
                  </a:lnTo>
                  <a:lnTo>
                    <a:pt x="520" y="40"/>
                  </a:lnTo>
                  <a:lnTo>
                    <a:pt x="510" y="58"/>
                  </a:lnTo>
                  <a:lnTo>
                    <a:pt x="486" y="76"/>
                  </a:lnTo>
                  <a:lnTo>
                    <a:pt x="464" y="62"/>
                  </a:lnTo>
                  <a:lnTo>
                    <a:pt x="440" y="64"/>
                  </a:lnTo>
                  <a:lnTo>
                    <a:pt x="428" y="86"/>
                  </a:lnTo>
                  <a:lnTo>
                    <a:pt x="402" y="90"/>
                  </a:lnTo>
                  <a:lnTo>
                    <a:pt x="390" y="68"/>
                  </a:lnTo>
                  <a:lnTo>
                    <a:pt x="406" y="30"/>
                  </a:lnTo>
                  <a:lnTo>
                    <a:pt x="420" y="12"/>
                  </a:lnTo>
                  <a:lnTo>
                    <a:pt x="410" y="0"/>
                  </a:lnTo>
                  <a:lnTo>
                    <a:pt x="400" y="2"/>
                  </a:lnTo>
                  <a:lnTo>
                    <a:pt x="394" y="4"/>
                  </a:lnTo>
                  <a:lnTo>
                    <a:pt x="390" y="8"/>
                  </a:lnTo>
                  <a:lnTo>
                    <a:pt x="386" y="12"/>
                  </a:lnTo>
                  <a:lnTo>
                    <a:pt x="382" y="14"/>
                  </a:lnTo>
                  <a:lnTo>
                    <a:pt x="380" y="18"/>
                  </a:lnTo>
                  <a:lnTo>
                    <a:pt x="376" y="18"/>
                  </a:lnTo>
                  <a:lnTo>
                    <a:pt x="372" y="22"/>
                  </a:lnTo>
                  <a:lnTo>
                    <a:pt x="368" y="22"/>
                  </a:lnTo>
                  <a:lnTo>
                    <a:pt x="364" y="24"/>
                  </a:lnTo>
                  <a:lnTo>
                    <a:pt x="360" y="24"/>
                  </a:lnTo>
                  <a:lnTo>
                    <a:pt x="356" y="26"/>
                  </a:lnTo>
                  <a:lnTo>
                    <a:pt x="352" y="26"/>
                  </a:lnTo>
                  <a:lnTo>
                    <a:pt x="348" y="26"/>
                  </a:lnTo>
                  <a:lnTo>
                    <a:pt x="336" y="20"/>
                  </a:lnTo>
                  <a:lnTo>
                    <a:pt x="302" y="14"/>
                  </a:lnTo>
                  <a:lnTo>
                    <a:pt x="278" y="16"/>
                  </a:lnTo>
                  <a:lnTo>
                    <a:pt x="272" y="32"/>
                  </a:lnTo>
                  <a:lnTo>
                    <a:pt x="276" y="56"/>
                  </a:lnTo>
                  <a:lnTo>
                    <a:pt x="272" y="70"/>
                  </a:lnTo>
                  <a:lnTo>
                    <a:pt x="258" y="70"/>
                  </a:lnTo>
                  <a:lnTo>
                    <a:pt x="248" y="54"/>
                  </a:lnTo>
                  <a:lnTo>
                    <a:pt x="236" y="42"/>
                  </a:lnTo>
                  <a:lnTo>
                    <a:pt x="216" y="48"/>
                  </a:lnTo>
                  <a:lnTo>
                    <a:pt x="218" y="74"/>
                  </a:lnTo>
                  <a:lnTo>
                    <a:pt x="200" y="80"/>
                  </a:lnTo>
                  <a:lnTo>
                    <a:pt x="180" y="96"/>
                  </a:lnTo>
                  <a:lnTo>
                    <a:pt x="188" y="120"/>
                  </a:lnTo>
                  <a:lnTo>
                    <a:pt x="188" y="138"/>
                  </a:lnTo>
                  <a:lnTo>
                    <a:pt x="176" y="158"/>
                  </a:lnTo>
                  <a:lnTo>
                    <a:pt x="166" y="164"/>
                  </a:lnTo>
                  <a:lnTo>
                    <a:pt x="154" y="198"/>
                  </a:lnTo>
                  <a:lnTo>
                    <a:pt x="142" y="206"/>
                  </a:lnTo>
                  <a:lnTo>
                    <a:pt x="132" y="228"/>
                  </a:lnTo>
                  <a:lnTo>
                    <a:pt x="136" y="248"/>
                  </a:lnTo>
                  <a:lnTo>
                    <a:pt x="126" y="262"/>
                  </a:lnTo>
                  <a:lnTo>
                    <a:pt x="96" y="268"/>
                  </a:lnTo>
                  <a:lnTo>
                    <a:pt x="90" y="270"/>
                  </a:lnTo>
                  <a:lnTo>
                    <a:pt x="92" y="294"/>
                  </a:lnTo>
                  <a:lnTo>
                    <a:pt x="62" y="312"/>
                  </a:lnTo>
                  <a:lnTo>
                    <a:pt x="52" y="320"/>
                  </a:lnTo>
                  <a:lnTo>
                    <a:pt x="46" y="342"/>
                  </a:lnTo>
                  <a:lnTo>
                    <a:pt x="2" y="368"/>
                  </a:lnTo>
                </a:path>
              </a:pathLst>
            </a:custGeom>
            <a:solidFill>
              <a:srgbClr val="F9EFBD"/>
            </a:solidFill>
            <a:ln w="9525" algn="ctr">
              <a:solidFill>
                <a:schemeClr val="bg2"/>
              </a:solidFill>
              <a:round/>
              <a:headEnd/>
              <a:tailEnd/>
            </a:ln>
          </p:spPr>
          <p:txBody>
            <a:bodyPr rIns="18288"/>
            <a:lstStyle/>
            <a:p>
              <a:endParaRPr lang="en-US" dirty="0"/>
            </a:p>
          </p:txBody>
        </p:sp>
        <p:sp>
          <p:nvSpPr>
            <p:cNvPr id="103" name="Freeform 7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5564189" y="2976563"/>
              <a:ext cx="187325" cy="195262"/>
            </a:xfrm>
            <a:custGeom>
              <a:avLst/>
              <a:gdLst>
                <a:gd name="T0" fmla="*/ 2147483647 w 115"/>
                <a:gd name="T1" fmla="*/ 2147483647 h 125"/>
                <a:gd name="T2" fmla="*/ 2147483647 w 115"/>
                <a:gd name="T3" fmla="*/ 2147483647 h 125"/>
                <a:gd name="T4" fmla="*/ 2147483647 w 115"/>
                <a:gd name="T5" fmla="*/ 2147483647 h 125"/>
                <a:gd name="T6" fmla="*/ 2147483647 w 115"/>
                <a:gd name="T7" fmla="*/ 0 h 125"/>
                <a:gd name="T8" fmla="*/ 2147483647 w 115"/>
                <a:gd name="T9" fmla="*/ 0 h 125"/>
                <a:gd name="T10" fmla="*/ 2147483647 w 115"/>
                <a:gd name="T11" fmla="*/ 2147483647 h 125"/>
                <a:gd name="T12" fmla="*/ 2147483647 w 115"/>
                <a:gd name="T13" fmla="*/ 2147483647 h 125"/>
                <a:gd name="T14" fmla="*/ 0 w 115"/>
                <a:gd name="T15" fmla="*/ 2147483647 h 125"/>
                <a:gd name="T16" fmla="*/ 2147483647 w 115"/>
                <a:gd name="T17" fmla="*/ 2147483647 h 125"/>
                <a:gd name="T18" fmla="*/ 2147483647 w 115"/>
                <a:gd name="T19" fmla="*/ 2147483647 h 125"/>
                <a:gd name="T20" fmla="*/ 2147483647 w 115"/>
                <a:gd name="T21" fmla="*/ 2147483647 h 125"/>
                <a:gd name="T22" fmla="*/ 2147483647 w 115"/>
                <a:gd name="T23" fmla="*/ 2147483647 h 125"/>
                <a:gd name="T24" fmla="*/ 2147483647 w 115"/>
                <a:gd name="T25" fmla="*/ 2147483647 h 125"/>
                <a:gd name="T26" fmla="*/ 2147483647 w 115"/>
                <a:gd name="T27" fmla="*/ 2147483647 h 125"/>
                <a:gd name="T28" fmla="*/ 2147483647 w 115"/>
                <a:gd name="T29" fmla="*/ 2147483647 h 125"/>
                <a:gd name="T30" fmla="*/ 2147483647 w 115"/>
                <a:gd name="T31" fmla="*/ 2147483647 h 12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15"/>
                <a:gd name="T49" fmla="*/ 0 h 125"/>
                <a:gd name="T50" fmla="*/ 115 w 115"/>
                <a:gd name="T51" fmla="*/ 125 h 12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15" h="125">
                  <a:moveTo>
                    <a:pt x="114" y="46"/>
                  </a:moveTo>
                  <a:lnTo>
                    <a:pt x="88" y="34"/>
                  </a:lnTo>
                  <a:lnTo>
                    <a:pt x="56" y="34"/>
                  </a:lnTo>
                  <a:lnTo>
                    <a:pt x="60" y="0"/>
                  </a:lnTo>
                  <a:lnTo>
                    <a:pt x="28" y="0"/>
                  </a:lnTo>
                  <a:lnTo>
                    <a:pt x="24" y="24"/>
                  </a:lnTo>
                  <a:lnTo>
                    <a:pt x="6" y="30"/>
                  </a:lnTo>
                  <a:lnTo>
                    <a:pt x="0" y="74"/>
                  </a:lnTo>
                  <a:lnTo>
                    <a:pt x="8" y="96"/>
                  </a:lnTo>
                  <a:lnTo>
                    <a:pt x="20" y="114"/>
                  </a:lnTo>
                  <a:lnTo>
                    <a:pt x="58" y="124"/>
                  </a:lnTo>
                  <a:lnTo>
                    <a:pt x="56" y="102"/>
                  </a:lnTo>
                  <a:lnTo>
                    <a:pt x="64" y="84"/>
                  </a:lnTo>
                  <a:lnTo>
                    <a:pt x="76" y="66"/>
                  </a:lnTo>
                  <a:lnTo>
                    <a:pt x="100" y="70"/>
                  </a:lnTo>
                  <a:lnTo>
                    <a:pt x="114" y="46"/>
                  </a:lnTo>
                </a:path>
              </a:pathLst>
            </a:custGeom>
            <a:solidFill>
              <a:srgbClr val="F9EFBD"/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rIns="18288"/>
            <a:lstStyle/>
            <a:p>
              <a:endParaRPr lang="en-US" dirty="0"/>
            </a:p>
          </p:txBody>
        </p:sp>
        <p:sp>
          <p:nvSpPr>
            <p:cNvPr id="104" name="Freeform 8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5383214" y="2882902"/>
              <a:ext cx="250825" cy="212725"/>
            </a:xfrm>
            <a:custGeom>
              <a:avLst/>
              <a:gdLst>
                <a:gd name="T0" fmla="*/ 2147483647 w 153"/>
                <a:gd name="T1" fmla="*/ 2147483647 h 137"/>
                <a:gd name="T2" fmla="*/ 2147483647 w 153"/>
                <a:gd name="T3" fmla="*/ 2147483647 h 137"/>
                <a:gd name="T4" fmla="*/ 2147483647 w 153"/>
                <a:gd name="T5" fmla="*/ 2147483647 h 137"/>
                <a:gd name="T6" fmla="*/ 2147483647 w 153"/>
                <a:gd name="T7" fmla="*/ 2147483647 h 137"/>
                <a:gd name="T8" fmla="*/ 2147483647 w 153"/>
                <a:gd name="T9" fmla="*/ 2147483647 h 137"/>
                <a:gd name="T10" fmla="*/ 2147483647 w 153"/>
                <a:gd name="T11" fmla="*/ 2147483647 h 137"/>
                <a:gd name="T12" fmla="*/ 2147483647 w 153"/>
                <a:gd name="T13" fmla="*/ 2147483647 h 137"/>
                <a:gd name="T14" fmla="*/ 2147483647 w 153"/>
                <a:gd name="T15" fmla="*/ 2147483647 h 137"/>
                <a:gd name="T16" fmla="*/ 0 w 153"/>
                <a:gd name="T17" fmla="*/ 2147483647 h 137"/>
                <a:gd name="T18" fmla="*/ 2147483647 w 153"/>
                <a:gd name="T19" fmla="*/ 2147483647 h 137"/>
                <a:gd name="T20" fmla="*/ 2147483647 w 153"/>
                <a:gd name="T21" fmla="*/ 2147483647 h 137"/>
                <a:gd name="T22" fmla="*/ 2147483647 w 153"/>
                <a:gd name="T23" fmla="*/ 2147483647 h 137"/>
                <a:gd name="T24" fmla="*/ 2147483647 w 153"/>
                <a:gd name="T25" fmla="*/ 2147483647 h 137"/>
                <a:gd name="T26" fmla="*/ 2147483647 w 153"/>
                <a:gd name="T27" fmla="*/ 2147483647 h 137"/>
                <a:gd name="T28" fmla="*/ 2147483647 w 153"/>
                <a:gd name="T29" fmla="*/ 0 h 137"/>
                <a:gd name="T30" fmla="*/ 2147483647 w 153"/>
                <a:gd name="T31" fmla="*/ 2147483647 h 137"/>
                <a:gd name="T32" fmla="*/ 2147483647 w 153"/>
                <a:gd name="T33" fmla="*/ 2147483647 h 137"/>
                <a:gd name="T34" fmla="*/ 2147483647 w 153"/>
                <a:gd name="T35" fmla="*/ 2147483647 h 137"/>
                <a:gd name="T36" fmla="*/ 2147483647 w 153"/>
                <a:gd name="T37" fmla="*/ 2147483647 h 137"/>
                <a:gd name="T38" fmla="*/ 2147483647 w 153"/>
                <a:gd name="T39" fmla="*/ 2147483647 h 137"/>
                <a:gd name="T40" fmla="*/ 2147483647 w 153"/>
                <a:gd name="T41" fmla="*/ 2147483647 h 137"/>
                <a:gd name="T42" fmla="*/ 2147483647 w 153"/>
                <a:gd name="T43" fmla="*/ 2147483647 h 137"/>
                <a:gd name="T44" fmla="*/ 2147483647 w 153"/>
                <a:gd name="T45" fmla="*/ 2147483647 h 137"/>
                <a:gd name="T46" fmla="*/ 2147483647 w 153"/>
                <a:gd name="T47" fmla="*/ 2147483647 h 137"/>
                <a:gd name="T48" fmla="*/ 2147483647 w 153"/>
                <a:gd name="T49" fmla="*/ 2147483647 h 13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53"/>
                <a:gd name="T76" fmla="*/ 0 h 137"/>
                <a:gd name="T77" fmla="*/ 153 w 153"/>
                <a:gd name="T78" fmla="*/ 137 h 13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53" h="137">
                  <a:moveTo>
                    <a:pt x="116" y="118"/>
                  </a:moveTo>
                  <a:lnTo>
                    <a:pt x="110" y="110"/>
                  </a:lnTo>
                  <a:lnTo>
                    <a:pt x="72" y="112"/>
                  </a:lnTo>
                  <a:lnTo>
                    <a:pt x="72" y="124"/>
                  </a:lnTo>
                  <a:lnTo>
                    <a:pt x="50" y="124"/>
                  </a:lnTo>
                  <a:lnTo>
                    <a:pt x="48" y="136"/>
                  </a:lnTo>
                  <a:lnTo>
                    <a:pt x="20" y="130"/>
                  </a:lnTo>
                  <a:lnTo>
                    <a:pt x="6" y="112"/>
                  </a:lnTo>
                  <a:lnTo>
                    <a:pt x="0" y="82"/>
                  </a:lnTo>
                  <a:lnTo>
                    <a:pt x="22" y="84"/>
                  </a:lnTo>
                  <a:lnTo>
                    <a:pt x="22" y="54"/>
                  </a:lnTo>
                  <a:lnTo>
                    <a:pt x="34" y="56"/>
                  </a:lnTo>
                  <a:lnTo>
                    <a:pt x="34" y="22"/>
                  </a:lnTo>
                  <a:lnTo>
                    <a:pt x="56" y="10"/>
                  </a:lnTo>
                  <a:lnTo>
                    <a:pt x="70" y="0"/>
                  </a:lnTo>
                  <a:lnTo>
                    <a:pt x="108" y="6"/>
                  </a:lnTo>
                  <a:lnTo>
                    <a:pt x="128" y="8"/>
                  </a:lnTo>
                  <a:lnTo>
                    <a:pt x="138" y="20"/>
                  </a:lnTo>
                  <a:lnTo>
                    <a:pt x="138" y="34"/>
                  </a:lnTo>
                  <a:lnTo>
                    <a:pt x="150" y="56"/>
                  </a:lnTo>
                  <a:lnTo>
                    <a:pt x="152" y="72"/>
                  </a:lnTo>
                  <a:lnTo>
                    <a:pt x="134" y="76"/>
                  </a:lnTo>
                  <a:lnTo>
                    <a:pt x="132" y="98"/>
                  </a:lnTo>
                  <a:lnTo>
                    <a:pt x="114" y="106"/>
                  </a:lnTo>
                  <a:lnTo>
                    <a:pt x="116" y="118"/>
                  </a:lnTo>
                </a:path>
              </a:pathLst>
            </a:custGeom>
            <a:solidFill>
              <a:srgbClr val="F9EFBD"/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rIns="18288"/>
            <a:lstStyle/>
            <a:p>
              <a:endParaRPr lang="en-US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GB" altLang="zh-CN" dirty="0" smtClean="0">
                <a:ea typeface="STKaiti" pitchFamily="2" charset="-122"/>
              </a:rPr>
              <a:t>A moving target: selected</a:t>
            </a:r>
            <a:r>
              <a:rPr lang="en-GB" altLang="zh-TW" dirty="0" smtClean="0">
                <a:ea typeface="STKaiti" pitchFamily="2" charset="-122"/>
              </a:rPr>
              <a:t> production clusters in China</a:t>
            </a:r>
            <a:endParaRPr lang="en-US" dirty="0"/>
          </a:p>
        </p:txBody>
      </p:sp>
      <p:sp>
        <p:nvSpPr>
          <p:cNvPr id="54" name="Freeform 12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6061076" y="4525963"/>
            <a:ext cx="112713" cy="163512"/>
          </a:xfrm>
          <a:custGeom>
            <a:avLst/>
            <a:gdLst>
              <a:gd name="T0" fmla="*/ 2147483647 w 69"/>
              <a:gd name="T1" fmla="*/ 0 h 105"/>
              <a:gd name="T2" fmla="*/ 2147483647 w 69"/>
              <a:gd name="T3" fmla="*/ 2147483647 h 105"/>
              <a:gd name="T4" fmla="*/ 2147483647 w 69"/>
              <a:gd name="T5" fmla="*/ 2147483647 h 105"/>
              <a:gd name="T6" fmla="*/ 2147483647 w 69"/>
              <a:gd name="T7" fmla="*/ 2147483647 h 105"/>
              <a:gd name="T8" fmla="*/ 2147483647 w 69"/>
              <a:gd name="T9" fmla="*/ 2147483647 h 105"/>
              <a:gd name="T10" fmla="*/ 2147483647 w 69"/>
              <a:gd name="T11" fmla="*/ 2147483647 h 105"/>
              <a:gd name="T12" fmla="*/ 2147483647 w 69"/>
              <a:gd name="T13" fmla="*/ 2147483647 h 105"/>
              <a:gd name="T14" fmla="*/ 0 w 69"/>
              <a:gd name="T15" fmla="*/ 2147483647 h 105"/>
              <a:gd name="T16" fmla="*/ 2147483647 w 69"/>
              <a:gd name="T17" fmla="*/ 2147483647 h 105"/>
              <a:gd name="T18" fmla="*/ 2147483647 w 69"/>
              <a:gd name="T19" fmla="*/ 2147483647 h 105"/>
              <a:gd name="T20" fmla="*/ 2147483647 w 69"/>
              <a:gd name="T21" fmla="*/ 2147483647 h 105"/>
              <a:gd name="T22" fmla="*/ 2147483647 w 69"/>
              <a:gd name="T23" fmla="*/ 0 h 10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9"/>
              <a:gd name="T37" fmla="*/ 0 h 105"/>
              <a:gd name="T38" fmla="*/ 69 w 69"/>
              <a:gd name="T39" fmla="*/ 105 h 10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9" h="105">
                <a:moveTo>
                  <a:pt x="38" y="0"/>
                </a:moveTo>
                <a:lnTo>
                  <a:pt x="48" y="28"/>
                </a:lnTo>
                <a:lnTo>
                  <a:pt x="68" y="44"/>
                </a:lnTo>
                <a:lnTo>
                  <a:pt x="66" y="72"/>
                </a:lnTo>
                <a:lnTo>
                  <a:pt x="46" y="90"/>
                </a:lnTo>
                <a:lnTo>
                  <a:pt x="32" y="104"/>
                </a:lnTo>
                <a:lnTo>
                  <a:pt x="14" y="102"/>
                </a:lnTo>
                <a:lnTo>
                  <a:pt x="0" y="74"/>
                </a:lnTo>
                <a:lnTo>
                  <a:pt x="4" y="44"/>
                </a:lnTo>
                <a:lnTo>
                  <a:pt x="16" y="28"/>
                </a:lnTo>
                <a:lnTo>
                  <a:pt x="12" y="8"/>
                </a:lnTo>
                <a:lnTo>
                  <a:pt x="38" y="0"/>
                </a:lnTo>
              </a:path>
            </a:pathLst>
          </a:custGeom>
          <a:solidFill>
            <a:srgbClr val="F9EFBD"/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rIns="18288"/>
          <a:lstStyle/>
          <a:p>
            <a:endParaRPr lang="en-US" dirty="0"/>
          </a:p>
        </p:txBody>
      </p:sp>
      <p:grpSp>
        <p:nvGrpSpPr>
          <p:cNvPr id="3" name="Group 97"/>
          <p:cNvGrpSpPr/>
          <p:nvPr>
            <p:custDataLst>
              <p:tags r:id="rId5"/>
            </p:custDataLst>
          </p:nvPr>
        </p:nvGrpSpPr>
        <p:grpSpPr>
          <a:xfrm>
            <a:off x="4938697" y="1740038"/>
            <a:ext cx="4498991" cy="3974964"/>
            <a:chOff x="5095313" y="1435238"/>
            <a:chExt cx="4361283" cy="3974964"/>
          </a:xfrm>
        </p:grpSpPr>
        <p:grpSp>
          <p:nvGrpSpPr>
            <p:cNvPr id="4" name="Group 314"/>
            <p:cNvGrpSpPr>
              <a:grpSpLocks/>
            </p:cNvGrpSpPr>
            <p:nvPr/>
          </p:nvGrpSpPr>
          <p:grpSpPr bwMode="auto">
            <a:xfrm>
              <a:off x="5095313" y="2497138"/>
              <a:ext cx="1108027" cy="2913064"/>
              <a:chOff x="5256212" y="2514599"/>
              <a:chExt cx="1143098" cy="2913064"/>
            </a:xfrm>
          </p:grpSpPr>
          <p:sp>
            <p:nvSpPr>
              <p:cNvPr id="119" name="Oval 37"/>
              <p:cNvSpPr>
                <a:spLocks noChangeArrowheads="1"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6097940" y="2940368"/>
                <a:ext cx="141272" cy="136206"/>
              </a:xfrm>
              <a:prstGeom prst="ellipse">
                <a:avLst/>
              </a:prstGeom>
              <a:solidFill>
                <a:srgbClr val="DCC05A"/>
              </a:solidFill>
              <a:ln w="9525" algn="ctr">
                <a:solidFill>
                  <a:srgbClr val="DCC05A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20" name="Oval 43"/>
              <p:cNvSpPr>
                <a:spLocks noChangeArrowheads="1"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6097940" y="4024311"/>
                <a:ext cx="141272" cy="139700"/>
              </a:xfrm>
              <a:prstGeom prst="ellipse">
                <a:avLst/>
              </a:prstGeom>
              <a:solidFill>
                <a:srgbClr val="DCC05A"/>
              </a:solidFill>
              <a:ln w="9525" algn="ctr">
                <a:solidFill>
                  <a:srgbClr val="DCC05A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21" name="Oval 47"/>
              <p:cNvSpPr>
                <a:spLocks noChangeArrowheads="1"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6175612" y="4308473"/>
                <a:ext cx="137906" cy="139700"/>
              </a:xfrm>
              <a:prstGeom prst="ellipse">
                <a:avLst/>
              </a:prstGeom>
              <a:solidFill>
                <a:srgbClr val="DCC05A"/>
              </a:solidFill>
              <a:ln w="9525" algn="ctr">
                <a:solidFill>
                  <a:srgbClr val="DCC05A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22" name="Oval 42"/>
              <p:cNvSpPr>
                <a:spLocks noChangeArrowheads="1"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5988564" y="3994467"/>
                <a:ext cx="137906" cy="136206"/>
              </a:xfrm>
              <a:prstGeom prst="ellipse">
                <a:avLst/>
              </a:prstGeom>
              <a:solidFill>
                <a:srgbClr val="DCC05A"/>
              </a:solidFill>
              <a:ln w="9525" algn="ctr">
                <a:solidFill>
                  <a:srgbClr val="DCC05A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23" name="Oval 36"/>
              <p:cNvSpPr>
                <a:spLocks noChangeArrowheads="1"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6186708" y="2514599"/>
                <a:ext cx="137908" cy="139700"/>
              </a:xfrm>
              <a:prstGeom prst="ellipse">
                <a:avLst/>
              </a:prstGeom>
              <a:solidFill>
                <a:srgbClr val="DCC05A"/>
              </a:solidFill>
              <a:ln w="9525" algn="ctr">
                <a:solidFill>
                  <a:srgbClr val="DCC05A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24" name="Oval 40"/>
              <p:cNvSpPr>
                <a:spLocks noChangeArrowheads="1"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5597032" y="2967353"/>
                <a:ext cx="134545" cy="136209"/>
              </a:xfrm>
              <a:prstGeom prst="ellipse">
                <a:avLst/>
              </a:prstGeom>
              <a:solidFill>
                <a:srgbClr val="DCC05A"/>
              </a:solidFill>
              <a:ln w="9525" algn="ctr">
                <a:solidFill>
                  <a:srgbClr val="DCC05A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25" name="Oval 41"/>
              <p:cNvSpPr>
                <a:spLocks noChangeArrowheads="1"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6021853" y="3871912"/>
                <a:ext cx="137908" cy="139700"/>
              </a:xfrm>
              <a:prstGeom prst="ellipse">
                <a:avLst/>
              </a:prstGeom>
              <a:solidFill>
                <a:srgbClr val="DCC05A"/>
              </a:solidFill>
              <a:ln w="9525" algn="ctr">
                <a:solidFill>
                  <a:srgbClr val="DCC05A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27" name="Oval 44"/>
              <p:cNvSpPr>
                <a:spLocks noChangeArrowheads="1"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6250115" y="4054473"/>
                <a:ext cx="137908" cy="139700"/>
              </a:xfrm>
              <a:prstGeom prst="ellipse">
                <a:avLst/>
              </a:prstGeom>
              <a:solidFill>
                <a:srgbClr val="DCC05A"/>
              </a:solidFill>
              <a:ln w="9525" algn="ctr">
                <a:solidFill>
                  <a:srgbClr val="DCC05A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36" name="Oval 46"/>
              <p:cNvSpPr>
                <a:spLocks noChangeArrowheads="1"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6158174" y="4157977"/>
                <a:ext cx="141272" cy="136209"/>
              </a:xfrm>
              <a:prstGeom prst="ellipse">
                <a:avLst/>
              </a:prstGeom>
              <a:solidFill>
                <a:srgbClr val="DCC05A"/>
              </a:solidFill>
              <a:ln w="9525" algn="ctr">
                <a:solidFill>
                  <a:srgbClr val="DCC05A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41" name="Oval 48"/>
              <p:cNvSpPr>
                <a:spLocks noChangeArrowheads="1"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6258039" y="4425948"/>
                <a:ext cx="141271" cy="139700"/>
              </a:xfrm>
              <a:prstGeom prst="ellipse">
                <a:avLst/>
              </a:prstGeom>
              <a:solidFill>
                <a:srgbClr val="DCC05A"/>
              </a:solidFill>
              <a:ln w="9525" algn="ctr">
                <a:solidFill>
                  <a:srgbClr val="DCC05A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42" name="Oval 55"/>
              <p:cNvSpPr>
                <a:spLocks noChangeArrowheads="1"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5256212" y="5291454"/>
                <a:ext cx="134545" cy="136209"/>
              </a:xfrm>
              <a:prstGeom prst="ellipse">
                <a:avLst/>
              </a:prstGeom>
              <a:solidFill>
                <a:srgbClr val="DCC05A"/>
              </a:solidFill>
              <a:ln w="9525" algn="ctr">
                <a:solidFill>
                  <a:srgbClr val="DCC05A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</p:grpSp>
        <p:sp>
          <p:nvSpPr>
            <p:cNvPr id="117" name="Rectangle 35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7369690" y="1435238"/>
              <a:ext cx="2086906" cy="846000"/>
            </a:xfrm>
            <a:prstGeom prst="rect">
              <a:avLst/>
            </a:prstGeom>
            <a:solidFill>
              <a:srgbClr val="E7D475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tIns="27432" bIns="27432" anchor="ctr"/>
            <a:lstStyle/>
            <a:p>
              <a:pPr algn="l"/>
              <a:r>
                <a:rPr lang="en-US" altLang="zh-CN" sz="1200" b="1" dirty="0">
                  <a:ea typeface="STKaiti" pitchFamily="2" charset="-122"/>
                </a:rPr>
                <a:t>Chemicals</a:t>
              </a:r>
            </a:p>
            <a:p>
              <a:pPr algn="l"/>
              <a:r>
                <a:rPr lang="en-US" sz="1000" dirty="0"/>
                <a:t>Dalian, Shenyang, </a:t>
              </a:r>
              <a:r>
                <a:rPr lang="en-US" sz="1000" dirty="0" smtClean="0"/>
                <a:t>Nanjing, Yangzhou</a:t>
              </a:r>
              <a:r>
                <a:rPr lang="en-US" sz="1000" dirty="0"/>
                <a:t>, Suzhou, Shanghai, Hangzhou, Shaoxing , Wenzhou, Jiangmen, Tianjin </a:t>
              </a:r>
              <a:endParaRPr lang="en-US" altLang="zh-CN" sz="1000" dirty="0">
                <a:ea typeface="STKaiti" pitchFamily="2" charset="-122"/>
              </a:endParaRPr>
            </a:p>
          </p:txBody>
        </p:sp>
      </p:grpSp>
      <p:sp>
        <p:nvSpPr>
          <p:cNvPr id="118" name="Rectangle 117"/>
          <p:cNvSpPr/>
          <p:nvPr>
            <p:custDataLst>
              <p:tags r:id="rId6"/>
            </p:custDataLst>
          </p:nvPr>
        </p:nvSpPr>
        <p:spPr bwMode="auto">
          <a:xfrm>
            <a:off x="5702300" y="4114800"/>
            <a:ext cx="685800" cy="1143000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62" name="Rectangle 161"/>
          <p:cNvSpPr/>
          <p:nvPr>
            <p:custDataLst>
              <p:tags r:id="rId7"/>
            </p:custDataLst>
          </p:nvPr>
        </p:nvSpPr>
        <p:spPr bwMode="auto">
          <a:xfrm>
            <a:off x="5854701" y="4419600"/>
            <a:ext cx="533400" cy="762000"/>
          </a:xfrm>
          <a:prstGeom prst="rect">
            <a:avLst/>
          </a:prstGeom>
          <a:noFill/>
          <a:ln w="25400" cap="flat" cmpd="sng" algn="ctr">
            <a:solidFill>
              <a:srgbClr val="5A5034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73" name="Rectangle 172"/>
          <p:cNvSpPr/>
          <p:nvPr>
            <p:custDataLst>
              <p:tags r:id="rId8"/>
            </p:custDataLst>
          </p:nvPr>
        </p:nvSpPr>
        <p:spPr bwMode="auto">
          <a:xfrm>
            <a:off x="4991986" y="5571442"/>
            <a:ext cx="685800" cy="381000"/>
          </a:xfrm>
          <a:prstGeom prst="rect">
            <a:avLst/>
          </a:prstGeom>
          <a:noFill/>
          <a:ln w="25400" cap="flat" cmpd="sng" algn="ctr">
            <a:solidFill>
              <a:srgbClr val="06C245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46" name="Rectangle 145"/>
          <p:cNvSpPr/>
          <p:nvPr>
            <p:custDataLst>
              <p:tags r:id="rId9"/>
            </p:custDataLst>
          </p:nvPr>
        </p:nvSpPr>
        <p:spPr bwMode="auto">
          <a:xfrm>
            <a:off x="5702300" y="4191000"/>
            <a:ext cx="685800" cy="762000"/>
          </a:xfrm>
          <a:prstGeom prst="rect">
            <a:avLst/>
          </a:prstGeom>
          <a:noFill/>
          <a:ln w="25400" cap="flat" cmpd="sng" algn="ctr">
            <a:solidFill>
              <a:srgbClr val="C41300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47" name="Rectangle 146"/>
          <p:cNvSpPr/>
          <p:nvPr>
            <p:custDataLst>
              <p:tags r:id="rId10"/>
            </p:custDataLst>
          </p:nvPr>
        </p:nvSpPr>
        <p:spPr bwMode="auto">
          <a:xfrm>
            <a:off x="4940300" y="5562600"/>
            <a:ext cx="685800" cy="381000"/>
          </a:xfrm>
          <a:prstGeom prst="rect">
            <a:avLst/>
          </a:prstGeom>
          <a:noFill/>
          <a:ln w="25400" cap="flat" cmpd="sng" algn="ctr">
            <a:solidFill>
              <a:srgbClr val="C41300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grpSp>
        <p:nvGrpSpPr>
          <p:cNvPr id="5" name="Group 99"/>
          <p:cNvGrpSpPr/>
          <p:nvPr>
            <p:custDataLst>
              <p:tags r:id="rId11"/>
            </p:custDataLst>
          </p:nvPr>
        </p:nvGrpSpPr>
        <p:grpSpPr>
          <a:xfrm>
            <a:off x="4938714" y="2667000"/>
            <a:ext cx="4511674" cy="3023004"/>
            <a:chOff x="5095326" y="2362200"/>
            <a:chExt cx="4373577" cy="3023004"/>
          </a:xfrm>
        </p:grpSpPr>
        <p:grpSp>
          <p:nvGrpSpPr>
            <p:cNvPr id="6" name="Group 94"/>
            <p:cNvGrpSpPr/>
            <p:nvPr/>
          </p:nvGrpSpPr>
          <p:grpSpPr>
            <a:xfrm>
              <a:off x="5095326" y="3837401"/>
              <a:ext cx="1124942" cy="1547803"/>
              <a:chOff x="5095326" y="3837401"/>
              <a:chExt cx="1124942" cy="1547803"/>
            </a:xfrm>
          </p:grpSpPr>
          <p:sp>
            <p:nvSpPr>
              <p:cNvPr id="148" name="Oval 43"/>
              <p:cNvSpPr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5912486" y="3989801"/>
                <a:ext cx="130845" cy="130663"/>
              </a:xfrm>
              <a:prstGeom prst="ellipse">
                <a:avLst/>
              </a:prstGeom>
              <a:solidFill>
                <a:srgbClr val="C41300"/>
              </a:solidFill>
              <a:ln w="9525" algn="ctr">
                <a:solidFill>
                  <a:srgbClr val="C41300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49" name="Oval 42"/>
              <p:cNvSpPr>
                <a:spLocks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5806302" y="3960822"/>
                <a:ext cx="127729" cy="127394"/>
              </a:xfrm>
              <a:prstGeom prst="ellipse">
                <a:avLst/>
              </a:prstGeom>
              <a:solidFill>
                <a:srgbClr val="C41300"/>
              </a:solidFill>
              <a:ln w="9525" algn="ctr">
                <a:solidFill>
                  <a:srgbClr val="C41300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50" name="Oval 41"/>
              <p:cNvSpPr>
                <a:spLocks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5838619" y="3837401"/>
                <a:ext cx="127731" cy="130663"/>
              </a:xfrm>
              <a:prstGeom prst="ellipse">
                <a:avLst/>
              </a:prstGeom>
              <a:solidFill>
                <a:srgbClr val="C41300"/>
              </a:solidFill>
              <a:ln w="9525" algn="ctr">
                <a:solidFill>
                  <a:srgbClr val="C41300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51" name="Oval 47"/>
              <p:cNvSpPr>
                <a:spLocks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5987893" y="4273963"/>
                <a:ext cx="127729" cy="130663"/>
              </a:xfrm>
              <a:prstGeom prst="ellipse">
                <a:avLst/>
              </a:prstGeom>
              <a:solidFill>
                <a:srgbClr val="C41300"/>
              </a:solidFill>
              <a:ln w="9525" algn="ctr">
                <a:solidFill>
                  <a:srgbClr val="C41300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52" name="Oval 45"/>
              <p:cNvSpPr>
                <a:spLocks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6092539" y="4211647"/>
                <a:ext cx="127729" cy="127394"/>
              </a:xfrm>
              <a:prstGeom prst="ellipse">
                <a:avLst/>
              </a:prstGeom>
              <a:solidFill>
                <a:srgbClr val="C41300"/>
              </a:solidFill>
              <a:ln w="9525" algn="ctr">
                <a:solidFill>
                  <a:srgbClr val="C41300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53" name="Oval 46"/>
              <p:cNvSpPr>
                <a:spLocks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5970965" y="4124332"/>
                <a:ext cx="130845" cy="127397"/>
              </a:xfrm>
              <a:prstGeom prst="ellipse">
                <a:avLst/>
              </a:prstGeom>
              <a:solidFill>
                <a:srgbClr val="C41300"/>
              </a:solidFill>
              <a:ln w="9525" algn="ctr">
                <a:solidFill>
                  <a:srgbClr val="C41300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54" name="Oval 50"/>
              <p:cNvSpPr>
                <a:spLocks noChangeArrowheads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5116872" y="5181607"/>
                <a:ext cx="127729" cy="127397"/>
              </a:xfrm>
              <a:prstGeom prst="ellipse">
                <a:avLst/>
              </a:prstGeom>
              <a:solidFill>
                <a:srgbClr val="C41300"/>
              </a:solidFill>
              <a:ln w="9525" algn="ctr">
                <a:solidFill>
                  <a:srgbClr val="C41300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55" name="Oval 53"/>
              <p:cNvSpPr>
                <a:spLocks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5179965" y="5229638"/>
                <a:ext cx="124614" cy="130663"/>
              </a:xfrm>
              <a:prstGeom prst="ellipse">
                <a:avLst/>
              </a:prstGeom>
              <a:solidFill>
                <a:srgbClr val="C41300"/>
              </a:solidFill>
              <a:ln w="9525" algn="ctr">
                <a:solidFill>
                  <a:srgbClr val="C41300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56" name="Oval 52"/>
              <p:cNvSpPr>
                <a:spLocks noChangeArrowheads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5338473" y="5251863"/>
                <a:ext cx="124614" cy="130663"/>
              </a:xfrm>
              <a:prstGeom prst="ellipse">
                <a:avLst/>
              </a:prstGeom>
              <a:solidFill>
                <a:srgbClr val="C41300"/>
              </a:solidFill>
              <a:ln w="9525" algn="ctr">
                <a:solidFill>
                  <a:srgbClr val="C41300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57" name="Oval 51"/>
              <p:cNvSpPr>
                <a:spLocks noChangeArrowheads="1"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5266144" y="5183601"/>
                <a:ext cx="124614" cy="130663"/>
              </a:xfrm>
              <a:prstGeom prst="ellipse">
                <a:avLst/>
              </a:prstGeom>
              <a:solidFill>
                <a:srgbClr val="C41300"/>
              </a:solidFill>
              <a:ln w="9525" algn="ctr">
                <a:solidFill>
                  <a:srgbClr val="C41300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58" name="Oval 55"/>
              <p:cNvSpPr>
                <a:spLocks noChangeArrowheads="1"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5095326" y="5257807"/>
                <a:ext cx="124614" cy="127397"/>
              </a:xfrm>
              <a:prstGeom prst="ellipse">
                <a:avLst/>
              </a:prstGeom>
              <a:solidFill>
                <a:srgbClr val="C41300"/>
              </a:solidFill>
              <a:ln w="9525" algn="ctr">
                <a:solidFill>
                  <a:srgbClr val="C41300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</p:grpSp>
        <p:sp>
          <p:nvSpPr>
            <p:cNvPr id="145" name="Rectangle 35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7381998" y="2362200"/>
              <a:ext cx="2086905" cy="846000"/>
            </a:xfrm>
            <a:prstGeom prst="rect">
              <a:avLst/>
            </a:prstGeom>
            <a:solidFill>
              <a:srgbClr val="CEA09D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tIns="27432" bIns="27432" anchor="ctr"/>
            <a:lstStyle/>
            <a:p>
              <a:pPr algn="l"/>
              <a:r>
                <a:rPr lang="en-US" altLang="zh-CN" sz="1200" b="1" dirty="0" smtClean="0">
                  <a:ea typeface="STKaiti" pitchFamily="2" charset="-122"/>
                </a:rPr>
                <a:t>Textiles</a:t>
              </a:r>
              <a:endParaRPr lang="en-US" altLang="zh-CN" sz="1200" b="1" dirty="0">
                <a:ea typeface="STKaiti" pitchFamily="2" charset="-122"/>
              </a:endParaRPr>
            </a:p>
            <a:p>
              <a:pPr algn="l"/>
              <a:r>
                <a:rPr lang="en-US" sz="1000" dirty="0"/>
                <a:t>Nanjing, Yangzhou, Suzhou, Hangzhou, Ningbo, </a:t>
              </a:r>
              <a:r>
                <a:rPr lang="en-US" sz="1000" dirty="0" err="1" smtClean="0"/>
                <a:t>Shaoxing</a:t>
              </a:r>
              <a:r>
                <a:rPr lang="en-US" sz="1000" dirty="0" smtClean="0"/>
                <a:t>, </a:t>
              </a:r>
              <a:r>
                <a:rPr lang="en-US" sz="1000" dirty="0"/>
                <a:t>Shenzhen, Zhongshan, </a:t>
              </a:r>
              <a:r>
                <a:rPr lang="en-US" sz="1000" dirty="0" err="1" smtClean="0"/>
                <a:t>Jiangmen</a:t>
              </a:r>
              <a:r>
                <a:rPr lang="en-US" sz="1000" dirty="0" smtClean="0"/>
                <a:t>, </a:t>
              </a:r>
              <a:r>
                <a:rPr lang="en-US" sz="1000" dirty="0"/>
                <a:t>Foshan , Dongguan</a:t>
              </a:r>
              <a:endParaRPr lang="en-US" altLang="zh-CN" sz="1000" dirty="0">
                <a:ea typeface="STKaiti" pitchFamily="2" charset="-122"/>
              </a:endParaRPr>
            </a:p>
          </p:txBody>
        </p:sp>
      </p:grpSp>
      <p:grpSp>
        <p:nvGrpSpPr>
          <p:cNvPr id="7" name="Group 100"/>
          <p:cNvGrpSpPr/>
          <p:nvPr>
            <p:custDataLst>
              <p:tags r:id="rId12"/>
            </p:custDataLst>
          </p:nvPr>
        </p:nvGrpSpPr>
        <p:grpSpPr>
          <a:xfrm>
            <a:off x="4960938" y="2819400"/>
            <a:ext cx="4489450" cy="2889250"/>
            <a:chOff x="5116871" y="2514600"/>
            <a:chExt cx="4352033" cy="2889250"/>
          </a:xfrm>
        </p:grpSpPr>
        <p:grpSp>
          <p:nvGrpSpPr>
            <p:cNvPr id="8" name="Group 107"/>
            <p:cNvGrpSpPr/>
            <p:nvPr/>
          </p:nvGrpSpPr>
          <p:grpSpPr>
            <a:xfrm>
              <a:off x="5116871" y="2514600"/>
              <a:ext cx="1108012" cy="2889250"/>
              <a:chOff x="5278438" y="2514600"/>
              <a:chExt cx="1142998" cy="2889250"/>
            </a:xfrm>
          </p:grpSpPr>
          <p:sp>
            <p:nvSpPr>
              <p:cNvPr id="163" name="Oval 45"/>
              <p:cNvSpPr>
                <a:spLocks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6284913" y="4245294"/>
                <a:ext cx="136523" cy="136206"/>
              </a:xfrm>
              <a:prstGeom prst="ellipse">
                <a:avLst/>
              </a:prstGeom>
              <a:solidFill>
                <a:srgbClr val="7F7149"/>
              </a:solidFill>
              <a:ln w="9525" algn="ctr">
                <a:noFill/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64" name="Oval 44"/>
              <p:cNvSpPr>
                <a:spLocks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6251574" y="4054475"/>
                <a:ext cx="136525" cy="139700"/>
              </a:xfrm>
              <a:prstGeom prst="ellipse">
                <a:avLst/>
              </a:prstGeom>
              <a:solidFill>
                <a:srgbClr val="7F7149"/>
              </a:solidFill>
              <a:ln w="9525" algn="ctr">
                <a:noFill/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65" name="Oval 46"/>
              <p:cNvSpPr>
                <a:spLocks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6159500" y="4157979"/>
                <a:ext cx="139854" cy="136209"/>
              </a:xfrm>
              <a:prstGeom prst="ellipse">
                <a:avLst/>
              </a:prstGeom>
              <a:solidFill>
                <a:srgbClr val="7F7149"/>
              </a:solidFill>
              <a:ln w="9525" algn="ctr">
                <a:noFill/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66" name="Oval 48"/>
              <p:cNvSpPr>
                <a:spLocks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6259513" y="4425950"/>
                <a:ext cx="139854" cy="139700"/>
              </a:xfrm>
              <a:prstGeom prst="ellipse">
                <a:avLst/>
              </a:prstGeom>
              <a:solidFill>
                <a:srgbClr val="7F7149"/>
              </a:solidFill>
              <a:ln w="9525" algn="ctr">
                <a:noFill/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67" name="Oval 50"/>
              <p:cNvSpPr>
                <a:spLocks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5278438" y="5215254"/>
                <a:ext cx="136523" cy="136209"/>
              </a:xfrm>
              <a:prstGeom prst="ellipse">
                <a:avLst/>
              </a:prstGeom>
              <a:solidFill>
                <a:srgbClr val="7F7149"/>
              </a:solidFill>
              <a:ln w="9525" algn="ctr">
                <a:noFill/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68" name="Oval 53"/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5343525" y="5264150"/>
                <a:ext cx="133194" cy="139700"/>
              </a:xfrm>
              <a:prstGeom prst="ellipse">
                <a:avLst/>
              </a:prstGeom>
              <a:solidFill>
                <a:srgbClr val="7F7149"/>
              </a:solidFill>
              <a:ln w="9525" algn="ctr">
                <a:noFill/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69" name="Oval 36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6188074" y="2514600"/>
                <a:ext cx="136525" cy="139700"/>
              </a:xfrm>
              <a:prstGeom prst="ellipse">
                <a:avLst/>
              </a:prstGeom>
              <a:solidFill>
                <a:srgbClr val="7F7149"/>
              </a:solidFill>
              <a:ln w="9525" algn="ctr">
                <a:noFill/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</p:grpSp>
        <p:sp>
          <p:nvSpPr>
            <p:cNvPr id="161" name="Rectangle 35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7381999" y="3263900"/>
              <a:ext cx="2086905" cy="846000"/>
            </a:xfrm>
            <a:prstGeom prst="rect">
              <a:avLst/>
            </a:prstGeom>
            <a:solidFill>
              <a:srgbClr val="BBAD87">
                <a:alpha val="82745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tIns="27432" bIns="27432" anchor="ctr"/>
            <a:lstStyle/>
            <a:p>
              <a:pPr algn="l"/>
              <a:r>
                <a:rPr lang="en-US" altLang="zh-CN" sz="1200" b="1" dirty="0" smtClean="0">
                  <a:ea typeface="STKaiti" pitchFamily="2" charset="-122"/>
                </a:rPr>
                <a:t>Shoes</a:t>
              </a:r>
              <a:endParaRPr lang="en-US" altLang="zh-CN" sz="1200" b="1" dirty="0">
                <a:ea typeface="STKaiti" pitchFamily="2" charset="-122"/>
              </a:endParaRPr>
            </a:p>
            <a:p>
              <a:pPr algn="l"/>
              <a:r>
                <a:rPr lang="en-US" sz="1000" dirty="0"/>
                <a:t>Shenyang, Shanghai, Hangzhou, Ningbo, Wenzhou, </a:t>
              </a:r>
              <a:r>
                <a:rPr lang="en-US" sz="1000" dirty="0" err="1" smtClean="0"/>
                <a:t>Zhongshan</a:t>
              </a:r>
              <a:r>
                <a:rPr lang="en-US" sz="1000" dirty="0"/>
                <a:t>, Foshan </a:t>
              </a:r>
              <a:endParaRPr lang="en-US" altLang="zh-CN" sz="1000" dirty="0">
                <a:ea typeface="STKaiti" pitchFamily="2" charset="-122"/>
              </a:endParaRPr>
            </a:p>
          </p:txBody>
        </p:sp>
      </p:grpSp>
      <p:grpSp>
        <p:nvGrpSpPr>
          <p:cNvPr id="9" name="Group 101"/>
          <p:cNvGrpSpPr/>
          <p:nvPr>
            <p:custDataLst>
              <p:tags r:id="rId13"/>
            </p:custDataLst>
          </p:nvPr>
        </p:nvGrpSpPr>
        <p:grpSpPr>
          <a:xfrm>
            <a:off x="5037140" y="2819401"/>
            <a:ext cx="4400548" cy="2911475"/>
            <a:chOff x="5190740" y="2514601"/>
            <a:chExt cx="4265853" cy="2911475"/>
          </a:xfrm>
        </p:grpSpPr>
        <p:grpSp>
          <p:nvGrpSpPr>
            <p:cNvPr id="10" name="Group 126"/>
            <p:cNvGrpSpPr/>
            <p:nvPr/>
          </p:nvGrpSpPr>
          <p:grpSpPr>
            <a:xfrm>
              <a:off x="5190740" y="2514601"/>
              <a:ext cx="1014139" cy="2911475"/>
              <a:chOff x="5278438" y="2514600"/>
              <a:chExt cx="1046161" cy="2911475"/>
            </a:xfrm>
          </p:grpSpPr>
          <p:sp>
            <p:nvSpPr>
              <p:cNvPr id="174" name="Oval 50"/>
              <p:cNvSpPr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5278438" y="5215254"/>
                <a:ext cx="136523" cy="136209"/>
              </a:xfrm>
              <a:prstGeom prst="ellipse">
                <a:avLst/>
              </a:prstGeom>
              <a:solidFill>
                <a:schemeClr val="hlink"/>
              </a:solidFill>
              <a:ln w="9525" algn="ctr">
                <a:solidFill>
                  <a:schemeClr val="hlink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75" name="Oval 53"/>
              <p:cNvSpPr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5343525" y="5264150"/>
                <a:ext cx="133194" cy="139700"/>
              </a:xfrm>
              <a:prstGeom prst="ellipse">
                <a:avLst/>
              </a:prstGeom>
              <a:solidFill>
                <a:schemeClr val="hlink"/>
              </a:solidFill>
              <a:ln w="9525" algn="ctr">
                <a:solidFill>
                  <a:schemeClr val="hlink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76" name="Oval 47"/>
              <p:cNvSpPr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6176963" y="4308475"/>
                <a:ext cx="136523" cy="139700"/>
              </a:xfrm>
              <a:prstGeom prst="ellipse">
                <a:avLst/>
              </a:prstGeom>
              <a:solidFill>
                <a:schemeClr val="hlink"/>
              </a:solidFill>
              <a:ln w="9525" algn="ctr">
                <a:solidFill>
                  <a:schemeClr val="hlink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77" name="Oval 36"/>
              <p:cNvSpPr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6188074" y="2514600"/>
                <a:ext cx="136525" cy="139700"/>
              </a:xfrm>
              <a:prstGeom prst="ellipse">
                <a:avLst/>
              </a:prstGeom>
              <a:solidFill>
                <a:schemeClr val="hlink"/>
              </a:solidFill>
              <a:ln w="9525" algn="ctr">
                <a:solidFill>
                  <a:schemeClr val="hlink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78" name="Oval 52"/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5507038" y="5286375"/>
                <a:ext cx="133194" cy="139700"/>
              </a:xfrm>
              <a:prstGeom prst="ellipse">
                <a:avLst/>
              </a:prstGeom>
              <a:solidFill>
                <a:schemeClr val="hlink"/>
              </a:solidFill>
              <a:ln w="9525" algn="ctr">
                <a:solidFill>
                  <a:schemeClr val="hlink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79" name="Oval 51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5432425" y="5218113"/>
                <a:ext cx="133194" cy="139700"/>
              </a:xfrm>
              <a:prstGeom prst="ellipse">
                <a:avLst/>
              </a:prstGeom>
              <a:solidFill>
                <a:schemeClr val="hlink"/>
              </a:solidFill>
              <a:ln w="9525" algn="ctr">
                <a:solidFill>
                  <a:schemeClr val="hlink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</p:grpSp>
        <p:sp>
          <p:nvSpPr>
            <p:cNvPr id="172" name="Rectangle 35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7369687" y="4184650"/>
              <a:ext cx="2086906" cy="846000"/>
            </a:xfrm>
            <a:prstGeom prst="rect">
              <a:avLst/>
            </a:prstGeom>
            <a:solidFill>
              <a:schemeClr val="folHlink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tIns="27432" bIns="27432" anchor="ctr"/>
            <a:lstStyle/>
            <a:p>
              <a:pPr algn="l"/>
              <a:r>
                <a:rPr lang="en-US" altLang="zh-CN" sz="1200" b="1" dirty="0" smtClean="0">
                  <a:ea typeface="STKaiti" pitchFamily="2" charset="-122"/>
                </a:rPr>
                <a:t>Furniture</a:t>
              </a:r>
              <a:endParaRPr lang="en-US" altLang="zh-CN" sz="1200" b="1" dirty="0">
                <a:ea typeface="STKaiti" pitchFamily="2" charset="-122"/>
              </a:endParaRPr>
            </a:p>
            <a:p>
              <a:pPr algn="l"/>
              <a:r>
                <a:rPr lang="en-US" sz="1000" dirty="0"/>
                <a:t>Shenyang, Shaoxing , Shenzhen, Zhongshan, Foshan , Dongguan </a:t>
              </a:r>
              <a:endParaRPr lang="en-US" altLang="zh-CN" sz="1000" dirty="0">
                <a:ea typeface="STKaiti" pitchFamily="2" charset="-122"/>
              </a:endParaRPr>
            </a:p>
          </p:txBody>
        </p:sp>
      </p:grpSp>
      <p:grpSp>
        <p:nvGrpSpPr>
          <p:cNvPr id="11" name="Group 179"/>
          <p:cNvGrpSpPr/>
          <p:nvPr>
            <p:custDataLst>
              <p:tags r:id="rId14"/>
            </p:custDataLst>
          </p:nvPr>
        </p:nvGrpSpPr>
        <p:grpSpPr>
          <a:xfrm>
            <a:off x="4787900" y="5408706"/>
            <a:ext cx="4649788" cy="846000"/>
            <a:chOff x="4949129" y="5130800"/>
            <a:chExt cx="4507464" cy="846000"/>
          </a:xfrm>
        </p:grpSpPr>
        <p:grpSp>
          <p:nvGrpSpPr>
            <p:cNvPr id="12" name="Group 135"/>
            <p:cNvGrpSpPr/>
            <p:nvPr/>
          </p:nvGrpSpPr>
          <p:grpSpPr>
            <a:xfrm>
              <a:off x="5095327" y="5294313"/>
              <a:ext cx="378571" cy="211136"/>
              <a:chOff x="5256213" y="5294313"/>
              <a:chExt cx="390525" cy="211136"/>
            </a:xfrm>
          </p:grpSpPr>
          <p:sp>
            <p:nvSpPr>
              <p:cNvPr id="184" name="Oval 52"/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5507038" y="5362575"/>
                <a:ext cx="139700" cy="139700"/>
              </a:xfrm>
              <a:prstGeom prst="ellipse">
                <a:avLst/>
              </a:prstGeom>
              <a:solidFill>
                <a:schemeClr val="accent5">
                  <a:lumMod val="50000"/>
                </a:schemeClr>
              </a:solidFill>
              <a:ln w="9525" algn="ctr">
                <a:noFill/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85" name="Oval 51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5432425" y="5294313"/>
                <a:ext cx="139700" cy="139700"/>
              </a:xfrm>
              <a:prstGeom prst="ellipse">
                <a:avLst/>
              </a:prstGeom>
              <a:solidFill>
                <a:schemeClr val="accent5">
                  <a:lumMod val="50000"/>
                </a:schemeClr>
              </a:solidFill>
              <a:ln w="9525" algn="ctr">
                <a:noFill/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  <p:sp>
            <p:nvSpPr>
              <p:cNvPr id="186" name="Oval 55"/>
              <p:cNvSpPr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5256213" y="5365749"/>
                <a:ext cx="139700" cy="139700"/>
              </a:xfrm>
              <a:prstGeom prst="ellipse">
                <a:avLst/>
              </a:prstGeom>
              <a:solidFill>
                <a:schemeClr val="accent5">
                  <a:lumMod val="50000"/>
                </a:schemeClr>
              </a:solidFill>
              <a:ln w="9525" algn="ctr">
                <a:noFill/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endParaRPr lang="zh-TW" altLang="en-US">
                  <a:ea typeface="PMingLiU" pitchFamily="18" charset="-120"/>
                </a:endParaRPr>
              </a:p>
            </p:txBody>
          </p:sp>
        </p:grpSp>
        <p:sp>
          <p:nvSpPr>
            <p:cNvPr id="182" name="Rectangle 3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7369687" y="5130800"/>
              <a:ext cx="2086906" cy="846000"/>
            </a:xfrm>
            <a:prstGeom prst="rect">
              <a:avLst/>
            </a:prstGeom>
            <a:solidFill>
              <a:srgbClr val="79A2B3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tIns="27432" bIns="27432" anchor="ctr"/>
            <a:lstStyle/>
            <a:p>
              <a:pPr algn="l"/>
              <a:r>
                <a:rPr lang="en-US" altLang="zh-CN" sz="1200" b="1" dirty="0" smtClean="0">
                  <a:ea typeface="STKaiti" pitchFamily="2" charset="-122"/>
                </a:rPr>
                <a:t>Computers</a:t>
              </a:r>
              <a:endParaRPr lang="en-US" altLang="zh-CN" sz="1200" b="1" dirty="0">
                <a:ea typeface="STKaiti" pitchFamily="2" charset="-122"/>
              </a:endParaRPr>
            </a:p>
            <a:p>
              <a:pPr algn="l"/>
              <a:r>
                <a:rPr lang="en-US" sz="1000" dirty="0"/>
                <a:t>Shenzhen, </a:t>
              </a:r>
              <a:r>
                <a:rPr lang="en-US" sz="1000" dirty="0" smtClean="0"/>
                <a:t>Jiangmen, </a:t>
              </a:r>
              <a:r>
                <a:rPr lang="en-US" sz="1000" dirty="0"/>
                <a:t>Dongguan </a:t>
              </a:r>
              <a:endParaRPr lang="en-US" altLang="zh-CN" sz="1000" dirty="0">
                <a:ea typeface="STKaiti" pitchFamily="2" charset="-122"/>
              </a:endParaRPr>
            </a:p>
          </p:txBody>
        </p:sp>
        <p:sp>
          <p:nvSpPr>
            <p:cNvPr id="183" name="Rectangle 182"/>
            <p:cNvSpPr/>
            <p:nvPr/>
          </p:nvSpPr>
          <p:spPr bwMode="auto">
            <a:xfrm>
              <a:off x="4949129" y="5181600"/>
              <a:ext cx="664808" cy="381000"/>
            </a:xfrm>
            <a:prstGeom prst="rect">
              <a:avLst/>
            </a:prstGeom>
            <a:noFill/>
            <a:ln w="25400" cap="flat" cmpd="sng" algn="ctr">
              <a:solidFill>
                <a:srgbClr val="0070C0"/>
              </a:solidFill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xit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0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8" grpId="0" animBg="1"/>
      <p:bldP spid="173" grpId="0" animBg="1"/>
      <p:bldP spid="146" grpId="0" animBg="1"/>
      <p:bldP spid="14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/>
        </p:nvGraphicFramePr>
        <p:xfrm>
          <a:off x="0" y="0"/>
          <a:ext cx="163763" cy="158750"/>
        </p:xfrm>
        <a:graphic>
          <a:graphicData uri="http://schemas.openxmlformats.org/presentationml/2006/ole">
            <p:oleObj spid="_x0000_s62466" name="think-cell Slide" r:id="rId124" imgW="360" imgH="360" progId="TCLayout.ActiveDocument.1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63763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80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04" name="Rectangle 103"/>
          <p:cNvSpPr/>
          <p:nvPr>
            <p:custDataLst>
              <p:tags r:id="rId3"/>
            </p:custDataLst>
          </p:nvPr>
        </p:nvSpPr>
        <p:spPr bwMode="gray">
          <a:xfrm>
            <a:off x="9021916" y="2049462"/>
            <a:ext cx="629668" cy="3067112"/>
          </a:xfrm>
          <a:prstGeom prst="rect">
            <a:avLst/>
          </a:prstGeom>
          <a:solidFill>
            <a:srgbClr val="F9DFB5"/>
          </a:solidFill>
          <a:ln w="9525">
            <a:solidFill>
              <a:srgbClr val="F9DFB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en-US" dirty="0" smtClean="0"/>
              <a:t>But the US currently makes ~ 75% of the manufactured goods it consumes, maintaining a robust manufacturing base</a:t>
            </a:r>
            <a:endParaRPr lang="en-US" dirty="0"/>
          </a:p>
        </p:txBody>
      </p:sp>
      <p:sp>
        <p:nvSpPr>
          <p:cNvPr id="81" name="BCG_FootNote_Box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76247" y="6333386"/>
            <a:ext cx="8959295" cy="3286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000000"/>
                </a:solidFill>
              </a:rPr>
              <a:t>1. Goods consumed = production (value of final and intermediate goods) + imports (CIF basis) -exports (CIF basis)  2. Net US = production (value of final and intermediate goods) -exports</a:t>
            </a: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000000"/>
                </a:solidFill>
              </a:rPr>
              <a:t>Source: National Census Bureau; BEA; BCG analysis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2" name="Rectangle 2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9015650" y="2081212"/>
            <a:ext cx="786060" cy="2971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r>
              <a:rPr lang="en-US" sz="1100" b="1" i="1" dirty="0" smtClean="0"/>
              <a:t>Made </a:t>
            </a:r>
          </a:p>
          <a:p>
            <a:r>
              <a:rPr lang="en-US" sz="1100" b="1" i="1" dirty="0" smtClean="0"/>
              <a:t>in:</a:t>
            </a:r>
            <a:endParaRPr lang="en-US" sz="1100" i="1" dirty="0"/>
          </a:p>
        </p:txBody>
      </p:sp>
      <p:sp>
        <p:nvSpPr>
          <p:cNvPr id="309" name="Rectangle 308"/>
          <p:cNvSpPr/>
          <p:nvPr>
            <p:custDataLst>
              <p:tags r:id="rId7"/>
            </p:custDataLst>
          </p:nvPr>
        </p:nvSpPr>
        <p:spPr bwMode="gray">
          <a:xfrm>
            <a:off x="7970325" y="3829050"/>
            <a:ext cx="817562" cy="1266825"/>
          </a:xfrm>
          <a:prstGeom prst="rect">
            <a:avLst/>
          </a:prstGeom>
          <a:solidFill>
            <a:schemeClr val="hlink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59" name="Rectangle 258"/>
          <p:cNvSpPr/>
          <p:nvPr>
            <p:custDataLst>
              <p:tags r:id="rId8"/>
            </p:custDataLst>
          </p:nvPr>
        </p:nvSpPr>
        <p:spPr bwMode="gray">
          <a:xfrm>
            <a:off x="3738700" y="2287587"/>
            <a:ext cx="175225" cy="203200"/>
          </a:xfrm>
          <a:prstGeom prst="rect">
            <a:avLst/>
          </a:prstGeom>
          <a:solidFill>
            <a:srgbClr val="F9EFBD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58" name="Rectangle 257"/>
          <p:cNvSpPr/>
          <p:nvPr>
            <p:custDataLst>
              <p:tags r:id="rId9"/>
            </p:custDataLst>
          </p:nvPr>
        </p:nvSpPr>
        <p:spPr bwMode="gray">
          <a:xfrm>
            <a:off x="3738700" y="2185987"/>
            <a:ext cx="175225" cy="101600"/>
          </a:xfrm>
          <a:prstGeom prst="rect">
            <a:avLst/>
          </a:prstGeom>
          <a:solidFill>
            <a:srgbClr val="D2E0E6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57" name="Rectangle 256"/>
          <p:cNvSpPr/>
          <p:nvPr>
            <p:custDataLst>
              <p:tags r:id="rId10"/>
            </p:custDataLst>
          </p:nvPr>
        </p:nvSpPr>
        <p:spPr bwMode="gray">
          <a:xfrm>
            <a:off x="3738700" y="2051050"/>
            <a:ext cx="175225" cy="134937"/>
          </a:xfrm>
          <a:prstGeom prst="rect">
            <a:avLst/>
          </a:prstGeom>
          <a:solidFill>
            <a:srgbClr val="79A2B3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55" name="Rectangle 254"/>
          <p:cNvSpPr/>
          <p:nvPr>
            <p:custDataLst>
              <p:tags r:id="rId11"/>
            </p:custDataLst>
          </p:nvPr>
        </p:nvSpPr>
        <p:spPr bwMode="gray">
          <a:xfrm>
            <a:off x="3181907" y="2452687"/>
            <a:ext cx="556793" cy="2643187"/>
          </a:xfrm>
          <a:prstGeom prst="rect">
            <a:avLst/>
          </a:prstGeom>
          <a:solidFill>
            <a:schemeClr val="hlink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54" name="Rectangle 253"/>
          <p:cNvSpPr/>
          <p:nvPr>
            <p:custDataLst>
              <p:tags r:id="rId12"/>
            </p:custDataLst>
          </p:nvPr>
        </p:nvSpPr>
        <p:spPr bwMode="gray">
          <a:xfrm>
            <a:off x="3181907" y="2239962"/>
            <a:ext cx="556793" cy="212725"/>
          </a:xfrm>
          <a:prstGeom prst="rect">
            <a:avLst/>
          </a:prstGeom>
          <a:solidFill>
            <a:srgbClr val="F9EFBD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53" name="Rectangle 252"/>
          <p:cNvSpPr/>
          <p:nvPr>
            <p:custDataLst>
              <p:tags r:id="rId13"/>
            </p:custDataLst>
          </p:nvPr>
        </p:nvSpPr>
        <p:spPr bwMode="gray">
          <a:xfrm>
            <a:off x="3181907" y="2166937"/>
            <a:ext cx="556793" cy="73025"/>
          </a:xfrm>
          <a:prstGeom prst="rect">
            <a:avLst/>
          </a:prstGeom>
          <a:solidFill>
            <a:srgbClr val="D2E0E6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52" name="Rectangle 251"/>
          <p:cNvSpPr/>
          <p:nvPr>
            <p:custDataLst>
              <p:tags r:id="rId14"/>
            </p:custDataLst>
          </p:nvPr>
        </p:nvSpPr>
        <p:spPr bwMode="gray">
          <a:xfrm>
            <a:off x="3181907" y="2051050"/>
            <a:ext cx="556793" cy="115887"/>
          </a:xfrm>
          <a:prstGeom prst="rect">
            <a:avLst/>
          </a:prstGeom>
          <a:solidFill>
            <a:srgbClr val="79A2B3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50" name="Rectangle 249"/>
          <p:cNvSpPr/>
          <p:nvPr>
            <p:custDataLst>
              <p:tags r:id="rId15"/>
            </p:custDataLst>
          </p:nvPr>
        </p:nvSpPr>
        <p:spPr bwMode="gray">
          <a:xfrm>
            <a:off x="2901873" y="2425700"/>
            <a:ext cx="280034" cy="2670175"/>
          </a:xfrm>
          <a:prstGeom prst="rect">
            <a:avLst/>
          </a:prstGeom>
          <a:solidFill>
            <a:schemeClr val="hlink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49" name="Rectangle 248"/>
          <p:cNvSpPr/>
          <p:nvPr>
            <p:custDataLst>
              <p:tags r:id="rId16"/>
            </p:custDataLst>
          </p:nvPr>
        </p:nvSpPr>
        <p:spPr bwMode="gray">
          <a:xfrm>
            <a:off x="2901873" y="2147887"/>
            <a:ext cx="280034" cy="277812"/>
          </a:xfrm>
          <a:prstGeom prst="rect">
            <a:avLst/>
          </a:prstGeom>
          <a:solidFill>
            <a:srgbClr val="F9EFBD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48" name="Rectangle 247"/>
          <p:cNvSpPr/>
          <p:nvPr>
            <p:custDataLst>
              <p:tags r:id="rId17"/>
            </p:custDataLst>
          </p:nvPr>
        </p:nvSpPr>
        <p:spPr bwMode="gray">
          <a:xfrm>
            <a:off x="2901873" y="2101850"/>
            <a:ext cx="280034" cy="46037"/>
          </a:xfrm>
          <a:prstGeom prst="rect">
            <a:avLst/>
          </a:prstGeom>
          <a:solidFill>
            <a:srgbClr val="D2E0E6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19" name="Rectangle 318"/>
          <p:cNvSpPr/>
          <p:nvPr>
            <p:custDataLst>
              <p:tags r:id="rId18"/>
            </p:custDataLst>
          </p:nvPr>
        </p:nvSpPr>
        <p:spPr bwMode="gray">
          <a:xfrm>
            <a:off x="2901873" y="2051050"/>
            <a:ext cx="280034" cy="50800"/>
          </a:xfrm>
          <a:prstGeom prst="rect">
            <a:avLst/>
          </a:prstGeom>
          <a:solidFill>
            <a:srgbClr val="79A2B3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12" name="Rectangle 211"/>
          <p:cNvSpPr/>
          <p:nvPr>
            <p:custDataLst>
              <p:tags r:id="rId19"/>
            </p:custDataLst>
          </p:nvPr>
        </p:nvSpPr>
        <p:spPr bwMode="gray">
          <a:xfrm>
            <a:off x="2751211" y="2184400"/>
            <a:ext cx="150662" cy="238125"/>
          </a:xfrm>
          <a:prstGeom prst="rect">
            <a:avLst/>
          </a:prstGeom>
          <a:solidFill>
            <a:srgbClr val="F9EFBD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74" name="Rectangle 273"/>
          <p:cNvSpPr/>
          <p:nvPr>
            <p:custDataLst>
              <p:tags r:id="rId20"/>
            </p:custDataLst>
          </p:nvPr>
        </p:nvSpPr>
        <p:spPr bwMode="gray">
          <a:xfrm>
            <a:off x="5325560" y="2306637"/>
            <a:ext cx="346075" cy="628650"/>
          </a:xfrm>
          <a:prstGeom prst="rect">
            <a:avLst/>
          </a:prstGeom>
          <a:solidFill>
            <a:srgbClr val="F9EFBD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11" name="Rectangle 210"/>
          <p:cNvSpPr/>
          <p:nvPr>
            <p:custDataLst>
              <p:tags r:id="rId21"/>
            </p:custDataLst>
          </p:nvPr>
        </p:nvSpPr>
        <p:spPr bwMode="gray">
          <a:xfrm>
            <a:off x="2751211" y="2138362"/>
            <a:ext cx="150662" cy="46037"/>
          </a:xfrm>
          <a:prstGeom prst="rect">
            <a:avLst/>
          </a:prstGeom>
          <a:solidFill>
            <a:srgbClr val="D2E0E6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10" name="Rectangle 209"/>
          <p:cNvSpPr/>
          <p:nvPr>
            <p:custDataLst>
              <p:tags r:id="rId22"/>
            </p:custDataLst>
          </p:nvPr>
        </p:nvSpPr>
        <p:spPr bwMode="gray">
          <a:xfrm>
            <a:off x="2751211" y="2051050"/>
            <a:ext cx="150662" cy="87312"/>
          </a:xfrm>
          <a:prstGeom prst="rect">
            <a:avLst/>
          </a:prstGeom>
          <a:solidFill>
            <a:srgbClr val="79A2B3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44" name="Rectangle 243"/>
          <p:cNvSpPr/>
          <p:nvPr>
            <p:custDataLst>
              <p:tags r:id="rId23"/>
            </p:custDataLst>
          </p:nvPr>
        </p:nvSpPr>
        <p:spPr bwMode="gray">
          <a:xfrm>
            <a:off x="1883270" y="2401887"/>
            <a:ext cx="867942" cy="2693987"/>
          </a:xfrm>
          <a:prstGeom prst="rect">
            <a:avLst/>
          </a:prstGeom>
          <a:solidFill>
            <a:schemeClr val="hlink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09" name="Rectangle 208"/>
          <p:cNvSpPr/>
          <p:nvPr>
            <p:custDataLst>
              <p:tags r:id="rId24"/>
            </p:custDataLst>
          </p:nvPr>
        </p:nvSpPr>
        <p:spPr bwMode="gray">
          <a:xfrm>
            <a:off x="1883270" y="2135187"/>
            <a:ext cx="867942" cy="266700"/>
          </a:xfrm>
          <a:prstGeom prst="rect">
            <a:avLst/>
          </a:prstGeom>
          <a:solidFill>
            <a:srgbClr val="F9EFBD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08" name="Rectangle 207"/>
          <p:cNvSpPr/>
          <p:nvPr>
            <p:custDataLst>
              <p:tags r:id="rId25"/>
            </p:custDataLst>
          </p:nvPr>
        </p:nvSpPr>
        <p:spPr bwMode="gray">
          <a:xfrm>
            <a:off x="1883270" y="2051050"/>
            <a:ext cx="867942" cy="84137"/>
          </a:xfrm>
          <a:prstGeom prst="rect">
            <a:avLst/>
          </a:prstGeom>
          <a:solidFill>
            <a:srgbClr val="D2E0E6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43" name="Rectangle 242"/>
          <p:cNvSpPr/>
          <p:nvPr>
            <p:custDataLst>
              <p:tags r:id="rId26"/>
            </p:custDataLst>
          </p:nvPr>
        </p:nvSpPr>
        <p:spPr bwMode="gray">
          <a:xfrm>
            <a:off x="522400" y="2262187"/>
            <a:ext cx="1360867" cy="2833688"/>
          </a:xfrm>
          <a:prstGeom prst="rect">
            <a:avLst/>
          </a:prstGeom>
          <a:solidFill>
            <a:schemeClr val="hlink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06" name="Rectangle 205"/>
          <p:cNvSpPr/>
          <p:nvPr>
            <p:custDataLst>
              <p:tags r:id="rId27"/>
            </p:custDataLst>
          </p:nvPr>
        </p:nvSpPr>
        <p:spPr bwMode="gray">
          <a:xfrm>
            <a:off x="522400" y="2111375"/>
            <a:ext cx="1360867" cy="150812"/>
          </a:xfrm>
          <a:prstGeom prst="rect">
            <a:avLst/>
          </a:prstGeom>
          <a:solidFill>
            <a:srgbClr val="F9EFBD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05" name="Rectangle 204"/>
          <p:cNvSpPr/>
          <p:nvPr>
            <p:custDataLst>
              <p:tags r:id="rId28"/>
            </p:custDataLst>
          </p:nvPr>
        </p:nvSpPr>
        <p:spPr bwMode="gray">
          <a:xfrm>
            <a:off x="522400" y="2060575"/>
            <a:ext cx="1360867" cy="50800"/>
          </a:xfrm>
          <a:prstGeom prst="rect">
            <a:avLst/>
          </a:prstGeom>
          <a:solidFill>
            <a:srgbClr val="D2E0E6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13" name="Rectangle 312"/>
          <p:cNvSpPr/>
          <p:nvPr>
            <p:custDataLst>
              <p:tags r:id="rId29"/>
            </p:custDataLst>
          </p:nvPr>
        </p:nvSpPr>
        <p:spPr bwMode="gray">
          <a:xfrm>
            <a:off x="8789138" y="4772025"/>
            <a:ext cx="189965" cy="323850"/>
          </a:xfrm>
          <a:prstGeom prst="rect">
            <a:avLst/>
          </a:prstGeom>
          <a:solidFill>
            <a:schemeClr val="hlink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12" name="Rectangle 311"/>
          <p:cNvSpPr/>
          <p:nvPr>
            <p:custDataLst>
              <p:tags r:id="rId30"/>
            </p:custDataLst>
          </p:nvPr>
        </p:nvSpPr>
        <p:spPr bwMode="gray">
          <a:xfrm>
            <a:off x="8789138" y="4051300"/>
            <a:ext cx="189965" cy="720725"/>
          </a:xfrm>
          <a:prstGeom prst="rect">
            <a:avLst/>
          </a:prstGeom>
          <a:solidFill>
            <a:srgbClr val="F9EFBD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11" name="Rectangle 310"/>
          <p:cNvSpPr/>
          <p:nvPr>
            <p:custDataLst>
              <p:tags r:id="rId31"/>
            </p:custDataLst>
          </p:nvPr>
        </p:nvSpPr>
        <p:spPr bwMode="gray">
          <a:xfrm>
            <a:off x="8789138" y="3367087"/>
            <a:ext cx="189965" cy="684212"/>
          </a:xfrm>
          <a:prstGeom prst="rect">
            <a:avLst/>
          </a:prstGeom>
          <a:solidFill>
            <a:srgbClr val="D2E0E6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10" name="Rectangle 309"/>
          <p:cNvSpPr/>
          <p:nvPr>
            <p:custDataLst>
              <p:tags r:id="rId32"/>
            </p:custDataLst>
          </p:nvPr>
        </p:nvSpPr>
        <p:spPr bwMode="gray">
          <a:xfrm>
            <a:off x="8789138" y="2051050"/>
            <a:ext cx="189965" cy="1316037"/>
          </a:xfrm>
          <a:prstGeom prst="rect">
            <a:avLst/>
          </a:prstGeom>
          <a:solidFill>
            <a:srgbClr val="79A2B3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04" name="Rectangle 203"/>
          <p:cNvSpPr/>
          <p:nvPr>
            <p:custDataLst>
              <p:tags r:id="rId33"/>
            </p:custDataLst>
          </p:nvPr>
        </p:nvSpPr>
        <p:spPr bwMode="gray">
          <a:xfrm>
            <a:off x="522400" y="2051050"/>
            <a:ext cx="1360867" cy="9525"/>
          </a:xfrm>
          <a:prstGeom prst="rect">
            <a:avLst/>
          </a:prstGeom>
          <a:solidFill>
            <a:schemeClr val="hlink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08" name="Rectangle 307"/>
          <p:cNvSpPr/>
          <p:nvPr>
            <p:custDataLst>
              <p:tags r:id="rId34"/>
            </p:custDataLst>
          </p:nvPr>
        </p:nvSpPr>
        <p:spPr bwMode="gray">
          <a:xfrm>
            <a:off x="7970325" y="3214687"/>
            <a:ext cx="817562" cy="614362"/>
          </a:xfrm>
          <a:prstGeom prst="rect">
            <a:avLst/>
          </a:prstGeom>
          <a:solidFill>
            <a:srgbClr val="F9EFBD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07" name="Rectangle 306"/>
          <p:cNvSpPr/>
          <p:nvPr>
            <p:custDataLst>
              <p:tags r:id="rId35"/>
            </p:custDataLst>
          </p:nvPr>
        </p:nvSpPr>
        <p:spPr bwMode="gray">
          <a:xfrm>
            <a:off x="7970325" y="2743200"/>
            <a:ext cx="817562" cy="471487"/>
          </a:xfrm>
          <a:prstGeom prst="rect">
            <a:avLst/>
          </a:prstGeom>
          <a:solidFill>
            <a:srgbClr val="D2E0E6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06" name="Rectangle 305"/>
          <p:cNvSpPr/>
          <p:nvPr>
            <p:custDataLst>
              <p:tags r:id="rId36"/>
            </p:custDataLst>
          </p:nvPr>
        </p:nvSpPr>
        <p:spPr bwMode="gray">
          <a:xfrm>
            <a:off x="7970325" y="2051050"/>
            <a:ext cx="817562" cy="692150"/>
          </a:xfrm>
          <a:prstGeom prst="rect">
            <a:avLst/>
          </a:prstGeom>
          <a:solidFill>
            <a:srgbClr val="79A2B3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04" name="Rectangle 303"/>
          <p:cNvSpPr/>
          <p:nvPr>
            <p:custDataLst>
              <p:tags r:id="rId37"/>
            </p:custDataLst>
          </p:nvPr>
        </p:nvSpPr>
        <p:spPr bwMode="gray">
          <a:xfrm>
            <a:off x="7653337" y="3482975"/>
            <a:ext cx="317500" cy="1612900"/>
          </a:xfrm>
          <a:prstGeom prst="rect">
            <a:avLst/>
          </a:prstGeom>
          <a:solidFill>
            <a:schemeClr val="hlink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03" name="Rectangle 302"/>
          <p:cNvSpPr/>
          <p:nvPr>
            <p:custDataLst>
              <p:tags r:id="rId38"/>
            </p:custDataLst>
          </p:nvPr>
        </p:nvSpPr>
        <p:spPr bwMode="gray">
          <a:xfrm>
            <a:off x="7653337" y="2903537"/>
            <a:ext cx="317500" cy="579437"/>
          </a:xfrm>
          <a:prstGeom prst="rect">
            <a:avLst/>
          </a:prstGeom>
          <a:solidFill>
            <a:srgbClr val="F9EFBD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02" name="Rectangle 301"/>
          <p:cNvSpPr/>
          <p:nvPr>
            <p:custDataLst>
              <p:tags r:id="rId39"/>
            </p:custDataLst>
          </p:nvPr>
        </p:nvSpPr>
        <p:spPr bwMode="gray">
          <a:xfrm>
            <a:off x="7653337" y="2641600"/>
            <a:ext cx="317500" cy="261937"/>
          </a:xfrm>
          <a:prstGeom prst="rect">
            <a:avLst/>
          </a:prstGeom>
          <a:solidFill>
            <a:srgbClr val="D2E0E6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01" name="Rectangle 300"/>
          <p:cNvSpPr/>
          <p:nvPr>
            <p:custDataLst>
              <p:tags r:id="rId40"/>
            </p:custDataLst>
          </p:nvPr>
        </p:nvSpPr>
        <p:spPr bwMode="gray">
          <a:xfrm>
            <a:off x="7653337" y="2051050"/>
            <a:ext cx="317500" cy="590550"/>
          </a:xfrm>
          <a:prstGeom prst="rect">
            <a:avLst/>
          </a:prstGeom>
          <a:solidFill>
            <a:srgbClr val="79A2B3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99" name="Rectangle 298"/>
          <p:cNvSpPr/>
          <p:nvPr>
            <p:custDataLst>
              <p:tags r:id="rId41"/>
            </p:custDataLst>
          </p:nvPr>
        </p:nvSpPr>
        <p:spPr bwMode="gray">
          <a:xfrm>
            <a:off x="7423358" y="3405187"/>
            <a:ext cx="230905" cy="1690687"/>
          </a:xfrm>
          <a:prstGeom prst="rect">
            <a:avLst/>
          </a:prstGeom>
          <a:solidFill>
            <a:schemeClr val="hlink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98" name="Rectangle 297"/>
          <p:cNvSpPr/>
          <p:nvPr>
            <p:custDataLst>
              <p:tags r:id="rId42"/>
            </p:custDataLst>
          </p:nvPr>
        </p:nvSpPr>
        <p:spPr bwMode="gray">
          <a:xfrm>
            <a:off x="7423358" y="2936875"/>
            <a:ext cx="230905" cy="468312"/>
          </a:xfrm>
          <a:prstGeom prst="rect">
            <a:avLst/>
          </a:prstGeom>
          <a:solidFill>
            <a:srgbClr val="F9EFBD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97" name="Rectangle 296"/>
          <p:cNvSpPr/>
          <p:nvPr>
            <p:custDataLst>
              <p:tags r:id="rId43"/>
            </p:custDataLst>
          </p:nvPr>
        </p:nvSpPr>
        <p:spPr bwMode="gray">
          <a:xfrm>
            <a:off x="7423358" y="2547937"/>
            <a:ext cx="230905" cy="388937"/>
          </a:xfrm>
          <a:prstGeom prst="rect">
            <a:avLst/>
          </a:prstGeom>
          <a:solidFill>
            <a:srgbClr val="D2E0E6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96" name="Rectangle 295"/>
          <p:cNvSpPr/>
          <p:nvPr>
            <p:custDataLst>
              <p:tags r:id="rId44"/>
            </p:custDataLst>
          </p:nvPr>
        </p:nvSpPr>
        <p:spPr bwMode="gray">
          <a:xfrm>
            <a:off x="7423358" y="2051050"/>
            <a:ext cx="230905" cy="496887"/>
          </a:xfrm>
          <a:prstGeom prst="rect">
            <a:avLst/>
          </a:prstGeom>
          <a:solidFill>
            <a:srgbClr val="79A2B3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94" name="Rectangle 293"/>
          <p:cNvSpPr/>
          <p:nvPr>
            <p:custDataLst>
              <p:tags r:id="rId45"/>
            </p:custDataLst>
          </p:nvPr>
        </p:nvSpPr>
        <p:spPr bwMode="gray">
          <a:xfrm>
            <a:off x="7002489" y="3200400"/>
            <a:ext cx="420869" cy="1895475"/>
          </a:xfrm>
          <a:prstGeom prst="rect">
            <a:avLst/>
          </a:prstGeom>
          <a:solidFill>
            <a:schemeClr val="hlink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93" name="Rectangle 292"/>
          <p:cNvSpPr/>
          <p:nvPr>
            <p:custDataLst>
              <p:tags r:id="rId46"/>
            </p:custDataLst>
          </p:nvPr>
        </p:nvSpPr>
        <p:spPr bwMode="gray">
          <a:xfrm>
            <a:off x="7002489" y="2392362"/>
            <a:ext cx="420869" cy="808037"/>
          </a:xfrm>
          <a:prstGeom prst="rect">
            <a:avLst/>
          </a:prstGeom>
          <a:solidFill>
            <a:srgbClr val="F9EFBD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92" name="Rectangle 291"/>
          <p:cNvSpPr/>
          <p:nvPr>
            <p:custDataLst>
              <p:tags r:id="rId47"/>
            </p:custDataLst>
          </p:nvPr>
        </p:nvSpPr>
        <p:spPr bwMode="gray">
          <a:xfrm>
            <a:off x="7002489" y="2236787"/>
            <a:ext cx="420869" cy="155575"/>
          </a:xfrm>
          <a:prstGeom prst="rect">
            <a:avLst/>
          </a:prstGeom>
          <a:solidFill>
            <a:srgbClr val="D2E0E6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91" name="Rectangle 290"/>
          <p:cNvSpPr/>
          <p:nvPr>
            <p:custDataLst>
              <p:tags r:id="rId48"/>
            </p:custDataLst>
          </p:nvPr>
        </p:nvSpPr>
        <p:spPr bwMode="gray">
          <a:xfrm>
            <a:off x="7002489" y="2051050"/>
            <a:ext cx="420869" cy="185737"/>
          </a:xfrm>
          <a:prstGeom prst="rect">
            <a:avLst/>
          </a:prstGeom>
          <a:solidFill>
            <a:srgbClr val="79A2B3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89" name="Rectangle 288"/>
          <p:cNvSpPr/>
          <p:nvPr>
            <p:custDataLst>
              <p:tags r:id="rId49"/>
            </p:custDataLst>
          </p:nvPr>
        </p:nvSpPr>
        <p:spPr bwMode="gray">
          <a:xfrm>
            <a:off x="6902593" y="3113087"/>
            <a:ext cx="99895" cy="1982787"/>
          </a:xfrm>
          <a:prstGeom prst="rect">
            <a:avLst/>
          </a:prstGeom>
          <a:solidFill>
            <a:schemeClr val="hlink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88" name="Rectangle 287"/>
          <p:cNvSpPr/>
          <p:nvPr>
            <p:custDataLst>
              <p:tags r:id="rId50"/>
            </p:custDataLst>
          </p:nvPr>
        </p:nvSpPr>
        <p:spPr bwMode="gray">
          <a:xfrm>
            <a:off x="6902593" y="2719387"/>
            <a:ext cx="99895" cy="393700"/>
          </a:xfrm>
          <a:prstGeom prst="rect">
            <a:avLst/>
          </a:prstGeom>
          <a:solidFill>
            <a:srgbClr val="F9EFBD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87" name="Rectangle 286"/>
          <p:cNvSpPr/>
          <p:nvPr>
            <p:custDataLst>
              <p:tags r:id="rId51"/>
            </p:custDataLst>
          </p:nvPr>
        </p:nvSpPr>
        <p:spPr bwMode="gray">
          <a:xfrm>
            <a:off x="6902593" y="2492375"/>
            <a:ext cx="99895" cy="227012"/>
          </a:xfrm>
          <a:prstGeom prst="rect">
            <a:avLst/>
          </a:prstGeom>
          <a:solidFill>
            <a:srgbClr val="D2E0E6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86" name="Rectangle 285"/>
          <p:cNvSpPr/>
          <p:nvPr>
            <p:custDataLst>
              <p:tags r:id="rId52"/>
            </p:custDataLst>
          </p:nvPr>
        </p:nvSpPr>
        <p:spPr bwMode="gray">
          <a:xfrm>
            <a:off x="6902593" y="2051050"/>
            <a:ext cx="99895" cy="441325"/>
          </a:xfrm>
          <a:prstGeom prst="rect">
            <a:avLst/>
          </a:prstGeom>
          <a:solidFill>
            <a:srgbClr val="79A2B3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84" name="Rectangle 283"/>
          <p:cNvSpPr/>
          <p:nvPr>
            <p:custDataLst>
              <p:tags r:id="rId53"/>
            </p:custDataLst>
          </p:nvPr>
        </p:nvSpPr>
        <p:spPr bwMode="gray">
          <a:xfrm>
            <a:off x="5815209" y="2954337"/>
            <a:ext cx="1087384" cy="2141537"/>
          </a:xfrm>
          <a:prstGeom prst="rect">
            <a:avLst/>
          </a:prstGeom>
          <a:solidFill>
            <a:schemeClr val="hlink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83" name="Rectangle 282"/>
          <p:cNvSpPr/>
          <p:nvPr>
            <p:custDataLst>
              <p:tags r:id="rId54"/>
            </p:custDataLst>
          </p:nvPr>
        </p:nvSpPr>
        <p:spPr bwMode="gray">
          <a:xfrm>
            <a:off x="5815209" y="2274887"/>
            <a:ext cx="1087384" cy="679450"/>
          </a:xfrm>
          <a:prstGeom prst="rect">
            <a:avLst/>
          </a:prstGeom>
          <a:solidFill>
            <a:srgbClr val="F9EFBD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82" name="Rectangle 281"/>
          <p:cNvSpPr/>
          <p:nvPr>
            <p:custDataLst>
              <p:tags r:id="rId55"/>
            </p:custDataLst>
          </p:nvPr>
        </p:nvSpPr>
        <p:spPr bwMode="gray">
          <a:xfrm>
            <a:off x="5815209" y="2082800"/>
            <a:ext cx="1087384" cy="192087"/>
          </a:xfrm>
          <a:prstGeom prst="rect">
            <a:avLst/>
          </a:prstGeom>
          <a:solidFill>
            <a:srgbClr val="D2E0E6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81" name="Rectangle 280"/>
          <p:cNvSpPr/>
          <p:nvPr>
            <p:custDataLst>
              <p:tags r:id="rId56"/>
            </p:custDataLst>
          </p:nvPr>
        </p:nvSpPr>
        <p:spPr bwMode="gray">
          <a:xfrm>
            <a:off x="5815209" y="2051050"/>
            <a:ext cx="1087384" cy="31750"/>
          </a:xfrm>
          <a:prstGeom prst="rect">
            <a:avLst/>
          </a:prstGeom>
          <a:solidFill>
            <a:srgbClr val="79A2B3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80" name="Rectangle 279"/>
          <p:cNvSpPr/>
          <p:nvPr>
            <p:custDataLst>
              <p:tags r:id="rId57"/>
            </p:custDataLst>
          </p:nvPr>
        </p:nvSpPr>
        <p:spPr bwMode="gray">
          <a:xfrm>
            <a:off x="5672736" y="2941637"/>
            <a:ext cx="142473" cy="2154237"/>
          </a:xfrm>
          <a:prstGeom prst="rect">
            <a:avLst/>
          </a:prstGeom>
          <a:solidFill>
            <a:schemeClr val="hlink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79" name="Rectangle 278"/>
          <p:cNvSpPr/>
          <p:nvPr>
            <p:custDataLst>
              <p:tags r:id="rId58"/>
            </p:custDataLst>
          </p:nvPr>
        </p:nvSpPr>
        <p:spPr bwMode="gray">
          <a:xfrm>
            <a:off x="5672736" y="2751137"/>
            <a:ext cx="142473" cy="190500"/>
          </a:xfrm>
          <a:prstGeom prst="rect">
            <a:avLst/>
          </a:prstGeom>
          <a:solidFill>
            <a:srgbClr val="F9EFBD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78" name="Rectangle 277"/>
          <p:cNvSpPr/>
          <p:nvPr>
            <p:custDataLst>
              <p:tags r:id="rId59"/>
            </p:custDataLst>
          </p:nvPr>
        </p:nvSpPr>
        <p:spPr bwMode="gray">
          <a:xfrm>
            <a:off x="5672736" y="2570162"/>
            <a:ext cx="142473" cy="180975"/>
          </a:xfrm>
          <a:prstGeom prst="rect">
            <a:avLst/>
          </a:prstGeom>
          <a:solidFill>
            <a:srgbClr val="D2E0E6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77" name="Rectangle 276"/>
          <p:cNvSpPr/>
          <p:nvPr>
            <p:custDataLst>
              <p:tags r:id="rId60"/>
            </p:custDataLst>
          </p:nvPr>
        </p:nvSpPr>
        <p:spPr bwMode="gray">
          <a:xfrm>
            <a:off x="5672736" y="2051050"/>
            <a:ext cx="142473" cy="519112"/>
          </a:xfrm>
          <a:prstGeom prst="rect">
            <a:avLst/>
          </a:prstGeom>
          <a:solidFill>
            <a:srgbClr val="79A2B3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75" name="Rectangle 274"/>
          <p:cNvSpPr/>
          <p:nvPr>
            <p:custDataLst>
              <p:tags r:id="rId61"/>
            </p:custDataLst>
          </p:nvPr>
        </p:nvSpPr>
        <p:spPr bwMode="gray">
          <a:xfrm>
            <a:off x="5325560" y="2935287"/>
            <a:ext cx="346075" cy="2160587"/>
          </a:xfrm>
          <a:prstGeom prst="rect">
            <a:avLst/>
          </a:prstGeom>
          <a:solidFill>
            <a:schemeClr val="hlink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45" name="Rectangle 244"/>
          <p:cNvSpPr/>
          <p:nvPr>
            <p:custDataLst>
              <p:tags r:id="rId62"/>
            </p:custDataLst>
          </p:nvPr>
        </p:nvSpPr>
        <p:spPr bwMode="gray">
          <a:xfrm>
            <a:off x="2751211" y="2422525"/>
            <a:ext cx="150662" cy="2673350"/>
          </a:xfrm>
          <a:prstGeom prst="rect">
            <a:avLst/>
          </a:prstGeom>
          <a:solidFill>
            <a:schemeClr val="hlink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73" name="Rectangle 272"/>
          <p:cNvSpPr/>
          <p:nvPr>
            <p:custDataLst>
              <p:tags r:id="rId63"/>
            </p:custDataLst>
          </p:nvPr>
        </p:nvSpPr>
        <p:spPr bwMode="gray">
          <a:xfrm>
            <a:off x="5325560" y="2112962"/>
            <a:ext cx="346075" cy="193675"/>
          </a:xfrm>
          <a:prstGeom prst="rect">
            <a:avLst/>
          </a:prstGeom>
          <a:solidFill>
            <a:srgbClr val="D2E0E6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72" name="Rectangle 271"/>
          <p:cNvSpPr/>
          <p:nvPr>
            <p:custDataLst>
              <p:tags r:id="rId64"/>
            </p:custDataLst>
          </p:nvPr>
        </p:nvSpPr>
        <p:spPr bwMode="gray">
          <a:xfrm>
            <a:off x="5325560" y="2051050"/>
            <a:ext cx="346075" cy="61912"/>
          </a:xfrm>
          <a:prstGeom prst="rect">
            <a:avLst/>
          </a:prstGeom>
          <a:solidFill>
            <a:srgbClr val="79A2B3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70" name="Rectangle 269"/>
          <p:cNvSpPr/>
          <p:nvPr>
            <p:custDataLst>
              <p:tags r:id="rId65"/>
            </p:custDataLst>
          </p:nvPr>
        </p:nvSpPr>
        <p:spPr bwMode="gray">
          <a:xfrm>
            <a:off x="4227512" y="2825750"/>
            <a:ext cx="1098550" cy="2270125"/>
          </a:xfrm>
          <a:prstGeom prst="rect">
            <a:avLst/>
          </a:prstGeom>
          <a:solidFill>
            <a:schemeClr val="hlink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69" name="Rectangle 268"/>
          <p:cNvSpPr/>
          <p:nvPr>
            <p:custDataLst>
              <p:tags r:id="rId66"/>
            </p:custDataLst>
          </p:nvPr>
        </p:nvSpPr>
        <p:spPr bwMode="gray">
          <a:xfrm>
            <a:off x="4227512" y="2160587"/>
            <a:ext cx="1098550" cy="665162"/>
          </a:xfrm>
          <a:prstGeom prst="rect">
            <a:avLst/>
          </a:prstGeom>
          <a:solidFill>
            <a:srgbClr val="F9EFBD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68" name="Rectangle 267"/>
          <p:cNvSpPr/>
          <p:nvPr>
            <p:custDataLst>
              <p:tags r:id="rId67"/>
            </p:custDataLst>
          </p:nvPr>
        </p:nvSpPr>
        <p:spPr bwMode="gray">
          <a:xfrm>
            <a:off x="4227512" y="2100262"/>
            <a:ext cx="1098550" cy="60325"/>
          </a:xfrm>
          <a:prstGeom prst="rect">
            <a:avLst/>
          </a:prstGeom>
          <a:solidFill>
            <a:srgbClr val="D2E0E6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67" name="Rectangle 266"/>
          <p:cNvSpPr/>
          <p:nvPr>
            <p:custDataLst>
              <p:tags r:id="rId68"/>
            </p:custDataLst>
          </p:nvPr>
        </p:nvSpPr>
        <p:spPr bwMode="gray">
          <a:xfrm>
            <a:off x="4227512" y="2051050"/>
            <a:ext cx="1098550" cy="49212"/>
          </a:xfrm>
          <a:prstGeom prst="rect">
            <a:avLst/>
          </a:prstGeom>
          <a:solidFill>
            <a:srgbClr val="79A2B3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65" name="Rectangle 264"/>
          <p:cNvSpPr/>
          <p:nvPr>
            <p:custDataLst>
              <p:tags r:id="rId69"/>
            </p:custDataLst>
          </p:nvPr>
        </p:nvSpPr>
        <p:spPr bwMode="gray">
          <a:xfrm>
            <a:off x="3913926" y="2555875"/>
            <a:ext cx="314424" cy="2540000"/>
          </a:xfrm>
          <a:prstGeom prst="rect">
            <a:avLst/>
          </a:prstGeom>
          <a:solidFill>
            <a:schemeClr val="hlink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64" name="Rectangle 263"/>
          <p:cNvSpPr/>
          <p:nvPr>
            <p:custDataLst>
              <p:tags r:id="rId70"/>
            </p:custDataLst>
          </p:nvPr>
        </p:nvSpPr>
        <p:spPr bwMode="gray">
          <a:xfrm>
            <a:off x="3913926" y="2290762"/>
            <a:ext cx="314424" cy="265112"/>
          </a:xfrm>
          <a:prstGeom prst="rect">
            <a:avLst/>
          </a:prstGeom>
          <a:solidFill>
            <a:srgbClr val="F9EFBD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63" name="Rectangle 262"/>
          <p:cNvSpPr/>
          <p:nvPr>
            <p:custDataLst>
              <p:tags r:id="rId71"/>
            </p:custDataLst>
          </p:nvPr>
        </p:nvSpPr>
        <p:spPr bwMode="gray">
          <a:xfrm>
            <a:off x="3913926" y="2214562"/>
            <a:ext cx="314424" cy="76200"/>
          </a:xfrm>
          <a:prstGeom prst="rect">
            <a:avLst/>
          </a:prstGeom>
          <a:solidFill>
            <a:srgbClr val="D2E0E6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62" name="Rectangle 261"/>
          <p:cNvSpPr/>
          <p:nvPr>
            <p:custDataLst>
              <p:tags r:id="rId72"/>
            </p:custDataLst>
          </p:nvPr>
        </p:nvSpPr>
        <p:spPr bwMode="gray">
          <a:xfrm>
            <a:off x="3913926" y="2051050"/>
            <a:ext cx="314424" cy="163512"/>
          </a:xfrm>
          <a:prstGeom prst="rect">
            <a:avLst/>
          </a:prstGeom>
          <a:solidFill>
            <a:srgbClr val="79A2B3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60" name="Rectangle 259"/>
          <p:cNvSpPr/>
          <p:nvPr>
            <p:custDataLst>
              <p:tags r:id="rId73"/>
            </p:custDataLst>
          </p:nvPr>
        </p:nvSpPr>
        <p:spPr bwMode="gray">
          <a:xfrm>
            <a:off x="3738700" y="2490787"/>
            <a:ext cx="175225" cy="2605087"/>
          </a:xfrm>
          <a:prstGeom prst="rect">
            <a:avLst/>
          </a:prstGeom>
          <a:solidFill>
            <a:schemeClr val="hlink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cxnSp>
        <p:nvCxnSpPr>
          <p:cNvPr id="128" name="Straight Connector 127"/>
          <p:cNvCxnSpPr/>
          <p:nvPr>
            <p:custDataLst>
              <p:tags r:id="rId74"/>
            </p:custDataLst>
          </p:nvPr>
        </p:nvCxnSpPr>
        <p:spPr bwMode="gray">
          <a:xfrm>
            <a:off x="479425" y="3268662"/>
            <a:ext cx="42862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/>
          <p:cNvCxnSpPr/>
          <p:nvPr>
            <p:custDataLst>
              <p:tags r:id="rId75"/>
            </p:custDataLst>
          </p:nvPr>
        </p:nvCxnSpPr>
        <p:spPr bwMode="gray">
          <a:xfrm>
            <a:off x="479425" y="2051050"/>
            <a:ext cx="42862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/>
          <p:cNvCxnSpPr/>
          <p:nvPr>
            <p:custDataLst>
              <p:tags r:id="rId76"/>
            </p:custDataLst>
          </p:nvPr>
        </p:nvCxnSpPr>
        <p:spPr bwMode="gray">
          <a:xfrm>
            <a:off x="479425" y="4486275"/>
            <a:ext cx="42862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/>
          <p:cNvCxnSpPr/>
          <p:nvPr>
            <p:custDataLst>
              <p:tags r:id="rId77"/>
            </p:custDataLst>
          </p:nvPr>
        </p:nvCxnSpPr>
        <p:spPr bwMode="gray">
          <a:xfrm flipV="1">
            <a:off x="522287" y="2046287"/>
            <a:ext cx="0" cy="30543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/>
          <p:cNvCxnSpPr/>
          <p:nvPr>
            <p:custDataLst>
              <p:tags r:id="rId78"/>
            </p:custDataLst>
          </p:nvPr>
        </p:nvCxnSpPr>
        <p:spPr bwMode="gray">
          <a:xfrm>
            <a:off x="479425" y="2659062"/>
            <a:ext cx="42862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79"/>
            </p:custDataLst>
          </p:nvPr>
        </p:nvCxnSpPr>
        <p:spPr bwMode="gray">
          <a:xfrm>
            <a:off x="479425" y="5095875"/>
            <a:ext cx="42862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/>
          <p:cNvCxnSpPr/>
          <p:nvPr>
            <p:custDataLst>
              <p:tags r:id="rId80"/>
            </p:custDataLst>
          </p:nvPr>
        </p:nvCxnSpPr>
        <p:spPr bwMode="gray">
          <a:xfrm>
            <a:off x="479425" y="3876675"/>
            <a:ext cx="42862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/>
          <p:nvPr>
            <p:custDataLst>
              <p:tags r:id="rId81"/>
            </p:custDataLst>
          </p:nvPr>
        </p:nvCxnSpPr>
        <p:spPr bwMode="gray">
          <a:xfrm>
            <a:off x="517525" y="5095875"/>
            <a:ext cx="8466137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/>
          <p:cNvCxnSpPr/>
          <p:nvPr>
            <p:custDataLst>
              <p:tags r:id="rId82"/>
            </p:custDataLst>
          </p:nvPr>
        </p:nvCxnSpPr>
        <p:spPr bwMode="gray">
          <a:xfrm flipV="1">
            <a:off x="7537450" y="5095875"/>
            <a:ext cx="0" cy="549275"/>
          </a:xfrm>
          <a:prstGeom prst="line">
            <a:avLst/>
          </a:prstGeom>
          <a:ln w="6350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/>
          <p:nvPr>
            <p:custDataLst>
              <p:tags r:id="rId83"/>
            </p:custDataLst>
          </p:nvPr>
        </p:nvCxnSpPr>
        <p:spPr bwMode="gray">
          <a:xfrm flipV="1">
            <a:off x="7812087" y="5095874"/>
            <a:ext cx="0" cy="442912"/>
          </a:xfrm>
          <a:prstGeom prst="line">
            <a:avLst/>
          </a:prstGeom>
          <a:ln w="6350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/>
          <p:cNvCxnSpPr/>
          <p:nvPr>
            <p:custDataLst>
              <p:tags r:id="rId84"/>
            </p:custDataLst>
          </p:nvPr>
        </p:nvCxnSpPr>
        <p:spPr bwMode="gray">
          <a:xfrm flipV="1">
            <a:off x="3825875" y="5095875"/>
            <a:ext cx="0" cy="320675"/>
          </a:xfrm>
          <a:prstGeom prst="line">
            <a:avLst/>
          </a:prstGeom>
          <a:ln w="6350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85"/>
            </p:custDataLst>
          </p:nvPr>
        </p:nvCxnSpPr>
        <p:spPr bwMode="gray">
          <a:xfrm flipV="1">
            <a:off x="3041650" y="5095875"/>
            <a:ext cx="0" cy="304800"/>
          </a:xfrm>
          <a:prstGeom prst="line">
            <a:avLst/>
          </a:prstGeom>
          <a:ln w="6350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/>
          <p:cNvCxnSpPr/>
          <p:nvPr>
            <p:custDataLst>
              <p:tags r:id="rId86"/>
            </p:custDataLst>
          </p:nvPr>
        </p:nvCxnSpPr>
        <p:spPr bwMode="gray">
          <a:xfrm flipV="1">
            <a:off x="5743575" y="5095875"/>
            <a:ext cx="0" cy="320675"/>
          </a:xfrm>
          <a:prstGeom prst="line">
            <a:avLst/>
          </a:prstGeom>
          <a:ln w="6350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/>
          <p:cNvCxnSpPr/>
          <p:nvPr>
            <p:custDataLst>
              <p:tags r:id="rId87"/>
            </p:custDataLst>
          </p:nvPr>
        </p:nvCxnSpPr>
        <p:spPr bwMode="gray">
          <a:xfrm flipV="1">
            <a:off x="6951662" y="5095875"/>
            <a:ext cx="0" cy="320675"/>
          </a:xfrm>
          <a:prstGeom prst="line">
            <a:avLst/>
          </a:prstGeom>
          <a:ln w="6350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Text Placeholder 175"/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9080500" y="2632075"/>
            <a:ext cx="3302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EB217CD4-95D8-4CDB-9028-2932E4D1A51A}" type="datetime'''''C''''''''''''''h''''''''''i''''n''''''a'''''''''''''''">
              <a:rPr lang="en-US" sz="1000" b="0" i="1" smtClean="0"/>
              <a:pPr>
                <a:spcBef>
                  <a:spcPct val="0"/>
                </a:spcBef>
              </a:pPr>
              <a:t>China</a:t>
            </a:fld>
            <a:endParaRPr lang="en-US" sz="1000" b="0" i="1" dirty="0">
              <a:latin typeface="Arial"/>
              <a:sym typeface="Arial"/>
            </a:endParaRPr>
          </a:p>
        </p:txBody>
      </p:sp>
      <p:sp>
        <p:nvSpPr>
          <p:cNvPr id="238" name="Text Placeholder 236"/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8129587" y="5187949"/>
            <a:ext cx="498475" cy="36671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800" b="0" dirty="0" smtClean="0">
                <a:latin typeface="Arial"/>
                <a:sym typeface="Arial"/>
              </a:rPr>
              <a:t>Computers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800" b="0" dirty="0" smtClean="0">
                <a:latin typeface="Arial"/>
                <a:sym typeface="Arial"/>
              </a:rPr>
              <a:t>and</a:t>
            </a:r>
            <a:br>
              <a:rPr lang="en-US" sz="800" b="0" dirty="0" smtClean="0">
                <a:latin typeface="Arial"/>
                <a:sym typeface="Arial"/>
              </a:rPr>
            </a:br>
            <a:r>
              <a:rPr lang="en-US" sz="800" b="0" dirty="0" smtClean="0">
                <a:latin typeface="Arial"/>
                <a:sym typeface="Arial"/>
              </a:rPr>
              <a:t>electronics</a:t>
            </a:r>
            <a:endParaRPr lang="en-US" sz="800" b="0" dirty="0">
              <a:latin typeface="Arial"/>
              <a:sym typeface="Arial"/>
            </a:endParaRPr>
          </a:p>
        </p:txBody>
      </p:sp>
      <p:sp>
        <p:nvSpPr>
          <p:cNvPr id="236" name="Text Placeholder 234"/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7678737" y="5538787"/>
            <a:ext cx="646112" cy="122237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800" b="0" dirty="0" smtClean="0">
                <a:latin typeface="Arial"/>
                <a:sym typeface="Arial"/>
              </a:rPr>
              <a:t>Miscellaneous</a:t>
            </a:r>
            <a:endParaRPr lang="en-US" sz="800" b="0" dirty="0">
              <a:latin typeface="Arial"/>
              <a:sym typeface="Arial"/>
            </a:endParaRPr>
          </a:p>
        </p:txBody>
      </p:sp>
      <p:sp>
        <p:nvSpPr>
          <p:cNvPr id="234" name="Text Placeholder 232"/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7083425" y="5645150"/>
            <a:ext cx="908050" cy="244475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800" b="0" dirty="0" smtClean="0">
                <a:latin typeface="Arial"/>
                <a:sym typeface="Arial"/>
              </a:rPr>
              <a:t>Appliances &amp;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800" b="0" dirty="0" smtClean="0">
                <a:latin typeface="Arial"/>
                <a:sym typeface="Arial"/>
              </a:rPr>
              <a:t>electrical equipment</a:t>
            </a:r>
            <a:endParaRPr lang="en-US" sz="800" b="0" dirty="0">
              <a:latin typeface="Arial"/>
              <a:sym typeface="Arial"/>
            </a:endParaRPr>
          </a:p>
        </p:txBody>
      </p:sp>
      <p:sp>
        <p:nvSpPr>
          <p:cNvPr id="232" name="Text Placeholder 230"/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6953250" y="5187950"/>
            <a:ext cx="469900" cy="122237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26F93558-0C0A-4F31-96A5-60C3C3B8F88F}" type="datetime'''''''M''''a''c''hi''''''''n''e''''''r''''''''''''''''''y'''''">
              <a:rPr lang="en-US" sz="800" b="0" smtClean="0">
                <a:latin typeface="Arial"/>
                <a:sym typeface="Arial"/>
              </a:rPr>
              <a:pPr algn="ctr">
                <a:spcBef>
                  <a:spcPct val="0"/>
                </a:spcBef>
              </a:pPr>
              <a:t>Machinery</a:t>
            </a:fld>
            <a:endParaRPr lang="en-US" sz="800" b="0" dirty="0">
              <a:latin typeface="Arial"/>
              <a:sym typeface="Arial"/>
            </a:endParaRPr>
          </a:p>
        </p:txBody>
      </p:sp>
      <p:sp>
        <p:nvSpPr>
          <p:cNvPr id="230" name="Text Placeholder 228"/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6477000" y="5416550"/>
            <a:ext cx="500062" cy="244475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DBA4F088-1775-4907-97E6-A76EC7F62275}" type="datetime'Te''''x''''ti''l''es ''&#10;''a''''''nd'''''' f''''abri''c''''''s'">
              <a:rPr lang="en-US" sz="800" b="0" smtClean="0"/>
              <a:pPr algn="r">
                <a:spcBef>
                  <a:spcPct val="0"/>
                </a:spcBef>
              </a:pPr>
              <a:t>Textiles 
and fabrics</a:t>
            </a:fld>
            <a:endParaRPr lang="en-US" sz="800" b="0" dirty="0">
              <a:latin typeface="Arial"/>
              <a:sym typeface="Arial"/>
            </a:endParaRPr>
          </a:p>
        </p:txBody>
      </p:sp>
      <p:sp>
        <p:nvSpPr>
          <p:cNvPr id="240" name="Text Placeholder 238"/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8672512" y="5187950"/>
            <a:ext cx="620712" cy="36671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800" b="0" dirty="0" smtClean="0">
                <a:latin typeface="Arial"/>
                <a:sym typeface="Arial"/>
              </a:rPr>
              <a:t>Apparel,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800" b="0" dirty="0" smtClean="0">
                <a:latin typeface="Arial"/>
                <a:sym typeface="Arial"/>
              </a:rPr>
              <a:t>footwear, and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800" b="0" dirty="0" smtClean="0">
                <a:latin typeface="Arial"/>
                <a:sym typeface="Arial"/>
              </a:rPr>
              <a:t>accessories</a:t>
            </a:r>
            <a:endParaRPr lang="en-US" sz="800" b="0" dirty="0">
              <a:latin typeface="Arial"/>
              <a:sym typeface="Arial"/>
            </a:endParaRPr>
          </a:p>
        </p:txBody>
      </p:sp>
      <p:sp>
        <p:nvSpPr>
          <p:cNvPr id="142" name="Text Placeholder 139"/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280987" y="4410075"/>
            <a:ext cx="1397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DCED48A9-82DA-4E35-B3B5-12C4A79046CB}" type="datetime'''''''2''''''''''''''''''''''''''0'''''''">
              <a:rPr lang="en-US" sz="1000" b="0" smtClean="0">
                <a:latin typeface="Arial"/>
                <a:sym typeface="Arial"/>
              </a:rPr>
              <a:pPr algn="r">
                <a:spcBef>
                  <a:spcPct val="0"/>
                </a:spcBef>
              </a:pPr>
              <a:t>20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136" name="Text Placeholder 134"/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5297487" y="5187950"/>
            <a:ext cx="349250" cy="244475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393F929-4434-44D0-A9D1-EDBFA46E63FB}" type="datetime'P''''''r''''''''i''m''''''a''ry&#10;m''''''''''''eta''l'''">
              <a:rPr lang="en-US" sz="8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Primary
metal</a:t>
            </a:fld>
            <a:endParaRPr lang="en-US" sz="800" b="0">
              <a:latin typeface="Arial"/>
              <a:sym typeface="Arial"/>
            </a:endParaRPr>
          </a:p>
        </p:txBody>
      </p:sp>
      <p:sp>
        <p:nvSpPr>
          <p:cNvPr id="222" name="Text Placeholder 220"/>
          <p:cNvSpPr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4540250" y="5187950"/>
            <a:ext cx="474662" cy="122237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D4AD4706-39D6-4FA0-A754-F411AA8D4E6E}" type="datetime'C''''''h''e''''''m''''i''''''c''a''''''''''''l''''''s'''''">
              <a:rPr lang="en-US" sz="800" b="0" smtClean="0">
                <a:latin typeface="Arial"/>
                <a:sym typeface="Arial"/>
              </a:rPr>
              <a:pPr algn="ctr">
                <a:spcBef>
                  <a:spcPct val="0"/>
                </a:spcBef>
              </a:pPr>
              <a:t>Chemicals</a:t>
            </a:fld>
            <a:endParaRPr lang="en-US" sz="800" b="0" dirty="0">
              <a:latin typeface="Arial"/>
              <a:sym typeface="Arial"/>
            </a:endParaRPr>
          </a:p>
        </p:txBody>
      </p:sp>
      <p:sp>
        <p:nvSpPr>
          <p:cNvPr id="220" name="Text Placeholder 218"/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3927475" y="5187950"/>
            <a:ext cx="579437" cy="244475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4070325E-549A-418F-8C58-637E75C129DA}" type="datetime'P''''la''s''''t''''''ics ''''''''a''nd &#10;''r''''u''b''ber'''">
              <a:rPr lang="en-US" sz="800" b="0" smtClean="0"/>
              <a:pPr algn="ctr">
                <a:spcBef>
                  <a:spcPct val="0"/>
                </a:spcBef>
              </a:pPr>
              <a:t>Plastics and 
rubber</a:t>
            </a:fld>
            <a:endParaRPr lang="en-US" sz="800" b="0" dirty="0">
              <a:latin typeface="Arial"/>
              <a:sym typeface="Arial"/>
            </a:endParaRPr>
          </a:p>
        </p:txBody>
      </p:sp>
      <p:sp>
        <p:nvSpPr>
          <p:cNvPr id="218" name="Text Placeholder 216"/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3513137" y="5416550"/>
            <a:ext cx="625475" cy="244475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4E486075-6B21-4C7B-84DC-2DAA2572305F}" type="datetime'Gla''''ss, s''tone'', &#10;and ''mi''''''''''''ne''''ra''ls'''''">
              <a:rPr lang="en-US" sz="800" b="0" smtClean="0"/>
              <a:pPr algn="ctr">
                <a:spcBef>
                  <a:spcPct val="0"/>
                </a:spcBef>
              </a:pPr>
              <a:t>Glass, stone, 
and minerals</a:t>
            </a:fld>
            <a:endParaRPr lang="en-US" sz="800" b="0" dirty="0">
              <a:latin typeface="Arial"/>
              <a:sym typeface="Arial"/>
            </a:endParaRPr>
          </a:p>
        </p:txBody>
      </p:sp>
      <p:sp>
        <p:nvSpPr>
          <p:cNvPr id="216" name="Text Placeholder 214"/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3217862" y="5187950"/>
            <a:ext cx="482600" cy="244475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800" b="0" dirty="0" smtClean="0">
                <a:latin typeface="Arial"/>
                <a:sym typeface="Arial"/>
              </a:rPr>
              <a:t>Fabricated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800" b="0" dirty="0" smtClean="0">
                <a:latin typeface="Arial"/>
                <a:sym typeface="Arial"/>
              </a:rPr>
              <a:t>metals</a:t>
            </a:r>
            <a:endParaRPr lang="en-US" sz="800" b="0" dirty="0">
              <a:latin typeface="Arial"/>
              <a:sym typeface="Arial"/>
            </a:endParaRPr>
          </a:p>
        </p:txBody>
      </p:sp>
      <p:sp>
        <p:nvSpPr>
          <p:cNvPr id="214" name="Text Placeholder 212"/>
          <p:cNvSpPr>
            <a:spLocks noGrp="1"/>
          </p:cNvSpPr>
          <p:nvPr>
            <p:custDataLst>
              <p:tags r:id="rId101"/>
            </p:custDataLst>
          </p:nvPr>
        </p:nvSpPr>
        <p:spPr bwMode="auto">
          <a:xfrm>
            <a:off x="2781300" y="5400675"/>
            <a:ext cx="392112" cy="244475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CFB6344B-9F63-46E6-BE2D-BC10F0867638}" type="datetime'''''''''P''a''''''per'' ''&#10;pr''''od''''''''''u''''''c''t''''s'">
              <a:rPr lang="en-US" sz="800" b="0" smtClean="0"/>
              <a:pPr algn="ctr">
                <a:spcBef>
                  <a:spcPct val="0"/>
                </a:spcBef>
              </a:pPr>
              <a:t>Paper 
products</a:t>
            </a:fld>
            <a:endParaRPr lang="en-US" sz="800" b="0" dirty="0">
              <a:latin typeface="Arial"/>
              <a:sym typeface="Arial"/>
            </a:endParaRPr>
          </a:p>
        </p:txBody>
      </p:sp>
      <p:sp>
        <p:nvSpPr>
          <p:cNvPr id="174" name="Text Placeholder 171"/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2189162" y="5294312"/>
            <a:ext cx="687387" cy="122237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62D636C9-20F4-4C2D-B827-07E89A416FF2}" type="datetime'''Wo''''o''''d p''''r''''o''''''''''''''duc''t''''s'">
              <a:rPr lang="en-US" sz="800" b="0" smtClean="0"/>
              <a:pPr algn="ctr">
                <a:spcBef>
                  <a:spcPct val="0"/>
                </a:spcBef>
              </a:pPr>
              <a:t>Wood products</a:t>
            </a:fld>
            <a:endParaRPr lang="en-US" sz="800" b="0" dirty="0">
              <a:latin typeface="Arial"/>
              <a:sym typeface="Arial"/>
            </a:endParaRPr>
          </a:p>
        </p:txBody>
      </p:sp>
      <p:sp>
        <p:nvSpPr>
          <p:cNvPr id="162" name="Text Placeholder 159"/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211137" y="1728787"/>
            <a:ext cx="4070350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0" dirty="0" smtClean="0">
                <a:latin typeface="Arial"/>
                <a:sym typeface="Arial"/>
              </a:rPr>
              <a:t>% of US manufactured goods consumed in 2009</a:t>
            </a:r>
            <a:r>
              <a:rPr lang="en-US" sz="1200" b="0" baseline="30000" dirty="0" smtClean="0">
                <a:latin typeface="Arial"/>
                <a:sym typeface="Arial"/>
              </a:rPr>
              <a:t>1</a:t>
            </a:r>
            <a:r>
              <a:rPr lang="en-US" sz="1200" b="0" dirty="0" smtClean="0">
                <a:latin typeface="Arial"/>
                <a:sym typeface="Arial"/>
              </a:rPr>
              <a:t> by source </a:t>
            </a:r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170" name="Text Placeholder 167"/>
          <p:cNvSpPr>
            <a:spLocks noGrp="1"/>
          </p:cNvSpPr>
          <p:nvPr>
            <p:custDataLst>
              <p:tags r:id="rId104"/>
            </p:custDataLst>
          </p:nvPr>
        </p:nvSpPr>
        <p:spPr bwMode="auto">
          <a:xfrm>
            <a:off x="1844675" y="5187950"/>
            <a:ext cx="881062" cy="122237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9869F106-8896-4430-B747-9B720D3E5B6E}" type="datetime'''''P''e''''''''t''''''''rol''''e''u''''m ''and coal'''">
              <a:rPr lang="en-US" sz="800" b="0" smtClean="0"/>
              <a:pPr algn="ctr">
                <a:spcBef>
                  <a:spcPct val="0"/>
                </a:spcBef>
              </a:pPr>
              <a:t>Petroleum and coal</a:t>
            </a:fld>
            <a:endParaRPr lang="en-US" sz="800" b="0" dirty="0">
              <a:latin typeface="Arial"/>
              <a:sym typeface="Arial"/>
            </a:endParaRPr>
          </a:p>
        </p:txBody>
      </p:sp>
      <p:sp>
        <p:nvSpPr>
          <p:cNvPr id="166" name="Text Placeholder 163"/>
          <p:cNvSpPr>
            <a:spLocks noGrp="1"/>
          </p:cNvSpPr>
          <p:nvPr>
            <p:custDataLst>
              <p:tags r:id="rId105"/>
            </p:custDataLst>
          </p:nvPr>
        </p:nvSpPr>
        <p:spPr bwMode="auto">
          <a:xfrm>
            <a:off x="731837" y="5187950"/>
            <a:ext cx="939800" cy="122237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0E42D0DB-83A3-41E0-A465-9C15360371FC}" type="datetime'''''F''o''''''''o''d'''''' ''and'' ''''b''ev''''er''ag''es'''">
              <a:rPr lang="en-US" sz="800" b="0" smtClean="0"/>
              <a:pPr algn="ctr">
                <a:spcBef>
                  <a:spcPct val="0"/>
                </a:spcBef>
              </a:pPr>
              <a:t>Food and beverages</a:t>
            </a:fld>
            <a:endParaRPr lang="en-US" sz="800" b="0" dirty="0">
              <a:latin typeface="Arial"/>
              <a:sym typeface="Arial"/>
            </a:endParaRPr>
          </a:p>
        </p:txBody>
      </p:sp>
      <p:sp>
        <p:nvSpPr>
          <p:cNvPr id="158" name="Text Placeholder 155"/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211137" y="1974850"/>
            <a:ext cx="20955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3E9AB686-7397-4731-ABCC-BFDA0C283210}" type="datetime'1''''''''0''0'''''''''''''''''''">
              <a:rPr lang="en-US" sz="1000" b="0" smtClean="0">
                <a:latin typeface="Arial"/>
                <a:sym typeface="Arial"/>
              </a:rPr>
              <a:pPr algn="r">
                <a:spcBef>
                  <a:spcPct val="0"/>
                </a:spcBef>
              </a:pPr>
              <a:t>100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154" name="Text Placeholder 151"/>
          <p:cNvSpPr>
            <a:spLocks noGrp="1"/>
          </p:cNvSpPr>
          <p:nvPr>
            <p:custDataLst>
              <p:tags r:id="rId107"/>
            </p:custDataLst>
          </p:nvPr>
        </p:nvSpPr>
        <p:spPr bwMode="auto">
          <a:xfrm>
            <a:off x="280987" y="2582862"/>
            <a:ext cx="1397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808024AE-3A3E-4C66-AB26-1A944CAA46F4}" type="datetime'''''''8''''''''''0'''''''''''''''">
              <a:rPr lang="en-US" sz="1000" b="0" smtClean="0">
                <a:latin typeface="Arial"/>
                <a:sym typeface="Arial"/>
              </a:rPr>
              <a:pPr algn="r">
                <a:spcBef>
                  <a:spcPct val="0"/>
                </a:spcBef>
              </a:pPr>
              <a:t>80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150" name="Text Placeholder 147"/>
          <p:cNvSpPr>
            <a:spLocks noGrp="1"/>
          </p:cNvSpPr>
          <p:nvPr>
            <p:custDataLst>
              <p:tags r:id="rId108"/>
            </p:custDataLst>
          </p:nvPr>
        </p:nvSpPr>
        <p:spPr bwMode="auto">
          <a:xfrm>
            <a:off x="280987" y="3192462"/>
            <a:ext cx="1397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5C7EC0D0-8987-4D6D-B309-FE6849D17D4F}" type="datetime'''''''''''''6''''''0'''''''''''''''''''''''''''''''">
              <a:rPr lang="en-US" sz="1000" b="0" smtClean="0">
                <a:latin typeface="Arial"/>
                <a:sym typeface="Arial"/>
              </a:rPr>
              <a:pPr algn="r">
                <a:spcBef>
                  <a:spcPct val="0"/>
                </a:spcBef>
              </a:pPr>
              <a:t>60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146" name="Text Placeholder 143"/>
          <p:cNvSpPr>
            <a:spLocks noGrp="1"/>
          </p:cNvSpPr>
          <p:nvPr>
            <p:custDataLst>
              <p:tags r:id="rId109"/>
            </p:custDataLst>
          </p:nvPr>
        </p:nvSpPr>
        <p:spPr bwMode="auto">
          <a:xfrm>
            <a:off x="280987" y="3800475"/>
            <a:ext cx="1397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53281142-6E35-4609-B827-7C0A19623E16}" type="datetime'''''''4''''0'''''''''''''''''''''''''''''''''''''''''">
              <a:rPr lang="en-US" sz="1000" b="0" smtClean="0">
                <a:latin typeface="Arial"/>
                <a:sym typeface="Arial"/>
              </a:rPr>
              <a:pPr algn="r">
                <a:spcBef>
                  <a:spcPct val="0"/>
                </a:spcBef>
              </a:pPr>
              <a:t>40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138" name="Text Placeholder 135"/>
          <p:cNvSpPr>
            <a:spLocks noGrp="1"/>
          </p:cNvSpPr>
          <p:nvPr>
            <p:custDataLst>
              <p:tags r:id="rId110"/>
            </p:custDataLst>
          </p:nvPr>
        </p:nvSpPr>
        <p:spPr bwMode="auto">
          <a:xfrm>
            <a:off x="350837" y="5019675"/>
            <a:ext cx="6985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C0B1CD9C-875C-49CC-85AE-AC855B08EE80}" type="datetime'''''''''''''0'''''''''''''''''''''''''''''''">
              <a:rPr lang="en-US" sz="1000" b="0" smtClean="0">
                <a:latin typeface="Arial"/>
                <a:sym typeface="Arial"/>
              </a:rPr>
              <a:pPr algn="r">
                <a:spcBef>
                  <a:spcPct val="0"/>
                </a:spcBef>
              </a:pPr>
              <a:t>0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226" name="Text Placeholder 224"/>
          <p:cNvSpPr>
            <a:spLocks noGrp="1"/>
          </p:cNvSpPr>
          <p:nvPr>
            <p:custDataLst>
              <p:tags r:id="rId111"/>
            </p:custDataLst>
          </p:nvPr>
        </p:nvSpPr>
        <p:spPr bwMode="auto">
          <a:xfrm>
            <a:off x="5540375" y="5416550"/>
            <a:ext cx="407987" cy="122237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32AC3DE0-0CCE-491E-BB2F-0D46A734A5A9}" type="datetime'''''Fur''''n''''''''i''t''''u''r''''''''''''''''''''''''''e'''">
              <a:rPr lang="en-US" sz="800" b="0" smtClean="0">
                <a:latin typeface="Arial"/>
                <a:sym typeface="Arial"/>
              </a:rPr>
              <a:pPr algn="ctr">
                <a:spcBef>
                  <a:spcPct val="0"/>
                </a:spcBef>
              </a:pPr>
              <a:t>Furniture</a:t>
            </a:fld>
            <a:endParaRPr lang="en-US" sz="800" b="0" dirty="0">
              <a:latin typeface="Arial"/>
              <a:sym typeface="Arial"/>
            </a:endParaRPr>
          </a:p>
        </p:txBody>
      </p:sp>
      <p:sp>
        <p:nvSpPr>
          <p:cNvPr id="504" name="Text Placeholder 502"/>
          <p:cNvSpPr>
            <a:spLocks noGrp="1"/>
          </p:cNvSpPr>
          <p:nvPr>
            <p:custDataLst>
              <p:tags r:id="rId112"/>
            </p:custDataLst>
          </p:nvPr>
        </p:nvSpPr>
        <p:spPr bwMode="auto">
          <a:xfrm>
            <a:off x="5164137" y="5953125"/>
            <a:ext cx="4129087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200" b="0" dirty="0" smtClean="0">
                <a:latin typeface="Arial"/>
                <a:sym typeface="Arial"/>
              </a:rPr>
              <a:t>Value of US manufactured goods consumed by category (B$)</a:t>
            </a:r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228" name="Text Placeholder 226"/>
          <p:cNvSpPr>
            <a:spLocks noGrp="1"/>
          </p:cNvSpPr>
          <p:nvPr>
            <p:custDataLst>
              <p:tags r:id="rId113"/>
            </p:custDataLst>
          </p:nvPr>
        </p:nvSpPr>
        <p:spPr bwMode="auto">
          <a:xfrm>
            <a:off x="6029325" y="5187950"/>
            <a:ext cx="658812" cy="244475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2F83F03-B014-4D8D-B913-1885D648401A}" type="datetime'''''''Tra''''ns''''''''p''o''''''r''tat''''ion&#10;''g''ood''''s'">
              <a:rPr lang="en-US" sz="8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Transportation
goods</a:t>
            </a:fld>
            <a:endParaRPr lang="en-US" sz="800" b="0" dirty="0">
              <a:latin typeface="Arial"/>
              <a:sym typeface="Arial"/>
            </a:endParaRPr>
          </a:p>
        </p:txBody>
      </p:sp>
      <p:sp>
        <p:nvSpPr>
          <p:cNvPr id="242" name="Text Placeholder 240"/>
          <p:cNvSpPr>
            <a:spLocks noGrp="1"/>
          </p:cNvSpPr>
          <p:nvPr>
            <p:custDataLst>
              <p:tags r:id="rId114"/>
            </p:custDataLst>
          </p:nvPr>
        </p:nvSpPr>
        <p:spPr bwMode="auto">
          <a:xfrm>
            <a:off x="9080500" y="4857750"/>
            <a:ext cx="455612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C9808343-3556-44A9-BF71-1AE5F21268EF}" type="datetime'''''''''N''''''e''''t'' ''''''''U''''''''''''S'''''''''''">
              <a:rPr lang="en-US" sz="1000" b="0" i="1" smtClean="0"/>
              <a:pPr>
                <a:spcBef>
                  <a:spcPct val="0"/>
                </a:spcBef>
              </a:pPr>
              <a:t>Net US</a:t>
            </a:fld>
            <a:r>
              <a:rPr lang="en-US" sz="1000" b="0" i="1" baseline="30000" dirty="0" smtClean="0">
                <a:latin typeface="Arial"/>
                <a:sym typeface="Arial"/>
              </a:rPr>
              <a:t>2</a:t>
            </a:r>
            <a:endParaRPr lang="en-US" sz="1000" b="0" i="1" dirty="0">
              <a:latin typeface="Arial"/>
              <a:sym typeface="Arial"/>
            </a:endParaRPr>
          </a:p>
        </p:txBody>
      </p:sp>
      <p:sp>
        <p:nvSpPr>
          <p:cNvPr id="186" name="Text Placeholder 183"/>
          <p:cNvSpPr>
            <a:spLocks noGrp="1"/>
          </p:cNvSpPr>
          <p:nvPr>
            <p:custDataLst>
              <p:tags r:id="rId115"/>
            </p:custDataLst>
          </p:nvPr>
        </p:nvSpPr>
        <p:spPr bwMode="auto">
          <a:xfrm>
            <a:off x="9080500" y="4183062"/>
            <a:ext cx="434975" cy="4572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000" b="0" i="1" dirty="0" smtClean="0">
                <a:latin typeface="Arial"/>
                <a:sym typeface="Arial"/>
              </a:rPr>
              <a:t>Rest of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000" b="0" i="1" dirty="0" smtClean="0">
                <a:latin typeface="Arial"/>
                <a:sym typeface="Arial"/>
              </a:rPr>
              <a:t>the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000" b="0" i="1" dirty="0" smtClean="0">
                <a:latin typeface="Arial"/>
                <a:sym typeface="Arial"/>
              </a:rPr>
              <a:t>world</a:t>
            </a:r>
            <a:endParaRPr lang="en-US" sz="1000" b="0" i="1" dirty="0">
              <a:latin typeface="Arial"/>
              <a:sym typeface="Arial"/>
            </a:endParaRPr>
          </a:p>
        </p:txBody>
      </p:sp>
      <p:sp>
        <p:nvSpPr>
          <p:cNvPr id="182" name="Text Placeholder 179"/>
          <p:cNvSpPr>
            <a:spLocks noGrp="1"/>
          </p:cNvSpPr>
          <p:nvPr>
            <p:custDataLst>
              <p:tags r:id="rId116"/>
            </p:custDataLst>
          </p:nvPr>
        </p:nvSpPr>
        <p:spPr bwMode="auto">
          <a:xfrm>
            <a:off x="9080500" y="3479800"/>
            <a:ext cx="512762" cy="4572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000" b="0" i="1" dirty="0" smtClean="0">
                <a:latin typeface="Arial"/>
                <a:sym typeface="Arial"/>
              </a:rPr>
              <a:t>Other </a:t>
            </a:r>
            <a:br>
              <a:rPr lang="en-US" sz="1000" b="0" i="1" dirty="0" smtClean="0">
                <a:latin typeface="Arial"/>
                <a:sym typeface="Arial"/>
              </a:rPr>
            </a:br>
            <a:r>
              <a:rPr lang="en-US" sz="1000" b="0" i="1" dirty="0" smtClean="0">
                <a:latin typeface="Arial"/>
                <a:sym typeface="Arial"/>
              </a:rPr>
              <a:t>low-cost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000" b="0" i="1" dirty="0" smtClean="0">
                <a:latin typeface="Arial"/>
                <a:sym typeface="Arial"/>
              </a:rPr>
              <a:t>countries</a:t>
            </a:r>
            <a:endParaRPr lang="en-US" sz="1000" b="0" i="1" dirty="0">
              <a:latin typeface="Arial"/>
              <a:sym typeface="Arial"/>
            </a:endParaRPr>
          </a:p>
        </p:txBody>
      </p:sp>
      <p:cxnSp>
        <p:nvCxnSpPr>
          <p:cNvPr id="119" name="Straight Connector 118"/>
          <p:cNvCxnSpPr/>
          <p:nvPr>
            <p:custDataLst>
              <p:tags r:id="rId117"/>
            </p:custDataLst>
          </p:nvPr>
        </p:nvCxnSpPr>
        <p:spPr>
          <a:xfrm flipV="1">
            <a:off x="2190750" y="5048250"/>
            <a:ext cx="0" cy="1333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/>
          <p:cNvCxnSpPr/>
          <p:nvPr>
            <p:custDataLst>
              <p:tags r:id="rId118"/>
            </p:custDataLst>
          </p:nvPr>
        </p:nvCxnSpPr>
        <p:spPr>
          <a:xfrm flipV="1">
            <a:off x="2794000" y="5048250"/>
            <a:ext cx="0" cy="2286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/>
          <p:cNvCxnSpPr/>
          <p:nvPr>
            <p:custDataLst>
              <p:tags r:id="rId119"/>
            </p:custDataLst>
          </p:nvPr>
        </p:nvCxnSpPr>
        <p:spPr>
          <a:xfrm flipV="1">
            <a:off x="3473450" y="5048250"/>
            <a:ext cx="0" cy="1333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/>
          <p:cNvCxnSpPr/>
          <p:nvPr>
            <p:custDataLst>
              <p:tags r:id="rId120"/>
            </p:custDataLst>
          </p:nvPr>
        </p:nvCxnSpPr>
        <p:spPr>
          <a:xfrm flipV="1">
            <a:off x="4095750" y="5048250"/>
            <a:ext cx="0" cy="1333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/>
          <p:cNvCxnSpPr/>
          <p:nvPr>
            <p:custDataLst>
              <p:tags r:id="rId121"/>
            </p:custDataLst>
          </p:nvPr>
        </p:nvCxnSpPr>
        <p:spPr>
          <a:xfrm flipV="1">
            <a:off x="4787900" y="5048250"/>
            <a:ext cx="0" cy="1333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/>
          <p:cNvCxnSpPr/>
          <p:nvPr/>
        </p:nvCxnSpPr>
        <p:spPr>
          <a:xfrm flipV="1">
            <a:off x="5454650" y="5048250"/>
            <a:ext cx="0" cy="1333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/>
        </p:nvCxnSpPr>
        <p:spPr>
          <a:xfrm flipV="1">
            <a:off x="6324600" y="5048250"/>
            <a:ext cx="0" cy="1333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/>
          <p:cNvCxnSpPr/>
          <p:nvPr/>
        </p:nvCxnSpPr>
        <p:spPr>
          <a:xfrm flipV="1">
            <a:off x="7188200" y="5048250"/>
            <a:ext cx="0" cy="1333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/>
        </p:nvCxnSpPr>
        <p:spPr>
          <a:xfrm flipV="1">
            <a:off x="8343900" y="5048250"/>
            <a:ext cx="0" cy="1333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/>
          <p:cNvCxnSpPr/>
          <p:nvPr/>
        </p:nvCxnSpPr>
        <p:spPr>
          <a:xfrm flipV="1">
            <a:off x="8890000" y="5048250"/>
            <a:ext cx="0" cy="1333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tangle 134"/>
          <p:cNvSpPr/>
          <p:nvPr>
            <p:custDataLst>
              <p:tags r:id="rId122"/>
            </p:custDataLst>
          </p:nvPr>
        </p:nvSpPr>
        <p:spPr>
          <a:xfrm>
            <a:off x="536575" y="2053087"/>
            <a:ext cx="8245116" cy="3057076"/>
          </a:xfrm>
          <a:prstGeom prst="rect">
            <a:avLst/>
          </a:prstGeom>
          <a:solidFill>
            <a:schemeClr val="accent1">
              <a:alpha val="77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8146" name="Rectangle 2" hidden="1"/>
          <p:cNvGraphicFramePr>
            <a:graphicFrameLocks/>
          </p:cNvGraphicFramePr>
          <p:nvPr/>
        </p:nvGraphicFramePr>
        <p:xfrm>
          <a:off x="0" y="0"/>
          <a:ext cx="163763" cy="158750"/>
        </p:xfrm>
        <a:graphic>
          <a:graphicData uri="http://schemas.openxmlformats.org/presentationml/2006/ole">
            <p:oleObj spid="_x0000_s97282" name="think-cell Slide" r:id="rId93" imgW="0" imgH="0" progId="TCLayout.ActiveDocument.1">
              <p:embed/>
            </p:oleObj>
          </a:graphicData>
        </a:graphic>
      </p:graphicFrame>
      <p:sp>
        <p:nvSpPr>
          <p:cNvPr id="518150" name="Rectangle 45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63763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/>
              <a:sym typeface="Arial"/>
            </a:endParaRPr>
          </a:p>
        </p:txBody>
      </p:sp>
      <p:grpSp>
        <p:nvGrpSpPr>
          <p:cNvPr id="124" name="Group 123"/>
          <p:cNvGrpSpPr/>
          <p:nvPr>
            <p:custDataLst>
              <p:tags r:id="rId3"/>
            </p:custDataLst>
          </p:nvPr>
        </p:nvGrpSpPr>
        <p:grpSpPr>
          <a:xfrm>
            <a:off x="6765034" y="1476045"/>
            <a:ext cx="2669330" cy="3732651"/>
            <a:chOff x="6765034" y="1476045"/>
            <a:chExt cx="2669330" cy="3732651"/>
          </a:xfrm>
        </p:grpSpPr>
        <p:sp>
          <p:nvSpPr>
            <p:cNvPr id="104" name="Rectangle 103"/>
            <p:cNvSpPr/>
            <p:nvPr>
              <p:custDataLst>
                <p:tags r:id="rId89"/>
              </p:custDataLst>
            </p:nvPr>
          </p:nvSpPr>
          <p:spPr bwMode="gray">
            <a:xfrm>
              <a:off x="8560702" y="2211496"/>
              <a:ext cx="770806" cy="2997200"/>
            </a:xfrm>
            <a:prstGeom prst="rect">
              <a:avLst/>
            </a:prstGeom>
            <a:solidFill>
              <a:srgbClr val="F9DFB5"/>
            </a:solidFill>
            <a:ln w="9525">
              <a:solidFill>
                <a:srgbClr val="F9DFB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2" name="Rectangle 6"/>
            <p:cNvSpPr>
              <a:spLocks noChangeArrowheads="1"/>
            </p:cNvSpPr>
            <p:nvPr>
              <p:custDataLst>
                <p:tags r:id="rId90"/>
              </p:custDataLst>
            </p:nvPr>
          </p:nvSpPr>
          <p:spPr bwMode="gray">
            <a:xfrm>
              <a:off x="6765034" y="1476045"/>
              <a:ext cx="2669330" cy="553998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>
              <a:outerShdw dist="25400" dir="5400000" sx="99000" sy="99000" algn="ctr" rotWithShape="0">
                <a:schemeClr val="tx2"/>
              </a:outerShdw>
            </a:effectLst>
          </p:spPr>
          <p:txBody>
            <a:bodyPr lIns="0" tIns="91440" rIns="0" bIns="91440" anchor="b">
              <a:spAutoFit/>
            </a:bodyPr>
            <a:lstStyle/>
            <a:p>
              <a:pPr algn="ctr">
                <a:defRPr/>
              </a:pPr>
              <a:r>
                <a:rPr lang="en-US" sz="1200" b="1" dirty="0" smtClean="0"/>
                <a:t>... which is offsetting Chinese productivity gains</a:t>
              </a:r>
              <a:endParaRPr lang="en-US" sz="1200" b="1" dirty="0"/>
            </a:p>
          </p:txBody>
        </p:sp>
      </p:grpSp>
      <p:grpSp>
        <p:nvGrpSpPr>
          <p:cNvPr id="123" name="Group 122"/>
          <p:cNvGrpSpPr/>
          <p:nvPr>
            <p:custDataLst>
              <p:tags r:id="rId4"/>
            </p:custDataLst>
          </p:nvPr>
        </p:nvGrpSpPr>
        <p:grpSpPr>
          <a:xfrm>
            <a:off x="3612604" y="1476007"/>
            <a:ext cx="2670968" cy="4257230"/>
            <a:chOff x="3612604" y="1476007"/>
            <a:chExt cx="2670968" cy="4257230"/>
          </a:xfrm>
        </p:grpSpPr>
        <p:sp>
          <p:nvSpPr>
            <p:cNvPr id="149" name="Rectangle 148"/>
            <p:cNvSpPr/>
            <p:nvPr>
              <p:custDataLst>
                <p:tags r:id="rId86"/>
              </p:custDataLst>
            </p:nvPr>
          </p:nvSpPr>
          <p:spPr bwMode="gray">
            <a:xfrm>
              <a:off x="5454650" y="2211496"/>
              <a:ext cx="770806" cy="2997200"/>
            </a:xfrm>
            <a:prstGeom prst="rect">
              <a:avLst/>
            </a:prstGeom>
            <a:solidFill>
              <a:srgbClr val="F9DFB5"/>
            </a:solidFill>
            <a:ln w="9525">
              <a:solidFill>
                <a:srgbClr val="F9DFB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0" name="Rectangle 4"/>
            <p:cNvSpPr>
              <a:spLocks noChangeArrowheads="1"/>
            </p:cNvSpPr>
            <p:nvPr>
              <p:custDataLst>
                <p:tags r:id="rId87"/>
              </p:custDataLst>
            </p:nvPr>
          </p:nvSpPr>
          <p:spPr bwMode="gray">
            <a:xfrm>
              <a:off x="3612604" y="1476007"/>
              <a:ext cx="2670968" cy="55403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>
              <a:outerShdw dist="25400" dir="5400000" sx="99000" sy="99000" algn="ctr" rotWithShape="0">
                <a:schemeClr val="tx2"/>
              </a:outerShdw>
            </a:effectLst>
          </p:spPr>
          <p:txBody>
            <a:bodyPr tIns="91440" bIns="91440" anchor="b">
              <a:spAutoFit/>
            </a:bodyPr>
            <a:lstStyle/>
            <a:p>
              <a:pPr algn="ctr">
                <a:defRPr/>
              </a:pPr>
              <a:r>
                <a:rPr lang="en-US" sz="1200" b="1" dirty="0" smtClean="0"/>
                <a:t>... and </a:t>
              </a:r>
              <a:r>
                <a:rPr lang="en-US" sz="1200" b="1" dirty="0"/>
                <a:t>the </a:t>
              </a:r>
              <a:r>
                <a:rPr lang="en-US" sz="1200" b="1" dirty="0" smtClean="0"/>
                <a:t>Yuan </a:t>
              </a:r>
              <a:r>
                <a:rPr lang="en-US" sz="1200" b="1" dirty="0"/>
                <a:t>appreciating against the </a:t>
              </a:r>
              <a:r>
                <a:rPr lang="en-US" sz="1200" b="1" dirty="0" smtClean="0"/>
                <a:t>dollar ...</a:t>
              </a:r>
              <a:endParaRPr lang="en-US" sz="1200" b="1" dirty="0"/>
            </a:p>
          </p:txBody>
        </p:sp>
        <p:sp>
          <p:nvSpPr>
            <p:cNvPr id="243" name="Oval 242"/>
            <p:cNvSpPr/>
            <p:nvPr>
              <p:custDataLst>
                <p:tags r:id="rId88"/>
              </p:custDataLst>
            </p:nvPr>
          </p:nvSpPr>
          <p:spPr bwMode="gray">
            <a:xfrm>
              <a:off x="4573587" y="5683243"/>
              <a:ext cx="55540" cy="4999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518151" name="Title 66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gray"/>
        <p:txBody>
          <a:bodyPr/>
          <a:lstStyle/>
          <a:p>
            <a:pPr eaLnBrk="1" hangingPunct="1"/>
            <a:r>
              <a:rPr lang="en-US" dirty="0" smtClean="0"/>
              <a:t>Increasing labor costs and rising Yuan combining to drive rapid increase in China's average labor rates versus the US</a:t>
            </a:r>
            <a:endParaRPr lang="en-US" sz="1600" b="0" dirty="0" smtClean="0"/>
          </a:p>
        </p:txBody>
      </p:sp>
      <p:sp>
        <p:nvSpPr>
          <p:cNvPr id="518231" name="BCG_FootNote_Box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71637" y="6324601"/>
            <a:ext cx="8957814" cy="3286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>
              <a:lnSpc>
                <a:spcPct val="90000"/>
              </a:lnSpc>
            </a:pPr>
            <a:r>
              <a:rPr lang="en-US" sz="800" dirty="0"/>
              <a:t>1. Hourly compensation based on BLS special studies data; </a:t>
            </a:r>
            <a:r>
              <a:rPr lang="en-US" sz="800" dirty="0" smtClean="0"/>
              <a:t>an </a:t>
            </a:r>
            <a:r>
              <a:rPr lang="en-US" sz="800" dirty="0"/>
              <a:t>additional compensation premium of 14% added to account for recent labor market trends and TVE data bias; it should be noted that this figure data </a:t>
            </a:r>
            <a:r>
              <a:rPr lang="en-US" sz="800" dirty="0" smtClean="0"/>
              <a:t>may-be </a:t>
            </a:r>
            <a:r>
              <a:rPr lang="en-US" sz="800" dirty="0"/>
              <a:t>subject to some double counting due to </a:t>
            </a:r>
            <a:r>
              <a:rPr lang="en-US" sz="800" dirty="0" smtClean="0"/>
              <a:t>the </a:t>
            </a:r>
            <a:r>
              <a:rPr lang="en-US" sz="800" dirty="0" err="1" smtClean="0"/>
              <a:t>BLS</a:t>
            </a:r>
            <a:r>
              <a:rPr lang="en-US" sz="800" dirty="0" smtClean="0"/>
              <a:t> </a:t>
            </a:r>
            <a:r>
              <a:rPr lang="en-US" sz="800" dirty="0"/>
              <a:t>methodology for benefits </a:t>
            </a:r>
            <a:r>
              <a:rPr lang="en-US" sz="800" dirty="0" smtClean="0"/>
              <a:t>calculations   2. Most recent data point is 2008, from 2011 BLS report; combined with World Bank data, this makes up ~ 13% of the Chinese labor force</a:t>
            </a:r>
            <a:endParaRPr lang="en-US" sz="800" dirty="0"/>
          </a:p>
          <a:p>
            <a:pPr eaLnBrk="0" hangingPunct="0">
              <a:lnSpc>
                <a:spcPct val="90000"/>
              </a:lnSpc>
            </a:pPr>
            <a:r>
              <a:rPr lang="en-US" sz="800" dirty="0"/>
              <a:t>Source: </a:t>
            </a:r>
            <a:r>
              <a:rPr lang="en-US" sz="800" dirty="0" err="1" smtClean="0"/>
              <a:t>EIU</a:t>
            </a:r>
            <a:r>
              <a:rPr lang="en-US" sz="800" dirty="0" smtClean="0"/>
              <a:t>; </a:t>
            </a:r>
            <a:r>
              <a:rPr lang="en-US" sz="800" dirty="0" err="1" smtClean="0"/>
              <a:t>BLS</a:t>
            </a:r>
            <a:r>
              <a:rPr lang="en-US" sz="800" dirty="0" smtClean="0"/>
              <a:t>; </a:t>
            </a:r>
            <a:r>
              <a:rPr lang="en-US" sz="800" dirty="0"/>
              <a:t>selected company </a:t>
            </a:r>
            <a:r>
              <a:rPr lang="en-US" sz="800" dirty="0" smtClean="0"/>
              <a:t>data; </a:t>
            </a:r>
            <a:r>
              <a:rPr lang="en-US" sz="800" dirty="0"/>
              <a:t>BCG </a:t>
            </a:r>
            <a:r>
              <a:rPr lang="en-US" sz="800" dirty="0" smtClean="0"/>
              <a:t>analysis</a:t>
            </a:r>
            <a:endParaRPr lang="en-US" sz="800" dirty="0"/>
          </a:p>
        </p:txBody>
      </p:sp>
      <p:graphicFrame>
        <p:nvGraphicFramePr>
          <p:cNvPr id="105" name="Object 2"/>
          <p:cNvGraphicFramePr>
            <a:graphicFrameLocks noChangeAspect="1"/>
          </p:cNvGraphicFramePr>
          <p:nvPr/>
        </p:nvGraphicFramePr>
        <p:xfrm>
          <a:off x="6926263" y="2454275"/>
          <a:ext cx="2505001" cy="2914689"/>
        </p:xfrm>
        <a:graphic>
          <a:graphicData uri="http://schemas.openxmlformats.org/presentationml/2006/ole">
            <p:oleObj spid="_x0000_s97286" name="Chart" r:id="rId94" imgW="2505001" imgH="2914689" progId="MSGraph.Chart.8">
              <p:embed followColorScheme="full"/>
            </p:oleObj>
          </a:graphicData>
        </a:graphic>
      </p:graphicFrame>
      <p:cxnSp>
        <p:nvCxnSpPr>
          <p:cNvPr id="98" name="Straight Connector 97"/>
          <p:cNvCxnSpPr/>
          <p:nvPr>
            <p:custDataLst>
              <p:tags r:id="rId7"/>
            </p:custDataLst>
          </p:nvPr>
        </p:nvCxnSpPr>
        <p:spPr bwMode="gray">
          <a:xfrm flipV="1">
            <a:off x="7821612" y="3355975"/>
            <a:ext cx="752475" cy="44767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>
            <p:custDataLst>
              <p:tags r:id="rId8"/>
            </p:custDataLst>
          </p:nvPr>
        </p:nvCxnSpPr>
        <p:spPr bwMode="gray">
          <a:xfrm flipV="1">
            <a:off x="8574087" y="2717800"/>
            <a:ext cx="762000" cy="63817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>
            <p:custDataLst>
              <p:tags r:id="rId9"/>
            </p:custDataLst>
          </p:nvPr>
        </p:nvCxnSpPr>
        <p:spPr bwMode="gray">
          <a:xfrm flipV="1">
            <a:off x="7059612" y="3803650"/>
            <a:ext cx="762000" cy="3619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818312" y="2227263"/>
            <a:ext cx="18684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noAutofit/>
          </a:bodyPr>
          <a:lstStyle/>
          <a:p>
            <a:r>
              <a:rPr lang="en-US" sz="1200" dirty="0" smtClean="0">
                <a:sym typeface="Arial" charset="0"/>
              </a:rPr>
              <a:t>China : US </a:t>
            </a:r>
            <a:r>
              <a:rPr lang="en-US" sz="1200" dirty="0">
                <a:sym typeface="Arial" charset="0"/>
              </a:rPr>
              <a:t>productivity (%) </a:t>
            </a:r>
          </a:p>
        </p:txBody>
      </p:sp>
      <p:sp>
        <p:nvSpPr>
          <p:cNvPr id="110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818312" y="2473325"/>
            <a:ext cx="1397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/>
            <a:fld id="{841776CB-F99D-4E8B-9FC9-82836BA15814}" type="datetime'''''''''''''''''50'''''''''''''''''''''">
              <a:rPr lang="en-US" sz="1000" smtClean="0">
                <a:cs typeface="Arial"/>
              </a:rPr>
              <a:pPr algn="r"/>
              <a:t>50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113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818312" y="3006725"/>
            <a:ext cx="1397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/>
            <a:fld id="{21E29E2C-6AF3-479B-A0F6-033B5A9B547B}" type="datetime'''''''''''''''''''''''''40'''''''''''''''''''''''''''''''''">
              <a:rPr lang="en-US" sz="1000" smtClean="0">
                <a:cs typeface="Arial"/>
              </a:rPr>
              <a:pPr algn="r"/>
              <a:t>40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114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818312" y="3540125"/>
            <a:ext cx="1397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/>
            <a:fld id="{2762E66A-B312-4F74-927E-9866B90E81D4}" type="datetime'''''''''''''''''3''''''''''''''''''''''''''''''0'''''''''''">
              <a:rPr lang="en-US" sz="1000" smtClean="0">
                <a:cs typeface="Arial"/>
              </a:rPr>
              <a:pPr algn="r"/>
              <a:t>30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11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818312" y="4073525"/>
            <a:ext cx="1397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/>
            <a:fld id="{69D4A145-EB5C-402C-8982-7055D03072CF}" type="datetime'''''''''''''''''''''''''2''0'''''''''''''''''''''''''''">
              <a:rPr lang="en-US" sz="1000" smtClean="0">
                <a:cs typeface="Arial"/>
              </a:rPr>
              <a:pPr algn="r"/>
              <a:t>20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116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818312" y="4606925"/>
            <a:ext cx="1397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/>
            <a:fld id="{2D6415AC-3EF6-4E02-8395-C4A912A3AB35}" type="datetime'''''''''''''''''''''''''''''''''''''''''''1''''''0'''''">
              <a:rPr lang="en-US" sz="1000" smtClean="0">
                <a:cs typeface="Arial"/>
              </a:rPr>
              <a:pPr algn="r"/>
              <a:t>10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117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888162" y="5140325"/>
            <a:ext cx="698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/>
            <a:fld id="{66DBC8D0-D97E-4E33-9A14-4F933E4F7C39}" type="datetime'''''''''''''''''0'''''''''''''''''''">
              <a:rPr lang="en-US" sz="1000" smtClean="0">
                <a:cs typeface="Arial"/>
              </a:rPr>
              <a:pPr algn="r"/>
              <a:t>0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120" name="Text Placeholder 93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196387" y="5334000"/>
            <a:ext cx="2794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6D88D32-7274-48C4-8A06-41BED77A3854}" type="datetime'''2''''0''''''''''''''''''1''''''''''''''''''5'">
              <a:rPr lang="en-US" sz="1000" b="0" smtClean="0">
                <a:cs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en-US" sz="1000" b="0" dirty="0">
              <a:latin typeface="Arial"/>
              <a:cs typeface="Arial"/>
              <a:sym typeface="Arial"/>
            </a:endParaRPr>
          </a:p>
        </p:txBody>
      </p:sp>
      <p:sp>
        <p:nvSpPr>
          <p:cNvPr id="121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434387" y="5334000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noAutofit/>
          </a:bodyPr>
          <a:lstStyle/>
          <a:p>
            <a:pPr algn="ctr"/>
            <a:fld id="{8247EE55-A31A-4F42-8A18-951D983457BA}" type="datetime'''''''''2''0''''''''''''1''''''''''''''''''0'''">
              <a:rPr lang="en-US" sz="1000" smtClean="0">
                <a:cs typeface="Arial"/>
              </a:rPr>
              <a:pPr algn="ctr"/>
              <a:t>2010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127" name="Text Placeholder 91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681912" y="5334000"/>
            <a:ext cx="2794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68CE702-430E-41AA-AA9F-42F5F438F818}" type="datetime'2''''''0''''0''''''''''''''''''''''''''''''''''''''''''''5'''">
              <a:rPr lang="en-US" sz="1000" b="0" smtClean="0">
                <a:cs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5</a:t>
            </a:fld>
            <a:endParaRPr lang="en-US" sz="1000" b="0" dirty="0">
              <a:latin typeface="Arial"/>
              <a:cs typeface="Arial"/>
              <a:sym typeface="Arial"/>
            </a:endParaRPr>
          </a:p>
        </p:txBody>
      </p:sp>
      <p:sp>
        <p:nvSpPr>
          <p:cNvPr id="128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919912" y="5334000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noAutofit/>
          </a:bodyPr>
          <a:lstStyle/>
          <a:p>
            <a:pPr algn="ctr"/>
            <a:fld id="{2ABC9BEE-8BF1-46E4-96A7-1F72F475A54A}" type="datetime'''''''''''''''2''''''0''''''''''''''0''''0'">
              <a:rPr lang="en-US" sz="1000" smtClean="0">
                <a:cs typeface="Arial"/>
              </a:rPr>
              <a:pPr algn="ctr"/>
              <a:t>2000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138" name="Text Placeholder 38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069262" y="3471862"/>
            <a:ext cx="258762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</a:ln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7CF9608-812D-4F01-9E4B-DFDD98DD1ACB}" type="datetime'''''''''''''''''''''''''''7''''''''''''''''''%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%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826500" y="2928937"/>
            <a:ext cx="258762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00D33781-FAD7-492E-9F17-6604AF3BE799}" type="datetime'''''''''''7''''''%'''''''''''''''''''''''''''''''''''''''''''">
              <a:rPr lang="en-US" sz="1000" b="0" smtClean="0"/>
              <a:pPr algn="ctr">
                <a:spcBef>
                  <a:spcPct val="0"/>
                </a:spcBef>
              </a:pPr>
              <a:t>7%</a:t>
            </a:fld>
            <a:endParaRPr lang="en-US" sz="1000" b="0" dirty="0" smtClean="0">
              <a:latin typeface="Arial"/>
              <a:sym typeface="Arial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312025" y="3876675"/>
            <a:ext cx="258762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83E0C612-C7EF-4CCB-8246-835F2BEC2FB6}" type="datetime'''''''''''''''''''''''''''''''''''''''''''''''''8''%'''''">
              <a:rPr lang="en-US" sz="1000" b="0" smtClean="0"/>
              <a:pPr algn="ctr">
                <a:spcBef>
                  <a:spcPct val="0"/>
                </a:spcBef>
              </a:pPr>
              <a:t>8%</a:t>
            </a:fld>
            <a:endParaRPr lang="en-US" sz="1000" b="0" dirty="0" smtClean="0">
              <a:latin typeface="Arial"/>
              <a:sym typeface="Arial"/>
            </a:endParaRPr>
          </a:p>
        </p:txBody>
      </p:sp>
      <p:sp>
        <p:nvSpPr>
          <p:cNvPr id="143" name="Rectangle 142"/>
          <p:cNvSpPr/>
          <p:nvPr>
            <p:custDataLst>
              <p:tags r:id="rId24"/>
            </p:custDataLst>
          </p:nvPr>
        </p:nvSpPr>
        <p:spPr bwMode="gray">
          <a:xfrm>
            <a:off x="2064251" y="2211496"/>
            <a:ext cx="702212" cy="2997200"/>
          </a:xfrm>
          <a:prstGeom prst="rect">
            <a:avLst/>
          </a:prstGeom>
          <a:solidFill>
            <a:srgbClr val="F9DFB5"/>
          </a:solidFill>
          <a:ln w="9525">
            <a:solidFill>
              <a:srgbClr val="F9DFB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44" name="Rectangle 2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471637" y="1291379"/>
            <a:ext cx="2669330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>
              <a:defRPr/>
            </a:pPr>
            <a:r>
              <a:rPr lang="en-US" sz="1200" b="1" dirty="0" smtClean="0"/>
              <a:t>Average Chinese </a:t>
            </a:r>
            <a:r>
              <a:rPr lang="en-US" sz="1200" b="1" dirty="0"/>
              <a:t>manufacturing wages </a:t>
            </a:r>
            <a:r>
              <a:rPr lang="en-US" sz="1200" b="1" dirty="0" smtClean="0"/>
              <a:t>for ~ 100M workers</a:t>
            </a:r>
            <a:r>
              <a:rPr lang="en-US" sz="1200" b="1" baseline="30000" dirty="0" smtClean="0"/>
              <a:t>2</a:t>
            </a:r>
            <a:r>
              <a:rPr lang="en-US" sz="1200" b="1" dirty="0" smtClean="0"/>
              <a:t> growing </a:t>
            </a:r>
            <a:r>
              <a:rPr lang="en-US" sz="1200" b="1" dirty="0"/>
              <a:t>faster than </a:t>
            </a:r>
            <a:r>
              <a:rPr lang="en-US" sz="1200" b="1" dirty="0" smtClean="0"/>
              <a:t>US' ...</a:t>
            </a:r>
            <a:endParaRPr lang="en-US" sz="1200" b="1" dirty="0"/>
          </a:p>
        </p:txBody>
      </p:sp>
      <p:cxnSp>
        <p:nvCxnSpPr>
          <p:cNvPr id="145" name="Straight Connector 144"/>
          <p:cNvCxnSpPr/>
          <p:nvPr>
            <p:custDataLst>
              <p:tags r:id="rId26"/>
            </p:custDataLst>
          </p:nvPr>
        </p:nvCxnSpPr>
        <p:spPr bwMode="gray">
          <a:xfrm>
            <a:off x="1660525" y="5713412"/>
            <a:ext cx="179387" cy="0"/>
          </a:xfrm>
          <a:prstGeom prst="line">
            <a:avLst/>
          </a:prstGeom>
          <a:ln w="9525">
            <a:solidFill>
              <a:srgbClr val="177B57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>
            <p:custDataLst>
              <p:tags r:id="rId27"/>
            </p:custDataLst>
          </p:nvPr>
        </p:nvCxnSpPr>
        <p:spPr bwMode="gray">
          <a:xfrm>
            <a:off x="763587" y="5713412"/>
            <a:ext cx="179388" cy="0"/>
          </a:xfrm>
          <a:prstGeom prst="line">
            <a:avLst/>
          </a:prstGeom>
          <a:ln w="9525">
            <a:solidFill>
              <a:srgbClr val="3D6E8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890712" y="5643562"/>
            <a:ext cx="8159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fld id="{209C3D96-67E7-4422-8469-D186731560C7}" type="datetime'''''C''''hin''''''''''''''''''''''''''a'''' (R''''''''MB)'''">
              <a:rPr lang="en-US" sz="1000" smtClean="0">
                <a:cs typeface="Arial"/>
              </a:rPr>
              <a:pPr/>
              <a:t>China (RMB)</a:t>
            </a:fld>
            <a:r>
              <a:rPr lang="en-US" sz="1000" baseline="30000" smtClean="0">
                <a:sym typeface="Arial" charset="0"/>
              </a:rPr>
              <a:t>1</a:t>
            </a:r>
            <a:r>
              <a:rPr lang="en-US" sz="1000" smtClean="0">
                <a:sym typeface="Arial" charset="0"/>
              </a:rPr>
              <a:t> </a:t>
            </a:r>
            <a:endParaRPr lang="en-US" sz="1000" dirty="0">
              <a:sym typeface="Arial" charset="0"/>
            </a:endParaRPr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93775" y="5643562"/>
            <a:ext cx="5651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fld id="{726574EC-DD9D-46A8-8749-88BA2BB09B42}" type="datetime'U''''''''S'''''''''''''''''''' ''''''''''''''(U''''SD)'''">
              <a:rPr lang="en-US" sz="1000" smtClean="0">
                <a:cs typeface="Arial"/>
              </a:rPr>
              <a:pPr/>
              <a:t>US (USD)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graphicFrame>
        <p:nvGraphicFramePr>
          <p:cNvPr id="151" name="Object 3"/>
          <p:cNvGraphicFramePr>
            <a:graphicFrameLocks noChangeAspect="1"/>
          </p:cNvGraphicFramePr>
          <p:nvPr/>
        </p:nvGraphicFramePr>
        <p:xfrm>
          <a:off x="552450" y="2454275"/>
          <a:ext cx="2362251" cy="2914689"/>
        </p:xfrm>
        <a:graphic>
          <a:graphicData uri="http://schemas.openxmlformats.org/presentationml/2006/ole">
            <p:oleObj spid="_x0000_s97287" name="Chart" r:id="rId95" imgW="2362251" imgH="2914689" progId="MSGraph.Chart.8">
              <p:embed followColorScheme="full"/>
            </p:oleObj>
          </a:graphicData>
        </a:graphic>
      </p:graphicFrame>
      <p:cxnSp>
        <p:nvCxnSpPr>
          <p:cNvPr id="112" name="Straight Connector 111"/>
          <p:cNvCxnSpPr/>
          <p:nvPr>
            <p:custDataLst>
              <p:tags r:id="rId30"/>
            </p:custDataLst>
          </p:nvPr>
        </p:nvCxnSpPr>
        <p:spPr bwMode="gray">
          <a:xfrm flipV="1">
            <a:off x="2076450" y="4525962"/>
            <a:ext cx="695325" cy="2000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>
            <p:custDataLst>
              <p:tags r:id="rId31"/>
            </p:custDataLst>
          </p:nvPr>
        </p:nvCxnSpPr>
        <p:spPr bwMode="gray">
          <a:xfrm flipV="1">
            <a:off x="1381125" y="4725987"/>
            <a:ext cx="695325" cy="10477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>
            <p:custDataLst>
              <p:tags r:id="rId32"/>
            </p:custDataLst>
          </p:nvPr>
        </p:nvCxnSpPr>
        <p:spPr bwMode="gray">
          <a:xfrm flipV="1">
            <a:off x="685800" y="4830762"/>
            <a:ext cx="695325" cy="476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>
            <p:custDataLst>
              <p:tags r:id="rId33"/>
            </p:custDataLst>
          </p:nvPr>
        </p:nvCxnSpPr>
        <p:spPr bwMode="gray">
          <a:xfrm flipV="1">
            <a:off x="2076450" y="2601912"/>
            <a:ext cx="695325" cy="33337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>
            <p:custDataLst>
              <p:tags r:id="rId34"/>
            </p:custDataLst>
          </p:nvPr>
        </p:nvCxnSpPr>
        <p:spPr bwMode="gray">
          <a:xfrm flipV="1">
            <a:off x="1381125" y="2935287"/>
            <a:ext cx="695325" cy="3143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>
            <p:custDataLst>
              <p:tags r:id="rId35"/>
            </p:custDataLst>
          </p:nvPr>
        </p:nvCxnSpPr>
        <p:spPr bwMode="gray">
          <a:xfrm flipV="1">
            <a:off x="685800" y="3249612"/>
            <a:ext cx="695325" cy="19050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2800350" y="2257425"/>
            <a:ext cx="2825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noAutofit/>
          </a:bodyPr>
          <a:lstStyle/>
          <a:p>
            <a:pPr algn="r"/>
            <a:r>
              <a:rPr lang="en-US" sz="1000" dirty="0">
                <a:sym typeface="Arial" charset="0"/>
              </a:rPr>
              <a:t>RMB</a:t>
            </a:r>
          </a:p>
        </p:txBody>
      </p:sp>
      <p:sp>
        <p:nvSpPr>
          <p:cNvPr id="168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2874033" y="2473325"/>
            <a:ext cx="2095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fld id="{D14A2C13-AB8C-4DBF-A566-CAC41D493BDC}" type="datetime'''1''6''''''''''''''''''''''''''''''''''''''''''''''''''0'''''">
              <a:rPr lang="en-US" sz="1000" smtClean="0">
                <a:cs typeface="Arial"/>
              </a:rPr>
              <a:pPr/>
              <a:t>160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169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2874033" y="3140075"/>
            <a:ext cx="2095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fld id="{0291D0B3-7B5D-41DE-9B3E-937E16E06864}" type="datetime'''''''''''''''1''''2''''''''''''''''0'''''''">
              <a:rPr lang="en-US" sz="1000" smtClean="0">
                <a:cs typeface="Arial"/>
              </a:rPr>
              <a:pPr/>
              <a:t>120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170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2874033" y="3806825"/>
            <a:ext cx="1397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fld id="{5B9146E4-903D-44FB-8865-4EB120AAB926}" type="datetime'8''''''0'''''''''''''''''''''''">
              <a:rPr lang="en-US" sz="1000" smtClean="0">
                <a:cs typeface="Arial"/>
              </a:rPr>
              <a:pPr/>
              <a:t>80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171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2874033" y="4473575"/>
            <a:ext cx="1397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fld id="{F51FA122-7B58-4569-A27E-33427F318855}" type="datetime'''''''4''''0'''''''''''''''''''''''''''''''''''''''''''''''''">
              <a:rPr lang="en-US" sz="1000" smtClean="0">
                <a:cs typeface="Arial"/>
              </a:rPr>
              <a:pPr/>
              <a:t>40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172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2874033" y="5140325"/>
            <a:ext cx="698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fld id="{2DC1F53D-FDD0-477C-8592-0183C595C3FC}" type="datetime'0'''''''''''''''''''''''''''">
              <a:rPr lang="en-US" sz="1000" smtClean="0">
                <a:cs typeface="Arial"/>
              </a:rPr>
              <a:pPr/>
              <a:t>0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173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444500" y="2227262"/>
            <a:ext cx="32067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noAutofit/>
          </a:bodyPr>
          <a:lstStyle/>
          <a:p>
            <a:r>
              <a:rPr lang="en-US" sz="1200" dirty="0">
                <a:latin typeface="Arial"/>
                <a:sym typeface="Arial"/>
              </a:rPr>
              <a:t>USD</a:t>
            </a:r>
          </a:p>
        </p:txBody>
      </p:sp>
      <p:sp>
        <p:nvSpPr>
          <p:cNvPr id="174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444500" y="2473325"/>
            <a:ext cx="1397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/>
            <a:fld id="{F80E5325-23C1-427C-8535-485ADE2411B4}" type="datetime'''''''''''''''''''''''''3''''''''''0'''''''''''''''''''">
              <a:rPr lang="en-US" sz="1000" smtClean="0">
                <a:cs typeface="Arial"/>
              </a:rPr>
              <a:pPr algn="r"/>
              <a:t>30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175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444500" y="3359150"/>
            <a:ext cx="1397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/>
            <a:fld id="{AC738965-A395-455C-89CA-7C1C38093F56}" type="datetime'''''''''''2''''''''''''''''''''''''''0'''''''''''''''">
              <a:rPr lang="en-US" sz="1000" smtClean="0">
                <a:cs typeface="Arial"/>
              </a:rPr>
              <a:pPr algn="r"/>
              <a:t>20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177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444500" y="4254500"/>
            <a:ext cx="1397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/>
            <a:fld id="{FEE86E06-8C48-4404-A2A6-37B90CDFC249}" type="datetime'''''''''1''''''''''''0'''''''''''''''''''">
              <a:rPr lang="en-US" sz="1000" smtClean="0">
                <a:cs typeface="Arial"/>
              </a:rPr>
              <a:pPr algn="r"/>
              <a:t>10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178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514350" y="5140325"/>
            <a:ext cx="698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/>
            <a:fld id="{C8CB85A5-121E-4922-9B55-984347610F61}" type="datetime'''''''''''''''''''''''''''''''''''''''0'''''''">
              <a:rPr lang="en-US" sz="1000" smtClean="0">
                <a:cs typeface="Arial"/>
              </a:rPr>
              <a:pPr algn="r"/>
              <a:t>0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179" name="Text Placeholder 2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2632075" y="5334000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noAutofit/>
          </a:bodyPr>
          <a:lstStyle/>
          <a:p>
            <a:pPr algn="ctr"/>
            <a:fld id="{8D19A6AC-08A4-43A3-AB48-4ED6F813C038}" type="datetime'2''''''''''0''''1''''5'''''''''''''''''''''''''">
              <a:rPr lang="en-US" sz="1000" smtClean="0">
                <a:cs typeface="Arial"/>
              </a:rPr>
              <a:pPr algn="ctr"/>
              <a:t>2015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197" name="Text Placeholder 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1936750" y="5334000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noAutofit/>
          </a:bodyPr>
          <a:lstStyle/>
          <a:p>
            <a:pPr algn="ctr"/>
            <a:fld id="{9D84B2D1-F80A-448B-B7C7-2AE5F7DCDE94}" type="datetime'''''''''''''''''''''''2''''''''''''''0''''''1''''''''0'">
              <a:rPr lang="en-US" sz="1000" smtClean="0">
                <a:cs typeface="Arial"/>
              </a:rPr>
              <a:pPr algn="ctr"/>
              <a:t>2010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203" name="Text Placeholder 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1241425" y="5334000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noAutofit/>
          </a:bodyPr>
          <a:lstStyle/>
          <a:p>
            <a:pPr algn="ctr"/>
            <a:fld id="{009CC309-01EE-4C04-9E3D-FA33CF6CE689}" type="datetime'''''''''''2''''''''0''''''''''0''''''''''''''''5'''''">
              <a:rPr lang="en-US" sz="1000" smtClean="0">
                <a:cs typeface="Arial"/>
              </a:rPr>
              <a:pPr algn="ctr"/>
              <a:t>2005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204" name="Text Placeholder 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546100" y="5334000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noAutofit/>
          </a:bodyPr>
          <a:lstStyle/>
          <a:p>
            <a:pPr algn="ctr"/>
            <a:fld id="{861B0C78-2D0F-4B03-BBA5-7CBF66030853}" type="datetime'20''''''''''''''''''''''''''''''''''''00'''''''''">
              <a:rPr lang="en-US" sz="1000" smtClean="0">
                <a:cs typeface="Arial"/>
              </a:rPr>
              <a:pPr algn="ctr"/>
              <a:t>2000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205" name="Text Placeholder 95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2192337" y="4518025"/>
            <a:ext cx="463550" cy="215900"/>
          </a:xfrm>
          <a:prstGeom prst="ellipse">
            <a:avLst/>
          </a:prstGeom>
          <a:solidFill>
            <a:srgbClr val="4D4D4D"/>
          </a:solidFill>
          <a:ln w="9525">
            <a:solidFill>
              <a:srgbClr val="4D4D4D"/>
            </a:solidFill>
          </a:ln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310B76C-02EC-4A63-850F-2C2699B09BAF}" type="datetime'+''''''''1''''''''''''''4''''''''''''''%''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14%</a:t>
            </a:fld>
            <a:endParaRPr lang="en-US" sz="1000" b="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06" name="Text Placeholder 93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1497012" y="4670425"/>
            <a:ext cx="463550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</a:ln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6239FB0-24BD-42FC-9263-56421F3753E2}" type="datetime'''''''+1''''''''''''''''''''''''''''''''4''''%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+14%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207" name="Text Placeholder 91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850900" y="4746625"/>
            <a:ext cx="365125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</a:ln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4D0FEEF-95E9-45F6-BB00-2E30365980AC}" type="datetime'+''''''''''''''''''''''''''''''''''9''''''''''''%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+9%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208" name="Text Placeholder 83"/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2241550" y="2660650"/>
            <a:ext cx="365125" cy="215900"/>
          </a:xfrm>
          <a:prstGeom prst="ellipse">
            <a:avLst/>
          </a:prstGeom>
          <a:solidFill>
            <a:srgbClr val="4D4D4D"/>
          </a:solidFill>
          <a:ln w="9525">
            <a:solidFill>
              <a:srgbClr val="4D4D4D"/>
            </a:solidFill>
          </a:ln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1D70695-C90D-4DF1-AF16-C4AEEF6CB91D}" type="datetime'''''''''''''''''+''''''''''''''''''''''''''''''''''''''''3%''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3%</a:t>
            </a:fld>
            <a:endParaRPr lang="en-US" sz="1000" b="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09" name="Text Placeholder 81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1546225" y="2984500"/>
            <a:ext cx="365125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</a:ln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531818B-7F2F-4932-AB24-49FF08DD004B}" type="datetime'''+''4''''''''''''''''%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+4%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210" name="Text Placeholder 79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850900" y="3236912"/>
            <a:ext cx="365125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</a:ln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B70854A-3B1C-4CDF-B3E9-D89DA750879C}" type="datetime'''''''''''''''''''''''+2''''''''''''''''''''%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+2%</a:t>
            </a:fld>
            <a:endParaRPr lang="en-US" sz="1000" b="0" dirty="0">
              <a:latin typeface="Arial"/>
              <a:sym typeface="Arial"/>
            </a:endParaRPr>
          </a:p>
        </p:txBody>
      </p:sp>
      <p:graphicFrame>
        <p:nvGraphicFramePr>
          <p:cNvPr id="211" name="Object 4"/>
          <p:cNvGraphicFramePr>
            <a:graphicFrameLocks noChangeAspect="1"/>
          </p:cNvGraphicFramePr>
          <p:nvPr/>
        </p:nvGraphicFramePr>
        <p:xfrm>
          <a:off x="3781425" y="2454275"/>
          <a:ext cx="2543050" cy="2914689"/>
        </p:xfrm>
        <a:graphic>
          <a:graphicData uri="http://schemas.openxmlformats.org/presentationml/2006/ole">
            <p:oleObj spid="_x0000_s97288" name="Chart" r:id="rId96" imgW="2543050" imgH="2914689" progId="MSGraph.Chart.8">
              <p:embed followColorScheme="full"/>
            </p:oleObj>
          </a:graphicData>
        </a:graphic>
      </p:graphicFrame>
      <p:cxnSp>
        <p:nvCxnSpPr>
          <p:cNvPr id="122" name="Straight Connector 121"/>
          <p:cNvCxnSpPr/>
          <p:nvPr>
            <p:custDataLst>
              <p:tags r:id="rId57"/>
            </p:custDataLst>
          </p:nvPr>
        </p:nvCxnSpPr>
        <p:spPr bwMode="gray">
          <a:xfrm flipV="1">
            <a:off x="5457825" y="2232025"/>
            <a:ext cx="771525" cy="5048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>
            <p:custDataLst>
              <p:tags r:id="rId58"/>
            </p:custDataLst>
          </p:nvPr>
        </p:nvCxnSpPr>
        <p:spPr bwMode="gray">
          <a:xfrm flipV="1">
            <a:off x="4686300" y="2736850"/>
            <a:ext cx="771525" cy="5905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/>
          <p:cNvCxnSpPr/>
          <p:nvPr>
            <p:custDataLst>
              <p:tags r:id="rId59"/>
            </p:custDataLst>
          </p:nvPr>
        </p:nvCxnSpPr>
        <p:spPr bwMode="gray">
          <a:xfrm flipV="1">
            <a:off x="3914775" y="3327400"/>
            <a:ext cx="771525" cy="57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" name="Text Placeholder 2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3568699" y="2227262"/>
            <a:ext cx="787400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noAutofit/>
          </a:bodyPr>
          <a:lstStyle/>
          <a:p>
            <a:r>
              <a:rPr lang="en-US" sz="1200" dirty="0" smtClean="0">
                <a:latin typeface="Arial"/>
                <a:sym typeface="Arial"/>
              </a:rPr>
              <a:t>USD : </a:t>
            </a:r>
            <a:r>
              <a:rPr lang="en-US" sz="1200" dirty="0" err="1" smtClean="0">
                <a:latin typeface="Arial"/>
                <a:sym typeface="Arial"/>
              </a:rPr>
              <a:t>RMB</a:t>
            </a:r>
            <a:endParaRPr lang="en-US" sz="1200" dirty="0">
              <a:latin typeface="Arial"/>
              <a:sym typeface="Arial"/>
            </a:endParaRPr>
          </a:p>
        </p:txBody>
      </p:sp>
      <p:sp>
        <p:nvSpPr>
          <p:cNvPr id="217" name="Text Placeholder 2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3568700" y="2473325"/>
            <a:ext cx="2444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/>
            <a:fld id="{44BE114A-0F8B-4DE6-96B6-4F224DEE8189}" type="datetime'''''''''0''''''''''''''''''''''''''''''''.''1''8'''''''''''''">
              <a:rPr lang="en-US" sz="1000" smtClean="0">
                <a:cs typeface="Arial"/>
              </a:rPr>
              <a:pPr algn="r"/>
              <a:t>0.18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218" name="Text Placeholder 2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3568700" y="2682875"/>
            <a:ext cx="2444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/>
            <a:fld id="{5F8C704C-7227-42E7-B1E1-C981BD11FC8F}" type="datetime'''''''''''''''''''''0''''.''''1''7'''''''''''''''">
              <a:rPr lang="en-US" sz="1000" smtClean="0">
                <a:cs typeface="Arial"/>
              </a:rPr>
              <a:pPr algn="r"/>
              <a:t>0.17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219" name="Text Placeholder 2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3568700" y="2882900"/>
            <a:ext cx="2444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/>
            <a:fld id="{0BD73276-9937-4F9D-869F-23C2FDC02F99}" type="datetime'''''''''0''''''''''''''''''''''''''''''''''''.''''16'''''''''">
              <a:rPr lang="en-US" sz="1000" smtClean="0">
                <a:cs typeface="Arial"/>
              </a:rPr>
              <a:pPr algn="r"/>
              <a:t>0.16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220" name="Text Placeholder 2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3568700" y="3092450"/>
            <a:ext cx="2444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/>
            <a:fld id="{7FB10EE1-9C46-40FA-BF83-889C2F8910B9}" type="datetime'0''''''''''''''''''''''''.''''''''1''''''5'''''">
              <a:rPr lang="en-US" sz="1000" smtClean="0">
                <a:cs typeface="Arial"/>
              </a:rPr>
              <a:pPr algn="r"/>
              <a:t>0.15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222" name="Text Placeholder 2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3568700" y="3292475"/>
            <a:ext cx="2444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/>
            <a:fld id="{FF01FFE8-9570-4937-B281-5F121D0A8BCB}" type="datetime'''''''''''''''''''''0''''''''''''''''''''''''.''''''''''''14'">
              <a:rPr lang="en-US" sz="1000" smtClean="0">
                <a:cs typeface="Arial"/>
              </a:rPr>
              <a:pPr algn="r"/>
              <a:t>0.14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223" name="Text Placeholder 2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3568700" y="3502025"/>
            <a:ext cx="2444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/>
            <a:fld id="{02BBAB78-23DD-436E-B4D5-79B11748593A}" type="datetime'''0.''1''''''''''''''''''''''''''''''''''3'''''''''''''''''">
              <a:rPr lang="en-US" sz="1000" smtClean="0">
                <a:cs typeface="Arial"/>
              </a:rPr>
              <a:pPr algn="r"/>
              <a:t>0.13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224" name="Text Placeholder 2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3568700" y="3702050"/>
            <a:ext cx="2444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/>
            <a:fld id="{9DDDD170-DA67-44C0-9761-4ABF1158112A}" type="datetime'0''''''.''''''''''''''''''''''1''2'''''''">
              <a:rPr lang="en-US" sz="1000" smtClean="0">
                <a:cs typeface="Arial"/>
              </a:rPr>
              <a:pPr algn="r"/>
              <a:t>0.12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225" name="Text Placeholder 2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3568700" y="3911600"/>
            <a:ext cx="2444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/>
            <a:fld id="{C7EF6FED-594F-4701-8144-DD0CB7ACF8B5}" type="datetime'''''''0''''''''''''''''''''''''.''''1''''''''''''''''''1'">
              <a:rPr lang="en-US" sz="1000" smtClean="0">
                <a:cs typeface="Arial"/>
              </a:rPr>
              <a:pPr algn="r"/>
              <a:t>0.11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226" name="Text Placeholder 2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3568700" y="4111625"/>
            <a:ext cx="2444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/>
            <a:fld id="{BBD97B18-F6B3-4A01-864C-F39898801CA6}" type="datetime'''''''''''''''0''''.''''''''''1''0'''''''''''''''''''">
              <a:rPr lang="en-US" sz="1000" smtClean="0">
                <a:cs typeface="Arial"/>
              </a:rPr>
              <a:pPr algn="r"/>
              <a:t>0.10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227" name="Text Placeholder 2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3568700" y="4321175"/>
            <a:ext cx="2444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/>
            <a:fld id="{BE533503-508E-4CF3-A38E-FC85EF2D4D55}" type="datetime'''''''''''0.0''9'">
              <a:rPr lang="en-US" sz="1000" smtClean="0">
                <a:cs typeface="Arial"/>
              </a:rPr>
              <a:pPr algn="r"/>
              <a:t>0.09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215" name="Text Placeholder 2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3568700" y="4521200"/>
            <a:ext cx="2444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/>
            <a:fld id="{3182165A-FDF5-464C-A49A-2E85BACB5E95}" type="datetime'0''''''''''''''''.''''''''''''''0''8'">
              <a:rPr lang="en-US" sz="1000" smtClean="0">
                <a:cs typeface="Arial"/>
              </a:rPr>
              <a:pPr algn="r"/>
              <a:t>0.08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228" name="Text Placeholder 2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3568700" y="4730750"/>
            <a:ext cx="2444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/>
            <a:fld id="{640D4EC3-0108-43BD-8421-EA676C46572E}" type="datetime'''''''''0''''''''''''''''.''0''''''''''''''''''''''7'''''''">
              <a:rPr lang="en-US" sz="1000" smtClean="0">
                <a:cs typeface="Arial"/>
              </a:rPr>
              <a:pPr algn="r"/>
              <a:t>0.07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229" name="Text Placeholder 2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3568700" y="4930775"/>
            <a:ext cx="2444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/>
            <a:fld id="{B4C61EBC-3F59-433D-AAD3-8F451D3C0E78}" type="datetime'''''0''.''''''''''''''''''''''''''''''''''0''''6'''''''">
              <a:rPr lang="en-US" sz="1000" smtClean="0">
                <a:cs typeface="Arial"/>
              </a:rPr>
              <a:pPr algn="r"/>
              <a:t>0.06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230" name="Text Placeholder 2"/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3568700" y="5140325"/>
            <a:ext cx="2444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/>
            <a:fld id="{F717788E-9784-4684-9DE1-9BE4CAAE2410}" type="datetime'''''''''''''''''''''''''''0''''''.''''''0''''''''''''''5'">
              <a:rPr lang="en-US" sz="1000" smtClean="0">
                <a:cs typeface="Arial"/>
              </a:rPr>
              <a:pPr algn="r"/>
              <a:t>0.05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231" name="Text Placeholder 2"/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6089650" y="5334000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noAutofit/>
          </a:bodyPr>
          <a:lstStyle/>
          <a:p>
            <a:pPr algn="ctr"/>
            <a:fld id="{86F540DC-A54D-46B9-A29F-B1C712FAB57D}" type="datetime'2''''''''''''0''''''15'''''''''''''''''''''''''''''''''">
              <a:rPr lang="en-US" sz="1000" smtClean="0">
                <a:cs typeface="Arial"/>
              </a:rPr>
              <a:pPr algn="ctr"/>
              <a:t>2015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232" name="Text Placeholder 2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5318125" y="5334000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noAutofit/>
          </a:bodyPr>
          <a:lstStyle/>
          <a:p>
            <a:pPr algn="ctr"/>
            <a:fld id="{231F447D-A3BB-4BBE-8304-D9CA774F6EF7}" type="datetime'20''''''''''''''''''''''''''''''''''''''''''''1''''0'''''''">
              <a:rPr lang="en-US" sz="1000" smtClean="0">
                <a:cs typeface="Arial"/>
              </a:rPr>
              <a:pPr algn="ctr"/>
              <a:t>2010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236" name="Text Placeholder 2"/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4546600" y="5334000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noAutofit/>
          </a:bodyPr>
          <a:lstStyle/>
          <a:p>
            <a:pPr algn="ctr"/>
            <a:fld id="{458B91CC-BAC6-4974-813B-728BF4B11F09}" type="datetime'''''2''''''''''''''0''''''''''''''05'''''''''''">
              <a:rPr lang="en-US" sz="1000" smtClean="0">
                <a:cs typeface="Arial"/>
              </a:rPr>
              <a:pPr algn="ctr"/>
              <a:t>2005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237" name="Text Placeholder 2"/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3775075" y="5334000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noAutofit/>
          </a:bodyPr>
          <a:lstStyle/>
          <a:p>
            <a:pPr algn="ctr"/>
            <a:fld id="{A33703E5-4EDA-4F1B-AF03-37AB2B92DDC8}" type="datetime'''''2''''''''''''''''''''00''''''''0'''''''''''''''">
              <a:rPr lang="en-US" sz="1000" smtClean="0">
                <a:cs typeface="Arial"/>
              </a:rPr>
              <a:pPr algn="ctr"/>
              <a:t>2000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238" name="Text Placeholder 2"/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5715000" y="2376487"/>
            <a:ext cx="258762" cy="215900"/>
          </a:xfrm>
          <a:prstGeom prst="ellipse">
            <a:avLst/>
          </a:prstGeom>
          <a:solidFill>
            <a:srgbClr val="4D4D4D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855D718C-C356-426C-9D72-A2F1B00AE12F}" type="datetime'''3''''''''''''''''''''''''''%''''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</a:pPr>
              <a:t>3%</a:t>
            </a:fld>
            <a:endParaRPr lang="en-US" sz="1000" b="0" dirty="0" smtClean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39" name="Text Placeholder 2"/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4943475" y="2924175"/>
            <a:ext cx="258762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A1113FDC-688B-4A0B-881C-4755EC15F8C8}" type="datetime'''''''''''''''''''4''''''''''''''''%'''''''''''''''''''''''''">
              <a:rPr lang="en-US" sz="1000" b="0" smtClean="0"/>
              <a:pPr algn="ctr">
                <a:spcBef>
                  <a:spcPct val="0"/>
                </a:spcBef>
              </a:pPr>
              <a:t>4%</a:t>
            </a:fld>
            <a:endParaRPr lang="en-US" sz="1000" b="0" dirty="0" smtClean="0">
              <a:latin typeface="Arial"/>
              <a:sym typeface="Arial"/>
            </a:endParaRPr>
          </a:p>
        </p:txBody>
      </p:sp>
      <p:sp>
        <p:nvSpPr>
          <p:cNvPr id="240" name="Text Placeholder 2"/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4171950" y="3248025"/>
            <a:ext cx="258762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/>
            <a:fld id="{4E324286-1066-4286-9257-39C550380250}" type="datetime'''1''''''''''''''''''''''''''''''''''''%'''''''''">
              <a:rPr lang="en-US" sz="1000" smtClean="0">
                <a:cs typeface="Arial"/>
              </a:rPr>
              <a:pPr algn="ctr"/>
              <a:t>1%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cxnSp>
        <p:nvCxnSpPr>
          <p:cNvPr id="96" name="Straight Connector 95"/>
          <p:cNvCxnSpPr/>
          <p:nvPr>
            <p:custDataLst>
              <p:tags r:id="rId82"/>
            </p:custDataLst>
          </p:nvPr>
        </p:nvCxnSpPr>
        <p:spPr bwMode="gray">
          <a:xfrm>
            <a:off x="4510087" y="5713412"/>
            <a:ext cx="179388" cy="0"/>
          </a:xfrm>
          <a:prstGeom prst="line">
            <a:avLst/>
          </a:prstGeom>
          <a:ln w="9525">
            <a:solidFill>
              <a:schemeClr val="tx2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2" name="Text Placeholder 219"/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4740276" y="5643562"/>
            <a:ext cx="777875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DFA61D9-AFF9-417D-88EA-AD78F7DE0E77}" type="datetime'''Y''u''''''''an'' ''''t''''o dol''''''''''''l''a''''''r'">
              <a:rPr lang="en-US" sz="1000" b="0" smtClean="0"/>
              <a:pPr>
                <a:spcBef>
                  <a:spcPct val="0"/>
                </a:spcBef>
                <a:spcAft>
                  <a:spcPct val="0"/>
                </a:spcAft>
              </a:pPr>
              <a:t>Yuan to dollar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244" name="Oval 243"/>
          <p:cNvSpPr/>
          <p:nvPr>
            <p:custDataLst>
              <p:tags r:id="rId84"/>
            </p:custDataLst>
          </p:nvPr>
        </p:nvSpPr>
        <p:spPr bwMode="gray">
          <a:xfrm>
            <a:off x="1755318" y="5679632"/>
            <a:ext cx="55540" cy="49994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45" name="Rectangle 244"/>
          <p:cNvSpPr/>
          <p:nvPr>
            <p:custDataLst>
              <p:tags r:id="rId85"/>
            </p:custDataLst>
          </p:nvPr>
        </p:nvSpPr>
        <p:spPr bwMode="gray">
          <a:xfrm>
            <a:off x="831465" y="5687577"/>
            <a:ext cx="47163" cy="47625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25" name="Rectangle 124"/>
          <p:cNvSpPr/>
          <p:nvPr/>
        </p:nvSpPr>
        <p:spPr>
          <a:xfrm>
            <a:off x="3226278" y="1337094"/>
            <a:ext cx="3165896" cy="460650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                       </a:t>
            </a:r>
          </a:p>
        </p:txBody>
      </p:sp>
      <p:sp>
        <p:nvSpPr>
          <p:cNvPr id="126" name="Rectangle 125"/>
          <p:cNvSpPr/>
          <p:nvPr/>
        </p:nvSpPr>
        <p:spPr>
          <a:xfrm>
            <a:off x="6564702" y="1337094"/>
            <a:ext cx="3062377" cy="460650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                       </a:t>
            </a: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10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5" grpId="0" animBg="1"/>
      <p:bldP spid="12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/>
        </p:nvGraphicFramePr>
        <p:xfrm>
          <a:off x="0" y="0"/>
          <a:ext cx="163763" cy="158750"/>
        </p:xfrm>
        <a:graphic>
          <a:graphicData uri="http://schemas.openxmlformats.org/presentationml/2006/ole">
            <p:oleObj spid="_x0000_s65538" name="think-cell Slide" r:id="rId94" imgW="360" imgH="360" progId="TCLayout.ActiveDocument.1">
              <p:embed/>
            </p:oleObj>
          </a:graphicData>
        </a:graphic>
      </p:graphicFrame>
      <p:sp>
        <p:nvSpPr>
          <p:cNvPr id="23" name="Rectangle 2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63763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50280" name="Picture 104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5" cstate="screen"/>
          <a:srcRect/>
          <a:stretch>
            <a:fillRect/>
          </a:stretch>
        </p:blipFill>
        <p:spPr bwMode="gray">
          <a:xfrm>
            <a:off x="967733" y="3220042"/>
            <a:ext cx="5187999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en-US" dirty="0" smtClean="0"/>
              <a:t>US projected to maintain significant productivity advantages versus both Europe and China</a:t>
            </a:r>
            <a:endParaRPr lang="en-US" dirty="0"/>
          </a:p>
        </p:txBody>
      </p:sp>
      <p:sp>
        <p:nvSpPr>
          <p:cNvPr id="148" name="Line 8"/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>
            <a:off x="1014898" y="2305050"/>
            <a:ext cx="0" cy="2890396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9" name="Line 9"/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>
            <a:off x="973957" y="5195446"/>
            <a:ext cx="39303" cy="1588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0" name="Line 10"/>
          <p:cNvSpPr>
            <a:spLocks noChangeShapeType="1"/>
          </p:cNvSpPr>
          <p:nvPr>
            <p:custDataLst>
              <p:tags r:id="rId7"/>
            </p:custDataLst>
          </p:nvPr>
        </p:nvSpPr>
        <p:spPr bwMode="gray">
          <a:xfrm>
            <a:off x="973957" y="4541396"/>
            <a:ext cx="39303" cy="1588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1" name="Line 11"/>
          <p:cNvSpPr>
            <a:spLocks noChangeShapeType="1"/>
          </p:cNvSpPr>
          <p:nvPr>
            <p:custDataLst>
              <p:tags r:id="rId8"/>
            </p:custDataLst>
          </p:nvPr>
        </p:nvSpPr>
        <p:spPr bwMode="gray">
          <a:xfrm>
            <a:off x="973957" y="3895284"/>
            <a:ext cx="39303" cy="1588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2" name="Line 12"/>
          <p:cNvSpPr>
            <a:spLocks noChangeShapeType="1"/>
          </p:cNvSpPr>
          <p:nvPr>
            <p:custDataLst>
              <p:tags r:id="rId9"/>
            </p:custDataLst>
          </p:nvPr>
        </p:nvSpPr>
        <p:spPr bwMode="gray">
          <a:xfrm>
            <a:off x="973957" y="3239646"/>
            <a:ext cx="39303" cy="1588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3" name="Line 13"/>
          <p:cNvSpPr>
            <a:spLocks noChangeShapeType="1"/>
          </p:cNvSpPr>
          <p:nvPr>
            <p:custDataLst>
              <p:tags r:id="rId10"/>
            </p:custDataLst>
          </p:nvPr>
        </p:nvSpPr>
        <p:spPr bwMode="gray">
          <a:xfrm>
            <a:off x="973957" y="2593534"/>
            <a:ext cx="39303" cy="1588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4" name="Line 14"/>
          <p:cNvSpPr>
            <a:spLocks noChangeShapeType="1"/>
          </p:cNvSpPr>
          <p:nvPr>
            <p:custDataLst>
              <p:tags r:id="rId11"/>
            </p:custDataLst>
          </p:nvPr>
        </p:nvSpPr>
        <p:spPr bwMode="gray">
          <a:xfrm>
            <a:off x="1013260" y="5195446"/>
            <a:ext cx="5089742" cy="1588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5" name="Line 15"/>
          <p:cNvSpPr>
            <a:spLocks noChangeShapeType="1"/>
          </p:cNvSpPr>
          <p:nvPr>
            <p:custDataLst>
              <p:tags r:id="rId12"/>
            </p:custDataLst>
          </p:nvPr>
        </p:nvSpPr>
        <p:spPr bwMode="gray">
          <a:xfrm flipV="1">
            <a:off x="1013260" y="5195447"/>
            <a:ext cx="1638" cy="47625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6" name="Line 16"/>
          <p:cNvSpPr>
            <a:spLocks noChangeShapeType="1"/>
          </p:cNvSpPr>
          <p:nvPr>
            <p:custDataLst>
              <p:tags r:id="rId13"/>
            </p:custDataLst>
          </p:nvPr>
        </p:nvSpPr>
        <p:spPr bwMode="gray">
          <a:xfrm flipV="1">
            <a:off x="1355524" y="5195447"/>
            <a:ext cx="1638" cy="47625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7" name="Line 17"/>
          <p:cNvSpPr>
            <a:spLocks noChangeShapeType="1"/>
          </p:cNvSpPr>
          <p:nvPr>
            <p:custDataLst>
              <p:tags r:id="rId14"/>
            </p:custDataLst>
          </p:nvPr>
        </p:nvSpPr>
        <p:spPr bwMode="gray">
          <a:xfrm flipV="1">
            <a:off x="1689600" y="5195447"/>
            <a:ext cx="1638" cy="47625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8" name="Line 18"/>
          <p:cNvSpPr>
            <a:spLocks noChangeShapeType="1"/>
          </p:cNvSpPr>
          <p:nvPr>
            <p:custDataLst>
              <p:tags r:id="rId15"/>
            </p:custDataLst>
          </p:nvPr>
        </p:nvSpPr>
        <p:spPr bwMode="gray">
          <a:xfrm flipV="1">
            <a:off x="2033502" y="5195447"/>
            <a:ext cx="1638" cy="47625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9" name="Line 19"/>
          <p:cNvSpPr>
            <a:spLocks noChangeShapeType="1"/>
          </p:cNvSpPr>
          <p:nvPr>
            <p:custDataLst>
              <p:tags r:id="rId16"/>
            </p:custDataLst>
          </p:nvPr>
        </p:nvSpPr>
        <p:spPr bwMode="gray">
          <a:xfrm flipV="1">
            <a:off x="2365939" y="5195447"/>
            <a:ext cx="1638" cy="47625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0" name="Line 20"/>
          <p:cNvSpPr>
            <a:spLocks noChangeShapeType="1"/>
          </p:cNvSpPr>
          <p:nvPr>
            <p:custDataLst>
              <p:tags r:id="rId17"/>
            </p:custDataLst>
          </p:nvPr>
        </p:nvSpPr>
        <p:spPr bwMode="gray">
          <a:xfrm flipV="1">
            <a:off x="2709841" y="5195447"/>
            <a:ext cx="1638" cy="47625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1" name="Line 21"/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 flipV="1">
            <a:off x="3053742" y="5195447"/>
            <a:ext cx="1638" cy="47625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2" name="Line 22"/>
          <p:cNvSpPr>
            <a:spLocks noChangeShapeType="1"/>
          </p:cNvSpPr>
          <p:nvPr>
            <p:custDataLst>
              <p:tags r:id="rId19"/>
            </p:custDataLst>
          </p:nvPr>
        </p:nvSpPr>
        <p:spPr bwMode="gray">
          <a:xfrm flipV="1">
            <a:off x="3386181" y="5195447"/>
            <a:ext cx="1638" cy="47625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3" name="Line 23"/>
          <p:cNvSpPr>
            <a:spLocks noChangeShapeType="1"/>
          </p:cNvSpPr>
          <p:nvPr>
            <p:custDataLst>
              <p:tags r:id="rId20"/>
            </p:custDataLst>
          </p:nvPr>
        </p:nvSpPr>
        <p:spPr bwMode="gray">
          <a:xfrm flipV="1">
            <a:off x="3730082" y="5195447"/>
            <a:ext cx="1638" cy="47625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4" name="Line 24"/>
          <p:cNvSpPr>
            <a:spLocks noChangeShapeType="1"/>
          </p:cNvSpPr>
          <p:nvPr>
            <p:custDataLst>
              <p:tags r:id="rId21"/>
            </p:custDataLst>
          </p:nvPr>
        </p:nvSpPr>
        <p:spPr bwMode="gray">
          <a:xfrm flipV="1">
            <a:off x="4062520" y="5195447"/>
            <a:ext cx="1638" cy="47625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5" name="Line 25"/>
          <p:cNvSpPr>
            <a:spLocks noChangeShapeType="1"/>
          </p:cNvSpPr>
          <p:nvPr>
            <p:custDataLst>
              <p:tags r:id="rId22"/>
            </p:custDataLst>
          </p:nvPr>
        </p:nvSpPr>
        <p:spPr bwMode="gray">
          <a:xfrm flipV="1">
            <a:off x="4406421" y="5195447"/>
            <a:ext cx="1638" cy="47625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6" name="Line 26"/>
          <p:cNvSpPr>
            <a:spLocks noChangeShapeType="1"/>
          </p:cNvSpPr>
          <p:nvPr>
            <p:custDataLst>
              <p:tags r:id="rId23"/>
            </p:custDataLst>
          </p:nvPr>
        </p:nvSpPr>
        <p:spPr bwMode="gray">
          <a:xfrm flipV="1">
            <a:off x="4750322" y="5195447"/>
            <a:ext cx="1638" cy="47625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7" name="Line 27"/>
          <p:cNvSpPr>
            <a:spLocks noChangeShapeType="1"/>
          </p:cNvSpPr>
          <p:nvPr>
            <p:custDataLst>
              <p:tags r:id="rId24"/>
            </p:custDataLst>
          </p:nvPr>
        </p:nvSpPr>
        <p:spPr bwMode="gray">
          <a:xfrm flipV="1">
            <a:off x="5084399" y="5171634"/>
            <a:ext cx="1638" cy="47625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8" name="Line 28"/>
          <p:cNvSpPr>
            <a:spLocks noChangeShapeType="1"/>
          </p:cNvSpPr>
          <p:nvPr>
            <p:custDataLst>
              <p:tags r:id="rId25"/>
            </p:custDataLst>
          </p:nvPr>
        </p:nvSpPr>
        <p:spPr bwMode="gray">
          <a:xfrm flipV="1">
            <a:off x="5426663" y="5195447"/>
            <a:ext cx="1638" cy="47625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9" name="Line 29"/>
          <p:cNvSpPr>
            <a:spLocks noChangeShapeType="1"/>
          </p:cNvSpPr>
          <p:nvPr>
            <p:custDataLst>
              <p:tags r:id="rId26"/>
            </p:custDataLst>
          </p:nvPr>
        </p:nvSpPr>
        <p:spPr bwMode="gray">
          <a:xfrm flipV="1">
            <a:off x="5760738" y="5195447"/>
            <a:ext cx="1638" cy="47625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0" name="Line 30"/>
          <p:cNvSpPr>
            <a:spLocks noChangeShapeType="1"/>
          </p:cNvSpPr>
          <p:nvPr>
            <p:custDataLst>
              <p:tags r:id="rId27"/>
            </p:custDataLst>
          </p:nvPr>
        </p:nvSpPr>
        <p:spPr bwMode="gray">
          <a:xfrm flipV="1">
            <a:off x="6103002" y="5195447"/>
            <a:ext cx="1638" cy="47625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1" name="Freeform 31"/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1013260" y="2564959"/>
            <a:ext cx="5089742" cy="598488"/>
          </a:xfrm>
          <a:custGeom>
            <a:avLst/>
            <a:gdLst/>
            <a:ahLst/>
            <a:cxnLst>
              <a:cxn ang="0">
                <a:pos x="0" y="59"/>
              </a:cxn>
              <a:cxn ang="0">
                <a:pos x="35" y="63"/>
              </a:cxn>
              <a:cxn ang="0">
                <a:pos x="69" y="48"/>
              </a:cxn>
              <a:cxn ang="0">
                <a:pos x="104" y="61"/>
              </a:cxn>
              <a:cxn ang="0">
                <a:pos x="138" y="49"/>
              </a:cxn>
              <a:cxn ang="0">
                <a:pos x="173" y="40"/>
              </a:cxn>
              <a:cxn ang="0">
                <a:pos x="208" y="32"/>
              </a:cxn>
              <a:cxn ang="0">
                <a:pos x="242" y="27"/>
              </a:cxn>
              <a:cxn ang="0">
                <a:pos x="277" y="29"/>
              </a:cxn>
              <a:cxn ang="0">
                <a:pos x="311" y="22"/>
              </a:cxn>
              <a:cxn ang="0">
                <a:pos x="346" y="15"/>
              </a:cxn>
              <a:cxn ang="0">
                <a:pos x="381" y="12"/>
              </a:cxn>
              <a:cxn ang="0">
                <a:pos x="415" y="9"/>
              </a:cxn>
              <a:cxn ang="0">
                <a:pos x="450" y="6"/>
              </a:cxn>
              <a:cxn ang="0">
                <a:pos x="484" y="3"/>
              </a:cxn>
              <a:cxn ang="0">
                <a:pos x="519" y="0"/>
              </a:cxn>
            </a:cxnLst>
            <a:rect l="0" t="0" r="r" b="b"/>
            <a:pathLst>
              <a:path w="519" h="63">
                <a:moveTo>
                  <a:pt x="0" y="59"/>
                </a:moveTo>
                <a:lnTo>
                  <a:pt x="35" y="63"/>
                </a:lnTo>
                <a:lnTo>
                  <a:pt x="69" y="48"/>
                </a:lnTo>
                <a:lnTo>
                  <a:pt x="104" y="61"/>
                </a:lnTo>
                <a:lnTo>
                  <a:pt x="138" y="49"/>
                </a:lnTo>
                <a:lnTo>
                  <a:pt x="173" y="40"/>
                </a:lnTo>
                <a:lnTo>
                  <a:pt x="208" y="32"/>
                </a:lnTo>
                <a:lnTo>
                  <a:pt x="242" y="27"/>
                </a:lnTo>
                <a:lnTo>
                  <a:pt x="277" y="29"/>
                </a:lnTo>
                <a:lnTo>
                  <a:pt x="311" y="22"/>
                </a:lnTo>
                <a:lnTo>
                  <a:pt x="346" y="15"/>
                </a:lnTo>
                <a:lnTo>
                  <a:pt x="381" y="12"/>
                </a:lnTo>
                <a:lnTo>
                  <a:pt x="415" y="9"/>
                </a:lnTo>
                <a:lnTo>
                  <a:pt x="450" y="6"/>
                </a:lnTo>
                <a:lnTo>
                  <a:pt x="484" y="3"/>
                </a:lnTo>
                <a:lnTo>
                  <a:pt x="519" y="0"/>
                </a:lnTo>
              </a:path>
            </a:pathLst>
          </a:custGeom>
          <a:noFill/>
          <a:ln w="9525">
            <a:solidFill>
              <a:srgbClr val="177B5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4" name="Oval 34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973958" y="3087247"/>
            <a:ext cx="68780" cy="66675"/>
          </a:xfrm>
          <a:prstGeom prst="ellipse">
            <a:avLst/>
          </a:prstGeom>
          <a:solidFill>
            <a:srgbClr val="177B57"/>
          </a:solidFill>
          <a:ln w="9525">
            <a:solidFill>
              <a:srgbClr val="177B5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5" name="Oval 35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1317858" y="3125347"/>
            <a:ext cx="67143" cy="66675"/>
          </a:xfrm>
          <a:prstGeom prst="ellipse">
            <a:avLst/>
          </a:prstGeom>
          <a:solidFill>
            <a:srgbClr val="177B57"/>
          </a:solidFill>
          <a:ln w="9525">
            <a:solidFill>
              <a:srgbClr val="177B5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6" name="Oval 36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1650298" y="2982472"/>
            <a:ext cx="68780" cy="66675"/>
          </a:xfrm>
          <a:prstGeom prst="ellipse">
            <a:avLst/>
          </a:prstGeom>
          <a:solidFill>
            <a:srgbClr val="177B57"/>
          </a:solidFill>
          <a:ln w="9525">
            <a:solidFill>
              <a:srgbClr val="177B5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7" name="Oval 37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1994199" y="3106297"/>
            <a:ext cx="68780" cy="66675"/>
          </a:xfrm>
          <a:prstGeom prst="ellipse">
            <a:avLst/>
          </a:prstGeom>
          <a:solidFill>
            <a:srgbClr val="177B57"/>
          </a:solidFill>
          <a:ln w="9525">
            <a:solidFill>
              <a:srgbClr val="177B5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8" name="Oval 38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2326637" y="2991997"/>
            <a:ext cx="68780" cy="66675"/>
          </a:xfrm>
          <a:prstGeom prst="ellipse">
            <a:avLst/>
          </a:prstGeom>
          <a:solidFill>
            <a:srgbClr val="177B57"/>
          </a:solidFill>
          <a:ln w="9525">
            <a:solidFill>
              <a:srgbClr val="177B5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9" name="Oval 39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2670538" y="2906272"/>
            <a:ext cx="68780" cy="66675"/>
          </a:xfrm>
          <a:prstGeom prst="ellipse">
            <a:avLst/>
          </a:prstGeom>
          <a:solidFill>
            <a:srgbClr val="177B57"/>
          </a:solidFill>
          <a:ln w="9525">
            <a:solidFill>
              <a:srgbClr val="177B5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0" name="Oval 40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3014440" y="2831660"/>
            <a:ext cx="68780" cy="66675"/>
          </a:xfrm>
          <a:prstGeom prst="ellipse">
            <a:avLst/>
          </a:prstGeom>
          <a:solidFill>
            <a:srgbClr val="177B57"/>
          </a:solidFill>
          <a:ln w="9525">
            <a:solidFill>
              <a:srgbClr val="177B5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1" name="Oval 41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3346878" y="2784035"/>
            <a:ext cx="68780" cy="66675"/>
          </a:xfrm>
          <a:prstGeom prst="ellipse">
            <a:avLst/>
          </a:prstGeom>
          <a:solidFill>
            <a:srgbClr val="177B57"/>
          </a:solidFill>
          <a:ln w="9525">
            <a:solidFill>
              <a:srgbClr val="177B5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2" name="Oval 42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3690780" y="2803085"/>
            <a:ext cx="68780" cy="66675"/>
          </a:xfrm>
          <a:prstGeom prst="ellipse">
            <a:avLst/>
          </a:prstGeom>
          <a:solidFill>
            <a:srgbClr val="177B57"/>
          </a:solidFill>
          <a:ln w="9525">
            <a:solidFill>
              <a:srgbClr val="177B5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3" name="Oval 43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4023217" y="2736410"/>
            <a:ext cx="68780" cy="66675"/>
          </a:xfrm>
          <a:prstGeom prst="ellipse">
            <a:avLst/>
          </a:prstGeom>
          <a:solidFill>
            <a:srgbClr val="177B57"/>
          </a:solidFill>
          <a:ln w="9525">
            <a:solidFill>
              <a:srgbClr val="177B5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4" name="Oval 44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4367119" y="2669735"/>
            <a:ext cx="68780" cy="66675"/>
          </a:xfrm>
          <a:prstGeom prst="ellipse">
            <a:avLst/>
          </a:prstGeom>
          <a:solidFill>
            <a:srgbClr val="177B57"/>
          </a:solidFill>
          <a:ln w="9525">
            <a:solidFill>
              <a:srgbClr val="177B5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5" name="Oval 45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4711020" y="2641160"/>
            <a:ext cx="68780" cy="66675"/>
          </a:xfrm>
          <a:prstGeom prst="ellipse">
            <a:avLst/>
          </a:prstGeom>
          <a:solidFill>
            <a:srgbClr val="177B57"/>
          </a:solidFill>
          <a:ln w="9525">
            <a:solidFill>
              <a:srgbClr val="177B5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6" name="Oval 46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5043459" y="2612585"/>
            <a:ext cx="68780" cy="66675"/>
          </a:xfrm>
          <a:prstGeom prst="ellipse">
            <a:avLst/>
          </a:prstGeom>
          <a:solidFill>
            <a:srgbClr val="177B57"/>
          </a:solidFill>
          <a:ln w="9525">
            <a:solidFill>
              <a:srgbClr val="177B5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7" name="Oval 47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5387360" y="2584010"/>
            <a:ext cx="68780" cy="66675"/>
          </a:xfrm>
          <a:prstGeom prst="ellipse">
            <a:avLst/>
          </a:prstGeom>
          <a:solidFill>
            <a:srgbClr val="177B57"/>
          </a:solidFill>
          <a:ln w="9525">
            <a:solidFill>
              <a:srgbClr val="177B5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8" name="Oval 48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5721435" y="2555435"/>
            <a:ext cx="67143" cy="66675"/>
          </a:xfrm>
          <a:prstGeom prst="ellipse">
            <a:avLst/>
          </a:prstGeom>
          <a:solidFill>
            <a:srgbClr val="177B57"/>
          </a:solidFill>
          <a:ln w="9525">
            <a:solidFill>
              <a:srgbClr val="177B5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9" name="Oval 49"/>
          <p:cNvSpPr>
            <a:spLocks noChangeArrowheads="1"/>
          </p:cNvSpPr>
          <p:nvPr>
            <p:custDataLst>
              <p:tags r:id="rId44"/>
            </p:custDataLst>
          </p:nvPr>
        </p:nvSpPr>
        <p:spPr bwMode="gray">
          <a:xfrm>
            <a:off x="6063699" y="2526860"/>
            <a:ext cx="68780" cy="66675"/>
          </a:xfrm>
          <a:prstGeom prst="ellipse">
            <a:avLst/>
          </a:prstGeom>
          <a:solidFill>
            <a:srgbClr val="177B57"/>
          </a:solidFill>
          <a:ln w="9525">
            <a:solidFill>
              <a:srgbClr val="177B5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7" name="Rectangle 83"/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3250258" y="5316096"/>
            <a:ext cx="28212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2007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8" name="Rectangle 84"/>
          <p:cNvSpPr>
            <a:spLocks noChangeArrowheads="1"/>
          </p:cNvSpPr>
          <p:nvPr>
            <p:custDataLst>
              <p:tags r:id="rId46"/>
            </p:custDataLst>
          </p:nvPr>
        </p:nvSpPr>
        <p:spPr bwMode="gray">
          <a:xfrm>
            <a:off x="2572281" y="5316096"/>
            <a:ext cx="28212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2005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9" name="Rectangle 85"/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1894303" y="5316096"/>
            <a:ext cx="28212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2003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0" name="Rectangle 86"/>
          <p:cNvSpPr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1216326" y="5316096"/>
            <a:ext cx="28212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2001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1" name="Rectangle 87"/>
          <p:cNvSpPr>
            <a:spLocks noChangeArrowheads="1"/>
          </p:cNvSpPr>
          <p:nvPr>
            <p:custDataLst>
              <p:tags r:id="rId49"/>
            </p:custDataLst>
          </p:nvPr>
        </p:nvSpPr>
        <p:spPr bwMode="gray">
          <a:xfrm>
            <a:off x="872425" y="5316096"/>
            <a:ext cx="28212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2000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2" name="Rectangle 88"/>
          <p:cNvSpPr>
            <a:spLocks noChangeArrowheads="1"/>
          </p:cNvSpPr>
          <p:nvPr>
            <p:custDataLst>
              <p:tags r:id="rId50"/>
            </p:custDataLst>
          </p:nvPr>
        </p:nvSpPr>
        <p:spPr bwMode="gray">
          <a:xfrm>
            <a:off x="5971992" y="5316096"/>
            <a:ext cx="28212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2015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3" name="Rectangle 89"/>
          <p:cNvSpPr>
            <a:spLocks noChangeArrowheads="1"/>
          </p:cNvSpPr>
          <p:nvPr>
            <p:custDataLst>
              <p:tags r:id="rId51"/>
            </p:custDataLst>
          </p:nvPr>
        </p:nvSpPr>
        <p:spPr bwMode="gray">
          <a:xfrm>
            <a:off x="5294015" y="5316096"/>
            <a:ext cx="28212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2013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4" name="Rectangle 90"/>
          <p:cNvSpPr>
            <a:spLocks noChangeArrowheads="1"/>
          </p:cNvSpPr>
          <p:nvPr>
            <p:custDataLst>
              <p:tags r:id="rId52"/>
            </p:custDataLst>
          </p:nvPr>
        </p:nvSpPr>
        <p:spPr bwMode="gray">
          <a:xfrm>
            <a:off x="4616038" y="5316096"/>
            <a:ext cx="28212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2011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5" name="Rectangle 91"/>
          <p:cNvSpPr>
            <a:spLocks noChangeArrowheads="1"/>
          </p:cNvSpPr>
          <p:nvPr>
            <p:custDataLst>
              <p:tags r:id="rId53"/>
            </p:custDataLst>
          </p:nvPr>
        </p:nvSpPr>
        <p:spPr bwMode="gray">
          <a:xfrm>
            <a:off x="3928235" y="5316096"/>
            <a:ext cx="28212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2009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6" name="Rectangle 92"/>
          <p:cNvSpPr>
            <a:spLocks noChangeArrowheads="1"/>
          </p:cNvSpPr>
          <p:nvPr>
            <p:custDataLst>
              <p:tags r:id="rId54"/>
            </p:custDataLst>
          </p:nvPr>
        </p:nvSpPr>
        <p:spPr bwMode="gray">
          <a:xfrm>
            <a:off x="440091" y="2029971"/>
            <a:ext cx="12279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Real productivity (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7" name="Rectangle 93"/>
          <p:cNvSpPr>
            <a:spLocks noChangeArrowheads="1"/>
          </p:cNvSpPr>
          <p:nvPr>
            <p:custDataLst>
              <p:tags r:id="rId55"/>
            </p:custDataLst>
          </p:nvPr>
        </p:nvSpPr>
        <p:spPr bwMode="gray">
          <a:xfrm>
            <a:off x="1677452" y="2029971"/>
            <a:ext cx="3831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2010 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8" name="Rectangle 94"/>
          <p:cNvSpPr>
            <a:spLocks noChangeArrowheads="1"/>
          </p:cNvSpPr>
          <p:nvPr>
            <p:custDataLst>
              <p:tags r:id="rId56"/>
            </p:custDataLst>
          </p:nvPr>
        </p:nvSpPr>
        <p:spPr bwMode="gray">
          <a:xfrm>
            <a:off x="2071166" y="2029971"/>
            <a:ext cx="37510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USD)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9" name="Rectangle 95"/>
          <p:cNvSpPr>
            <a:spLocks noChangeArrowheads="1"/>
          </p:cNvSpPr>
          <p:nvPr>
            <p:custDataLst>
              <p:tags r:id="rId57"/>
            </p:custDataLst>
          </p:nvPr>
        </p:nvSpPr>
        <p:spPr bwMode="gray">
          <a:xfrm>
            <a:off x="459743" y="2528446"/>
            <a:ext cx="45845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120,000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0" name="Rectangle 96"/>
          <p:cNvSpPr>
            <a:spLocks noChangeArrowheads="1"/>
          </p:cNvSpPr>
          <p:nvPr>
            <p:custDataLst>
              <p:tags r:id="rId58"/>
            </p:custDataLst>
          </p:nvPr>
        </p:nvSpPr>
        <p:spPr bwMode="gray">
          <a:xfrm>
            <a:off x="521973" y="3176146"/>
            <a:ext cx="38792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90,000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1" name="Rectangle 97"/>
          <p:cNvSpPr>
            <a:spLocks noChangeArrowheads="1"/>
          </p:cNvSpPr>
          <p:nvPr>
            <p:custDataLst>
              <p:tags r:id="rId59"/>
            </p:custDataLst>
          </p:nvPr>
        </p:nvSpPr>
        <p:spPr bwMode="gray">
          <a:xfrm>
            <a:off x="521973" y="3833371"/>
            <a:ext cx="38792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60,000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2" name="Rectangle 98"/>
          <p:cNvSpPr>
            <a:spLocks noChangeArrowheads="1"/>
          </p:cNvSpPr>
          <p:nvPr>
            <p:custDataLst>
              <p:tags r:id="rId60"/>
            </p:custDataLst>
          </p:nvPr>
        </p:nvSpPr>
        <p:spPr bwMode="gray">
          <a:xfrm>
            <a:off x="521973" y="4481071"/>
            <a:ext cx="38792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30,000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3" name="Rectangle 99"/>
          <p:cNvSpPr>
            <a:spLocks noChangeArrowheads="1"/>
          </p:cNvSpPr>
          <p:nvPr>
            <p:custDataLst>
              <p:tags r:id="rId61"/>
            </p:custDataLst>
          </p:nvPr>
        </p:nvSpPr>
        <p:spPr bwMode="gray">
          <a:xfrm>
            <a:off x="836397" y="5138296"/>
            <a:ext cx="7053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0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7" name="Rectangle 103"/>
          <p:cNvSpPr>
            <a:spLocks noChangeArrowheads="1"/>
          </p:cNvSpPr>
          <p:nvPr>
            <p:custDataLst>
              <p:tags r:id="rId62"/>
            </p:custDataLst>
          </p:nvPr>
        </p:nvSpPr>
        <p:spPr bwMode="gray">
          <a:xfrm>
            <a:off x="6243837" y="2499871"/>
            <a:ext cx="2132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US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22" name="BCG_FootNote_Box"/>
          <p:cNvSpPr txBox="1">
            <a:spLocks noChangeArrowheads="1"/>
          </p:cNvSpPr>
          <p:nvPr>
            <p:custDataLst>
              <p:tags r:id="rId63"/>
            </p:custDataLst>
          </p:nvPr>
        </p:nvSpPr>
        <p:spPr bwMode="gray">
          <a:xfrm>
            <a:off x="476988" y="6334126"/>
            <a:ext cx="8959451" cy="3286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>
              <a:lnSpc>
                <a:spcPct val="90000"/>
              </a:lnSpc>
            </a:pPr>
            <a:r>
              <a:rPr lang="en-US" sz="800" dirty="0">
                <a:solidFill>
                  <a:srgbClr val="000000"/>
                </a:solidFill>
              </a:rPr>
              <a:t>1. Europe includes Germany, France, UK, </a:t>
            </a:r>
            <a:r>
              <a:rPr lang="en-US" sz="800" dirty="0" smtClean="0">
                <a:solidFill>
                  <a:srgbClr val="000000"/>
                </a:solidFill>
              </a:rPr>
              <a:t>Italy</a:t>
            </a:r>
            <a:r>
              <a:rPr lang="en-US" sz="800" dirty="0">
                <a:solidFill>
                  <a:srgbClr val="000000"/>
                </a:solidFill>
              </a:rPr>
              <a:t>, Czech Republic, and Poland</a:t>
            </a:r>
          </a:p>
          <a:p>
            <a:pPr eaLnBrk="0" hangingPunct="0">
              <a:lnSpc>
                <a:spcPct val="90000"/>
              </a:lnSpc>
            </a:pPr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lang="en-US" sz="800" dirty="0" err="1" smtClean="0">
                <a:solidFill>
                  <a:srgbClr val="000000"/>
                </a:solidFill>
              </a:rPr>
              <a:t>EIU</a:t>
            </a:r>
            <a:r>
              <a:rPr lang="en-US" sz="800" dirty="0" smtClean="0">
                <a:solidFill>
                  <a:srgbClr val="000000"/>
                </a:solidFill>
              </a:rPr>
              <a:t>; </a:t>
            </a:r>
            <a:r>
              <a:rPr lang="en-US" sz="800" dirty="0" err="1" smtClean="0">
                <a:solidFill>
                  <a:srgbClr val="000000"/>
                </a:solidFill>
              </a:rPr>
              <a:t>BLS</a:t>
            </a:r>
            <a:r>
              <a:rPr lang="en-US" sz="800" dirty="0" smtClean="0">
                <a:solidFill>
                  <a:srgbClr val="000000"/>
                </a:solidFill>
              </a:rPr>
              <a:t>; </a:t>
            </a:r>
            <a:r>
              <a:rPr lang="en-US" sz="800" dirty="0" err="1" smtClean="0">
                <a:solidFill>
                  <a:srgbClr val="000000"/>
                </a:solidFill>
              </a:rPr>
              <a:t>ILO</a:t>
            </a:r>
            <a:r>
              <a:rPr lang="en-US" sz="800" dirty="0" smtClean="0">
                <a:solidFill>
                  <a:srgbClr val="000000"/>
                </a:solidFill>
              </a:rPr>
              <a:t>; </a:t>
            </a:r>
            <a:r>
              <a:rPr lang="en-US" sz="800" dirty="0">
                <a:solidFill>
                  <a:srgbClr val="000000"/>
                </a:solidFill>
              </a:rPr>
              <a:t>BCG analysis</a:t>
            </a:r>
          </a:p>
        </p:txBody>
      </p:sp>
      <p:sp>
        <p:nvSpPr>
          <p:cNvPr id="223" name="Rectangle 2"/>
          <p:cNvSpPr>
            <a:spLocks noChangeArrowheads="1"/>
          </p:cNvSpPr>
          <p:nvPr>
            <p:custDataLst>
              <p:tags r:id="rId64"/>
            </p:custDataLst>
          </p:nvPr>
        </p:nvSpPr>
        <p:spPr bwMode="gray">
          <a:xfrm>
            <a:off x="7103841" y="1902211"/>
            <a:ext cx="1036729" cy="33299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91440" rIns="0" bIns="55450" anchor="b">
            <a:spAutoFit/>
          </a:bodyPr>
          <a:lstStyle/>
          <a:p>
            <a:pPr algn="ctr">
              <a:defRPr/>
            </a:pPr>
            <a:r>
              <a:rPr lang="en-US" sz="1200" b="1" dirty="0" smtClean="0"/>
              <a:t>2000–10</a:t>
            </a:r>
            <a:endParaRPr lang="en-US" sz="1200" b="1" dirty="0"/>
          </a:p>
        </p:txBody>
      </p:sp>
      <p:sp>
        <p:nvSpPr>
          <p:cNvPr id="224" name="Rectangle 3"/>
          <p:cNvSpPr>
            <a:spLocks noChangeArrowheads="1"/>
          </p:cNvSpPr>
          <p:nvPr>
            <p:custDataLst>
              <p:tags r:id="rId65"/>
            </p:custDataLst>
          </p:nvPr>
        </p:nvSpPr>
        <p:spPr bwMode="gray">
          <a:xfrm>
            <a:off x="7271822" y="2368550"/>
            <a:ext cx="697629" cy="355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/>
          <a:lstStyle/>
          <a:p>
            <a:pPr algn="ctr">
              <a:buClr>
                <a:schemeClr val="tx2"/>
              </a:buClr>
            </a:pPr>
            <a:r>
              <a:rPr lang="en-US" sz="1200" dirty="0" smtClean="0"/>
              <a:t>1.9%</a:t>
            </a:r>
            <a:endParaRPr lang="en-US" sz="1200" dirty="0"/>
          </a:p>
        </p:txBody>
      </p:sp>
      <p:sp>
        <p:nvSpPr>
          <p:cNvPr id="227" name="Rectangle 6"/>
          <p:cNvSpPr>
            <a:spLocks noChangeArrowheads="1"/>
          </p:cNvSpPr>
          <p:nvPr>
            <p:custDataLst>
              <p:tags r:id="rId66"/>
            </p:custDataLst>
          </p:nvPr>
        </p:nvSpPr>
        <p:spPr bwMode="gray">
          <a:xfrm>
            <a:off x="8628562" y="1902211"/>
            <a:ext cx="825363" cy="33299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91440" rIns="0" bIns="55450" anchor="b">
            <a:spAutoFit/>
          </a:bodyPr>
          <a:lstStyle/>
          <a:p>
            <a:pPr algn="ctr">
              <a:defRPr/>
            </a:pPr>
            <a:r>
              <a:rPr lang="en-US" sz="1200" b="1" dirty="0" smtClean="0"/>
              <a:t>2010–15</a:t>
            </a:r>
            <a:endParaRPr lang="en-US" sz="1200" b="1" dirty="0"/>
          </a:p>
        </p:txBody>
      </p:sp>
      <p:sp>
        <p:nvSpPr>
          <p:cNvPr id="228" name="Rectangle 7"/>
          <p:cNvSpPr>
            <a:spLocks noChangeArrowheads="1"/>
          </p:cNvSpPr>
          <p:nvPr>
            <p:custDataLst>
              <p:tags r:id="rId67"/>
            </p:custDataLst>
          </p:nvPr>
        </p:nvSpPr>
        <p:spPr bwMode="gray">
          <a:xfrm>
            <a:off x="8692430" y="2368550"/>
            <a:ext cx="697629" cy="355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/>
          <a:lstStyle/>
          <a:p>
            <a:pPr algn="ctr">
              <a:buClr>
                <a:schemeClr val="tx2"/>
              </a:buClr>
            </a:pPr>
            <a:r>
              <a:rPr lang="en-US" sz="1200" dirty="0"/>
              <a:t>1.1%</a:t>
            </a:r>
          </a:p>
        </p:txBody>
      </p:sp>
      <p:sp>
        <p:nvSpPr>
          <p:cNvPr id="229" name="Rectangle 4"/>
          <p:cNvSpPr>
            <a:spLocks noChangeArrowheads="1"/>
          </p:cNvSpPr>
          <p:nvPr>
            <p:custDataLst>
              <p:tags r:id="rId68"/>
            </p:custDataLst>
          </p:nvPr>
        </p:nvSpPr>
        <p:spPr bwMode="gray">
          <a:xfrm>
            <a:off x="7090921" y="1400215"/>
            <a:ext cx="1062571" cy="55399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>
              <a:defRPr/>
            </a:pPr>
            <a:r>
              <a:rPr lang="en-US" sz="1200" b="1" dirty="0" smtClean="0"/>
              <a:t>Historical CAGR</a:t>
            </a:r>
            <a:endParaRPr lang="en-US" sz="1200" b="1" dirty="0"/>
          </a:p>
        </p:txBody>
      </p:sp>
      <p:sp>
        <p:nvSpPr>
          <p:cNvPr id="236" name="TextBox 266"/>
          <p:cNvSpPr txBox="1">
            <a:spLocks noChangeArrowheads="1"/>
          </p:cNvSpPr>
          <p:nvPr>
            <p:custDataLst>
              <p:tags r:id="rId69"/>
            </p:custDataLst>
          </p:nvPr>
        </p:nvSpPr>
        <p:spPr bwMode="gray">
          <a:xfrm>
            <a:off x="1910242" y="1452563"/>
            <a:ext cx="4316782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0000" bIns="90000">
            <a:spAutoFit/>
          </a:bodyPr>
          <a:lstStyle/>
          <a:p>
            <a:pPr algn="ctr"/>
            <a:r>
              <a:rPr lang="en-US" sz="1400" b="1" dirty="0"/>
              <a:t>Manufacturing productivity per worker</a:t>
            </a:r>
          </a:p>
        </p:txBody>
      </p:sp>
      <p:cxnSp>
        <p:nvCxnSpPr>
          <p:cNvPr id="237" name="Straight Connector 236"/>
          <p:cNvCxnSpPr/>
          <p:nvPr>
            <p:custDataLst>
              <p:tags r:id="rId70"/>
            </p:custDataLst>
          </p:nvPr>
        </p:nvCxnSpPr>
        <p:spPr bwMode="gray">
          <a:xfrm flipH="1" flipV="1">
            <a:off x="8373160" y="1540702"/>
            <a:ext cx="14695" cy="3270423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tangle 4"/>
          <p:cNvSpPr>
            <a:spLocks noChangeArrowheads="1"/>
          </p:cNvSpPr>
          <p:nvPr>
            <p:custDataLst>
              <p:tags r:id="rId71"/>
            </p:custDataLst>
          </p:nvPr>
        </p:nvSpPr>
        <p:spPr bwMode="gray">
          <a:xfrm>
            <a:off x="8630302" y="1389776"/>
            <a:ext cx="821886" cy="55399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91440" rIns="0" bIns="91440" anchor="b">
            <a:spAutoFit/>
          </a:bodyPr>
          <a:lstStyle/>
          <a:p>
            <a:pPr algn="ctr">
              <a:defRPr/>
            </a:pPr>
            <a:r>
              <a:rPr lang="en-US" sz="1200" b="1" dirty="0" smtClean="0"/>
              <a:t>Projected CAGR</a:t>
            </a:r>
            <a:endParaRPr lang="en-US" sz="1200" b="1" dirty="0"/>
          </a:p>
        </p:txBody>
      </p:sp>
      <p:sp>
        <p:nvSpPr>
          <p:cNvPr id="172" name="Freeform 32"/>
          <p:cNvSpPr>
            <a:spLocks/>
          </p:cNvSpPr>
          <p:nvPr/>
        </p:nvSpPr>
        <p:spPr bwMode="gray">
          <a:xfrm>
            <a:off x="1013260" y="4150871"/>
            <a:ext cx="5089742" cy="769938"/>
          </a:xfrm>
          <a:custGeom>
            <a:avLst/>
            <a:gdLst/>
            <a:ahLst/>
            <a:cxnLst>
              <a:cxn ang="0">
                <a:pos x="0" y="81"/>
              </a:cxn>
              <a:cxn ang="0">
                <a:pos x="35" y="77"/>
              </a:cxn>
              <a:cxn ang="0">
                <a:pos x="69" y="74"/>
              </a:cxn>
              <a:cxn ang="0">
                <a:pos x="104" y="69"/>
              </a:cxn>
              <a:cxn ang="0">
                <a:pos x="138" y="66"/>
              </a:cxn>
              <a:cxn ang="0">
                <a:pos x="173" y="63"/>
              </a:cxn>
              <a:cxn ang="0">
                <a:pos x="208" y="58"/>
              </a:cxn>
              <a:cxn ang="0">
                <a:pos x="242" y="52"/>
              </a:cxn>
              <a:cxn ang="0">
                <a:pos x="277" y="47"/>
              </a:cxn>
              <a:cxn ang="0">
                <a:pos x="311" y="43"/>
              </a:cxn>
              <a:cxn ang="0">
                <a:pos x="346" y="36"/>
              </a:cxn>
              <a:cxn ang="0">
                <a:pos x="381" y="30"/>
              </a:cxn>
              <a:cxn ang="0">
                <a:pos x="415" y="23"/>
              </a:cxn>
              <a:cxn ang="0">
                <a:pos x="450" y="15"/>
              </a:cxn>
              <a:cxn ang="0">
                <a:pos x="484" y="7"/>
              </a:cxn>
              <a:cxn ang="0">
                <a:pos x="519" y="0"/>
              </a:cxn>
            </a:cxnLst>
            <a:rect l="0" t="0" r="r" b="b"/>
            <a:pathLst>
              <a:path w="519" h="81">
                <a:moveTo>
                  <a:pt x="0" y="81"/>
                </a:moveTo>
                <a:lnTo>
                  <a:pt x="35" y="77"/>
                </a:lnTo>
                <a:lnTo>
                  <a:pt x="69" y="74"/>
                </a:lnTo>
                <a:lnTo>
                  <a:pt x="104" y="69"/>
                </a:lnTo>
                <a:lnTo>
                  <a:pt x="138" y="66"/>
                </a:lnTo>
                <a:lnTo>
                  <a:pt x="173" y="63"/>
                </a:lnTo>
                <a:lnTo>
                  <a:pt x="208" y="58"/>
                </a:lnTo>
                <a:lnTo>
                  <a:pt x="242" y="52"/>
                </a:lnTo>
                <a:lnTo>
                  <a:pt x="277" y="47"/>
                </a:lnTo>
                <a:lnTo>
                  <a:pt x="311" y="43"/>
                </a:lnTo>
                <a:lnTo>
                  <a:pt x="346" y="36"/>
                </a:lnTo>
                <a:lnTo>
                  <a:pt x="381" y="30"/>
                </a:lnTo>
                <a:lnTo>
                  <a:pt x="415" y="23"/>
                </a:lnTo>
                <a:lnTo>
                  <a:pt x="450" y="15"/>
                </a:lnTo>
                <a:lnTo>
                  <a:pt x="484" y="7"/>
                </a:lnTo>
                <a:lnTo>
                  <a:pt x="519" y="0"/>
                </a:lnTo>
              </a:path>
            </a:pathLst>
          </a:custGeom>
          <a:noFill/>
          <a:ln w="9525">
            <a:solidFill>
              <a:srgbClr val="3D6E8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0" name="Rectangle 50"/>
          <p:cNvSpPr>
            <a:spLocks noChangeArrowheads="1"/>
          </p:cNvSpPr>
          <p:nvPr/>
        </p:nvSpPr>
        <p:spPr bwMode="gray">
          <a:xfrm>
            <a:off x="973957" y="4882709"/>
            <a:ext cx="68780" cy="66675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1" name="Rectangle 51"/>
          <p:cNvSpPr>
            <a:spLocks noChangeArrowheads="1"/>
          </p:cNvSpPr>
          <p:nvPr/>
        </p:nvSpPr>
        <p:spPr bwMode="gray">
          <a:xfrm>
            <a:off x="1317858" y="4844609"/>
            <a:ext cx="67143" cy="66675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2" name="Rectangle 52"/>
          <p:cNvSpPr>
            <a:spLocks noChangeArrowheads="1"/>
          </p:cNvSpPr>
          <p:nvPr/>
        </p:nvSpPr>
        <p:spPr bwMode="gray">
          <a:xfrm>
            <a:off x="1650297" y="4816034"/>
            <a:ext cx="68780" cy="66675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3" name="Rectangle 53"/>
          <p:cNvSpPr>
            <a:spLocks noChangeArrowheads="1"/>
          </p:cNvSpPr>
          <p:nvPr/>
        </p:nvSpPr>
        <p:spPr bwMode="gray">
          <a:xfrm>
            <a:off x="1994199" y="4768409"/>
            <a:ext cx="68780" cy="66675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4" name="Rectangle 54"/>
          <p:cNvSpPr>
            <a:spLocks noChangeArrowheads="1"/>
          </p:cNvSpPr>
          <p:nvPr/>
        </p:nvSpPr>
        <p:spPr bwMode="gray">
          <a:xfrm>
            <a:off x="2326636" y="4739834"/>
            <a:ext cx="68780" cy="66675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5" name="Rectangle 55"/>
          <p:cNvSpPr>
            <a:spLocks noChangeArrowheads="1"/>
          </p:cNvSpPr>
          <p:nvPr/>
        </p:nvSpPr>
        <p:spPr bwMode="gray">
          <a:xfrm>
            <a:off x="2670538" y="4711259"/>
            <a:ext cx="68780" cy="66675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6" name="Rectangle 56"/>
          <p:cNvSpPr>
            <a:spLocks noChangeArrowheads="1"/>
          </p:cNvSpPr>
          <p:nvPr/>
        </p:nvSpPr>
        <p:spPr bwMode="gray">
          <a:xfrm>
            <a:off x="3014439" y="4663634"/>
            <a:ext cx="68780" cy="66675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7" name="Rectangle 57"/>
          <p:cNvSpPr>
            <a:spLocks noChangeArrowheads="1"/>
          </p:cNvSpPr>
          <p:nvPr/>
        </p:nvSpPr>
        <p:spPr bwMode="gray">
          <a:xfrm>
            <a:off x="3346878" y="4606484"/>
            <a:ext cx="68780" cy="66675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8" name="Rectangle 58"/>
          <p:cNvSpPr>
            <a:spLocks noChangeArrowheads="1"/>
          </p:cNvSpPr>
          <p:nvPr/>
        </p:nvSpPr>
        <p:spPr bwMode="gray">
          <a:xfrm>
            <a:off x="3690779" y="4560446"/>
            <a:ext cx="68780" cy="65088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9" name="Rectangle 59"/>
          <p:cNvSpPr>
            <a:spLocks noChangeArrowheads="1"/>
          </p:cNvSpPr>
          <p:nvPr/>
        </p:nvSpPr>
        <p:spPr bwMode="gray">
          <a:xfrm>
            <a:off x="4023217" y="4522346"/>
            <a:ext cx="68780" cy="65088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0" name="Rectangle 60"/>
          <p:cNvSpPr>
            <a:spLocks noChangeArrowheads="1"/>
          </p:cNvSpPr>
          <p:nvPr/>
        </p:nvSpPr>
        <p:spPr bwMode="gray">
          <a:xfrm>
            <a:off x="4367118" y="4455671"/>
            <a:ext cx="68780" cy="66675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1" name="Rectangle 61"/>
          <p:cNvSpPr>
            <a:spLocks noChangeArrowheads="1"/>
          </p:cNvSpPr>
          <p:nvPr/>
        </p:nvSpPr>
        <p:spPr bwMode="gray">
          <a:xfrm>
            <a:off x="4711020" y="4398521"/>
            <a:ext cx="68780" cy="66675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2" name="Rectangle 62"/>
          <p:cNvSpPr>
            <a:spLocks noChangeArrowheads="1"/>
          </p:cNvSpPr>
          <p:nvPr/>
        </p:nvSpPr>
        <p:spPr bwMode="gray">
          <a:xfrm>
            <a:off x="5043458" y="4331846"/>
            <a:ext cx="68780" cy="66675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3" name="Rectangle 63"/>
          <p:cNvSpPr>
            <a:spLocks noChangeArrowheads="1"/>
          </p:cNvSpPr>
          <p:nvPr/>
        </p:nvSpPr>
        <p:spPr bwMode="gray">
          <a:xfrm>
            <a:off x="5387360" y="4255646"/>
            <a:ext cx="68780" cy="66675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" name="Rectangle 64"/>
          <p:cNvSpPr>
            <a:spLocks noChangeArrowheads="1"/>
          </p:cNvSpPr>
          <p:nvPr/>
        </p:nvSpPr>
        <p:spPr bwMode="gray">
          <a:xfrm>
            <a:off x="5721435" y="4179446"/>
            <a:ext cx="67143" cy="66675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5" name="Rectangle 65"/>
          <p:cNvSpPr>
            <a:spLocks noChangeArrowheads="1"/>
          </p:cNvSpPr>
          <p:nvPr/>
        </p:nvSpPr>
        <p:spPr bwMode="gray">
          <a:xfrm>
            <a:off x="6063699" y="4112771"/>
            <a:ext cx="68780" cy="66675"/>
          </a:xfrm>
          <a:prstGeom prst="rect">
            <a:avLst/>
          </a:prstGeom>
          <a:solidFill>
            <a:srgbClr val="3D6E81"/>
          </a:solidFill>
          <a:ln w="9525">
            <a:solidFill>
              <a:srgbClr val="3D6E8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6" name="Rectangle 102"/>
          <p:cNvSpPr>
            <a:spLocks noChangeArrowheads="1"/>
          </p:cNvSpPr>
          <p:nvPr/>
        </p:nvSpPr>
        <p:spPr bwMode="gray">
          <a:xfrm>
            <a:off x="6243838" y="4090546"/>
            <a:ext cx="3991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China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33" name="Rectangle 3"/>
          <p:cNvSpPr>
            <a:spLocks noChangeArrowheads="1"/>
          </p:cNvSpPr>
          <p:nvPr>
            <p:custDataLst>
              <p:tags r:id="rId72"/>
            </p:custDataLst>
          </p:nvPr>
        </p:nvSpPr>
        <p:spPr bwMode="gray">
          <a:xfrm>
            <a:off x="7271822" y="4000500"/>
            <a:ext cx="697629" cy="355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/>
          <a:lstStyle/>
          <a:p>
            <a:pPr algn="ctr">
              <a:buClr>
                <a:schemeClr val="tx2"/>
              </a:buClr>
            </a:pPr>
            <a:r>
              <a:rPr lang="en-US" sz="1200" dirty="0" smtClean="0"/>
              <a:t>9.6%</a:t>
            </a:r>
            <a:endParaRPr lang="en-US" sz="1200" dirty="0"/>
          </a:p>
        </p:txBody>
      </p:sp>
      <p:sp>
        <p:nvSpPr>
          <p:cNvPr id="235" name="Rectangle 7"/>
          <p:cNvSpPr>
            <a:spLocks noChangeArrowheads="1"/>
          </p:cNvSpPr>
          <p:nvPr>
            <p:custDataLst>
              <p:tags r:id="rId73"/>
            </p:custDataLst>
          </p:nvPr>
        </p:nvSpPr>
        <p:spPr bwMode="gray">
          <a:xfrm>
            <a:off x="8692430" y="4000500"/>
            <a:ext cx="697629" cy="355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/>
          <a:lstStyle/>
          <a:p>
            <a:pPr algn="ctr">
              <a:buClr>
                <a:schemeClr val="tx2"/>
              </a:buClr>
            </a:pPr>
            <a:r>
              <a:rPr lang="en-US" sz="1200" dirty="0"/>
              <a:t>8.4%</a:t>
            </a:r>
          </a:p>
        </p:txBody>
      </p:sp>
      <p:sp>
        <p:nvSpPr>
          <p:cNvPr id="173" name="Freeform 33"/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1013260" y="3262618"/>
            <a:ext cx="5089742" cy="407988"/>
          </a:xfrm>
          <a:custGeom>
            <a:avLst/>
            <a:gdLst/>
            <a:ahLst/>
            <a:cxnLst>
              <a:cxn ang="0">
                <a:pos x="0" y="40"/>
              </a:cxn>
              <a:cxn ang="0">
                <a:pos x="35" y="43"/>
              </a:cxn>
              <a:cxn ang="0">
                <a:pos x="69" y="41"/>
              </a:cxn>
              <a:cxn ang="0">
                <a:pos x="104" y="28"/>
              </a:cxn>
              <a:cxn ang="0">
                <a:pos x="138" y="14"/>
              </a:cxn>
              <a:cxn ang="0">
                <a:pos x="173" y="11"/>
              </a:cxn>
              <a:cxn ang="0">
                <a:pos x="208" y="8"/>
              </a:cxn>
              <a:cxn ang="0">
                <a:pos x="242" y="5"/>
              </a:cxn>
              <a:cxn ang="0">
                <a:pos x="277" y="9"/>
              </a:cxn>
              <a:cxn ang="0">
                <a:pos x="311" y="15"/>
              </a:cxn>
              <a:cxn ang="0">
                <a:pos x="346" y="10"/>
              </a:cxn>
              <a:cxn ang="0">
                <a:pos x="381" y="8"/>
              </a:cxn>
              <a:cxn ang="0">
                <a:pos x="415" y="6"/>
              </a:cxn>
              <a:cxn ang="0">
                <a:pos x="450" y="4"/>
              </a:cxn>
              <a:cxn ang="0">
                <a:pos x="484" y="3"/>
              </a:cxn>
              <a:cxn ang="0">
                <a:pos x="519" y="0"/>
              </a:cxn>
            </a:cxnLst>
            <a:rect l="0" t="0" r="r" b="b"/>
            <a:pathLst>
              <a:path w="519" h="43">
                <a:moveTo>
                  <a:pt x="0" y="40"/>
                </a:moveTo>
                <a:lnTo>
                  <a:pt x="35" y="43"/>
                </a:lnTo>
                <a:lnTo>
                  <a:pt x="69" y="41"/>
                </a:lnTo>
                <a:lnTo>
                  <a:pt x="104" y="28"/>
                </a:lnTo>
                <a:lnTo>
                  <a:pt x="138" y="14"/>
                </a:lnTo>
                <a:lnTo>
                  <a:pt x="173" y="11"/>
                </a:lnTo>
                <a:lnTo>
                  <a:pt x="208" y="8"/>
                </a:lnTo>
                <a:lnTo>
                  <a:pt x="242" y="5"/>
                </a:lnTo>
                <a:lnTo>
                  <a:pt x="277" y="9"/>
                </a:lnTo>
                <a:lnTo>
                  <a:pt x="311" y="15"/>
                </a:lnTo>
                <a:lnTo>
                  <a:pt x="346" y="10"/>
                </a:lnTo>
                <a:lnTo>
                  <a:pt x="381" y="8"/>
                </a:lnTo>
                <a:lnTo>
                  <a:pt x="415" y="6"/>
                </a:lnTo>
                <a:lnTo>
                  <a:pt x="450" y="4"/>
                </a:lnTo>
                <a:lnTo>
                  <a:pt x="484" y="3"/>
                </a:lnTo>
                <a:lnTo>
                  <a:pt x="519" y="0"/>
                </a:lnTo>
              </a:path>
            </a:pathLst>
          </a:custGeom>
          <a:noFill/>
          <a:ln w="9525">
            <a:solidFill>
              <a:srgbClr val="4D4D4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4" name="Rectangle 100"/>
          <p:cNvSpPr>
            <a:spLocks noChangeArrowheads="1"/>
          </p:cNvSpPr>
          <p:nvPr>
            <p:custDataLst>
              <p:tags r:id="rId75"/>
            </p:custDataLst>
          </p:nvPr>
        </p:nvSpPr>
        <p:spPr bwMode="gray">
          <a:xfrm>
            <a:off x="6243838" y="3185671"/>
            <a:ext cx="49372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Europe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30" name="Rectangle 3"/>
          <p:cNvSpPr>
            <a:spLocks noChangeArrowheads="1"/>
          </p:cNvSpPr>
          <p:nvPr>
            <p:custDataLst>
              <p:tags r:id="rId76"/>
            </p:custDataLst>
          </p:nvPr>
        </p:nvSpPr>
        <p:spPr bwMode="gray">
          <a:xfrm>
            <a:off x="7271822" y="3098800"/>
            <a:ext cx="697629" cy="355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/>
          <a:lstStyle/>
          <a:p>
            <a:pPr algn="ctr">
              <a:buClr>
                <a:schemeClr val="tx2"/>
              </a:buClr>
            </a:pPr>
            <a:r>
              <a:rPr lang="en-US" sz="1200" dirty="0" smtClean="0"/>
              <a:t>1.7%</a:t>
            </a:r>
            <a:endParaRPr lang="en-US" sz="1200" dirty="0"/>
          </a:p>
        </p:txBody>
      </p:sp>
      <p:sp>
        <p:nvSpPr>
          <p:cNvPr id="232" name="Rectangle 7"/>
          <p:cNvSpPr>
            <a:spLocks noChangeArrowheads="1"/>
          </p:cNvSpPr>
          <p:nvPr>
            <p:custDataLst>
              <p:tags r:id="rId77"/>
            </p:custDataLst>
          </p:nvPr>
        </p:nvSpPr>
        <p:spPr bwMode="gray">
          <a:xfrm>
            <a:off x="8692430" y="3098800"/>
            <a:ext cx="697629" cy="355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/>
          <a:lstStyle/>
          <a:p>
            <a:pPr algn="ctr">
              <a:buClr>
                <a:schemeClr val="tx2"/>
              </a:buClr>
            </a:pPr>
            <a:r>
              <a:rPr lang="en-US" sz="1200" dirty="0"/>
              <a:t>1.0%</a:t>
            </a:r>
          </a:p>
        </p:txBody>
      </p:sp>
      <p:sp>
        <p:nvSpPr>
          <p:cNvPr id="239" name="Rounded Rectangular Callout 238"/>
          <p:cNvSpPr/>
          <p:nvPr>
            <p:custDataLst>
              <p:tags r:id="rId78"/>
            </p:custDataLst>
          </p:nvPr>
        </p:nvSpPr>
        <p:spPr bwMode="gray">
          <a:xfrm>
            <a:off x="7097537" y="5148199"/>
            <a:ext cx="1094118" cy="344117"/>
          </a:xfrm>
          <a:prstGeom prst="wedgeRoundRectCallout">
            <a:avLst>
              <a:gd name="adj1" fmla="val -27375"/>
              <a:gd name="adj2" fmla="val -1110"/>
              <a:gd name="adj3" fmla="val 16667"/>
            </a:avLst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0000" rIns="0" bIns="90000" rtlCol="0" anchor="ctr" anchorCtr="0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US to China</a:t>
            </a:r>
          </a:p>
        </p:txBody>
      </p:sp>
      <p:cxnSp>
        <p:nvCxnSpPr>
          <p:cNvPr id="248" name="Straight Arrow Connector 247"/>
          <p:cNvCxnSpPr/>
          <p:nvPr>
            <p:custDataLst>
              <p:tags r:id="rId79"/>
            </p:custDataLst>
          </p:nvPr>
        </p:nvCxnSpPr>
        <p:spPr bwMode="gray">
          <a:xfrm flipH="1" flipV="1">
            <a:off x="2676827" y="2968669"/>
            <a:ext cx="2153" cy="1755731"/>
          </a:xfrm>
          <a:prstGeom prst="straightConnector1">
            <a:avLst/>
          </a:prstGeom>
          <a:ln>
            <a:solidFill>
              <a:srgbClr val="ACC6D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ounded Rectangular Callout 248"/>
          <p:cNvSpPr/>
          <p:nvPr>
            <p:custDataLst>
              <p:tags r:id="rId80"/>
            </p:custDataLst>
          </p:nvPr>
        </p:nvSpPr>
        <p:spPr bwMode="gray">
          <a:xfrm>
            <a:off x="2801488" y="2954185"/>
            <a:ext cx="547361" cy="279400"/>
          </a:xfrm>
          <a:prstGeom prst="wedgeRoundRectCallout">
            <a:avLst>
              <a:gd name="adj1" fmla="val -1951"/>
              <a:gd name="adj2" fmla="val 13176"/>
              <a:gd name="adj3" fmla="val 16667"/>
            </a:avLst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0000" rIns="0" bIns="90000" rtlCol="0" anchor="ctr" anchorCtr="0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 ~ 5 × </a:t>
            </a:r>
          </a:p>
        </p:txBody>
      </p:sp>
      <p:sp>
        <p:nvSpPr>
          <p:cNvPr id="253" name="Rounded Rectangular Callout 252"/>
          <p:cNvSpPr/>
          <p:nvPr>
            <p:custDataLst>
              <p:tags r:id="rId81"/>
            </p:custDataLst>
          </p:nvPr>
        </p:nvSpPr>
        <p:spPr bwMode="gray">
          <a:xfrm>
            <a:off x="4833717" y="2868460"/>
            <a:ext cx="576483" cy="292608"/>
          </a:xfrm>
          <a:prstGeom prst="wedgeRoundRectCallout">
            <a:avLst>
              <a:gd name="adj1" fmla="val -39239"/>
              <a:gd name="adj2" fmla="val 2462"/>
              <a:gd name="adj3" fmla="val 16667"/>
            </a:avLst>
          </a:prstGeom>
          <a:solidFill>
            <a:srgbClr val="D2E0E6"/>
          </a:solidFill>
          <a:ln w="1587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0000" rIns="0" bIns="90000" rtlCol="0" anchor="ctr" anchorCtr="0"/>
          <a:lstStyle/>
          <a:p>
            <a:pPr algn="ctr"/>
            <a:r>
              <a:rPr lang="en-US" sz="1400" b="1" dirty="0" smtClean="0">
                <a:solidFill>
                  <a:srgbClr val="C41300"/>
                </a:solidFill>
              </a:rPr>
              <a:t>~ 3.4 ×</a:t>
            </a:r>
          </a:p>
        </p:txBody>
      </p:sp>
      <p:cxnSp>
        <p:nvCxnSpPr>
          <p:cNvPr id="256" name="Straight Arrow Connector 255"/>
          <p:cNvCxnSpPr/>
          <p:nvPr>
            <p:custDataLst>
              <p:tags r:id="rId82"/>
            </p:custDataLst>
          </p:nvPr>
        </p:nvCxnSpPr>
        <p:spPr bwMode="gray">
          <a:xfrm flipV="1">
            <a:off x="6036428" y="2609591"/>
            <a:ext cx="17226" cy="1461369"/>
          </a:xfrm>
          <a:prstGeom prst="straightConnector1">
            <a:avLst/>
          </a:prstGeom>
          <a:ln>
            <a:solidFill>
              <a:srgbClr val="ACC6D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7" name="Rounded Rectangular Callout 256"/>
          <p:cNvSpPr/>
          <p:nvPr>
            <p:custDataLst>
              <p:tags r:id="rId83"/>
            </p:custDataLst>
          </p:nvPr>
        </p:nvSpPr>
        <p:spPr bwMode="gray">
          <a:xfrm>
            <a:off x="6164922" y="2808309"/>
            <a:ext cx="547361" cy="291926"/>
          </a:xfrm>
          <a:prstGeom prst="wedgeRoundRectCallout">
            <a:avLst>
              <a:gd name="adj1" fmla="val -27375"/>
              <a:gd name="adj2" fmla="val -1110"/>
              <a:gd name="adj3" fmla="val 16667"/>
            </a:avLst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0000" rIns="0" bIns="90000" rtlCol="0" anchor="ctr" anchorCtr="0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~ 2.5 × </a:t>
            </a:r>
          </a:p>
        </p:txBody>
      </p:sp>
      <p:sp>
        <p:nvSpPr>
          <p:cNvPr id="250" name="Rounded Rectangular Callout 249"/>
          <p:cNvSpPr/>
          <p:nvPr>
            <p:custDataLst>
              <p:tags r:id="rId84"/>
            </p:custDataLst>
          </p:nvPr>
        </p:nvSpPr>
        <p:spPr bwMode="gray">
          <a:xfrm>
            <a:off x="2828610" y="3613762"/>
            <a:ext cx="547361" cy="281833"/>
          </a:xfrm>
          <a:prstGeom prst="wedgeRoundRectCallout">
            <a:avLst>
              <a:gd name="adj1" fmla="val -11508"/>
              <a:gd name="adj2" fmla="val 22978"/>
              <a:gd name="adj3" fmla="val 16667"/>
            </a:avLst>
          </a:prstGeom>
          <a:solidFill>
            <a:srgbClr val="D8CEB8"/>
          </a:solidFill>
          <a:ln w="9525">
            <a:solidFill>
              <a:srgbClr val="D8CEB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0000" rIns="0" bIns="90000" rtlCol="0" anchor="ctr" anchorCtr="0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~ 4 × </a:t>
            </a:r>
          </a:p>
        </p:txBody>
      </p:sp>
      <p:sp>
        <p:nvSpPr>
          <p:cNvPr id="254" name="Rounded Rectangular Callout 253"/>
          <p:cNvSpPr/>
          <p:nvPr>
            <p:custDataLst>
              <p:tags r:id="rId85"/>
            </p:custDataLst>
          </p:nvPr>
        </p:nvSpPr>
        <p:spPr bwMode="gray">
          <a:xfrm>
            <a:off x="3873339" y="3613761"/>
            <a:ext cx="547361" cy="279400"/>
          </a:xfrm>
          <a:prstGeom prst="wedgeRoundRectCallout">
            <a:avLst>
              <a:gd name="adj1" fmla="val 817"/>
              <a:gd name="adj2" fmla="val 11665"/>
              <a:gd name="adj3" fmla="val 16667"/>
            </a:avLst>
          </a:prstGeom>
          <a:solidFill>
            <a:srgbClr val="D8CEB8"/>
          </a:solidFill>
          <a:ln w="9525">
            <a:solidFill>
              <a:srgbClr val="D8CEB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0000" rIns="0" bIns="90000" rtlCol="0" anchor="ctr" anchorCtr="0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~ 2.6 × </a:t>
            </a:r>
          </a:p>
        </p:txBody>
      </p:sp>
      <p:sp>
        <p:nvSpPr>
          <p:cNvPr id="258" name="Rounded Rectangular Callout 257"/>
          <p:cNvSpPr/>
          <p:nvPr>
            <p:custDataLst>
              <p:tags r:id="rId86"/>
            </p:custDataLst>
          </p:nvPr>
        </p:nvSpPr>
        <p:spPr bwMode="gray">
          <a:xfrm>
            <a:off x="6167098" y="3613761"/>
            <a:ext cx="547361" cy="279400"/>
          </a:xfrm>
          <a:prstGeom prst="wedgeRoundRectCallout">
            <a:avLst>
              <a:gd name="adj1" fmla="val -21945"/>
              <a:gd name="adj2" fmla="val -22276"/>
              <a:gd name="adj3" fmla="val 16667"/>
            </a:avLst>
          </a:prstGeom>
          <a:solidFill>
            <a:srgbClr val="D8CEB8"/>
          </a:solidFill>
          <a:ln w="9525">
            <a:solidFill>
              <a:srgbClr val="D8CEB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0000" rIns="0" bIns="90000" rtlCol="0" anchor="ctr" anchorCtr="0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~ 1.9 × </a:t>
            </a:r>
          </a:p>
        </p:txBody>
      </p:sp>
      <p:sp>
        <p:nvSpPr>
          <p:cNvPr id="240" name="Rounded Rectangular Callout 239"/>
          <p:cNvSpPr/>
          <p:nvPr>
            <p:custDataLst>
              <p:tags r:id="rId87"/>
            </p:custDataLst>
          </p:nvPr>
        </p:nvSpPr>
        <p:spPr bwMode="gray">
          <a:xfrm>
            <a:off x="7097537" y="5582587"/>
            <a:ext cx="1094118" cy="329352"/>
          </a:xfrm>
          <a:prstGeom prst="wedgeRoundRectCallout">
            <a:avLst>
              <a:gd name="adj1" fmla="val -21945"/>
              <a:gd name="adj2" fmla="val -22276"/>
              <a:gd name="adj3" fmla="val 16667"/>
            </a:avLst>
          </a:prstGeom>
          <a:solidFill>
            <a:srgbClr val="D8CEB8"/>
          </a:solidFill>
          <a:ln w="9525">
            <a:solidFill>
              <a:srgbClr val="D8CEB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0000" rIns="0" bIns="90000" rtlCol="0" anchor="ctr" anchorCtr="0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Europe to China</a:t>
            </a:r>
          </a:p>
        </p:txBody>
      </p:sp>
      <p:cxnSp>
        <p:nvCxnSpPr>
          <p:cNvPr id="247" name="Straight Arrow Connector 246"/>
          <p:cNvCxnSpPr/>
          <p:nvPr>
            <p:custDataLst>
              <p:tags r:id="rId88"/>
            </p:custDataLst>
          </p:nvPr>
        </p:nvCxnSpPr>
        <p:spPr bwMode="gray">
          <a:xfrm flipV="1">
            <a:off x="2767278" y="3459271"/>
            <a:ext cx="0" cy="1265128"/>
          </a:xfrm>
          <a:prstGeom prst="straightConnector1">
            <a:avLst/>
          </a:prstGeom>
          <a:ln>
            <a:solidFill>
              <a:srgbClr val="BBAD87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Arrow Connector 250"/>
          <p:cNvCxnSpPr/>
          <p:nvPr>
            <p:custDataLst>
              <p:tags r:id="rId89"/>
            </p:custDataLst>
          </p:nvPr>
        </p:nvCxnSpPr>
        <p:spPr bwMode="gray">
          <a:xfrm flipH="1" flipV="1">
            <a:off x="4472922" y="3382028"/>
            <a:ext cx="2153" cy="1106465"/>
          </a:xfrm>
          <a:prstGeom prst="straightConnector1">
            <a:avLst/>
          </a:prstGeom>
          <a:ln>
            <a:solidFill>
              <a:srgbClr val="BBAD87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Straight Arrow Connector 254"/>
          <p:cNvCxnSpPr/>
          <p:nvPr>
            <p:custDataLst>
              <p:tags r:id="rId90"/>
            </p:custDataLst>
          </p:nvPr>
        </p:nvCxnSpPr>
        <p:spPr bwMode="gray">
          <a:xfrm flipV="1">
            <a:off x="6113957" y="3321487"/>
            <a:ext cx="2152" cy="736947"/>
          </a:xfrm>
          <a:prstGeom prst="straightConnector1">
            <a:avLst/>
          </a:prstGeom>
          <a:ln>
            <a:solidFill>
              <a:srgbClr val="BBAD87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Arrow Connector 113"/>
          <p:cNvCxnSpPr/>
          <p:nvPr>
            <p:custDataLst>
              <p:tags r:id="rId91"/>
            </p:custDataLst>
          </p:nvPr>
        </p:nvCxnSpPr>
        <p:spPr bwMode="gray">
          <a:xfrm flipV="1">
            <a:off x="4758372" y="2732762"/>
            <a:ext cx="1" cy="1686838"/>
          </a:xfrm>
          <a:prstGeom prst="straightConnector1">
            <a:avLst/>
          </a:prstGeom>
          <a:ln>
            <a:solidFill>
              <a:srgbClr val="ACC6D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0" y="0"/>
          <a:ext cx="163763" cy="158750"/>
        </p:xfrm>
        <a:graphic>
          <a:graphicData uri="http://schemas.openxmlformats.org/presentationml/2006/ole">
            <p:oleObj spid="_x0000_s66562" name="think-cell Slide" r:id="rId50" imgW="360" imgH="360" progId="TCLayout.ActiveDocument.1">
              <p:embed/>
            </p:oleObj>
          </a:graphicData>
        </a:graphic>
      </p:graphicFrame>
      <p:sp>
        <p:nvSpPr>
          <p:cNvPr id="73" name="Rectangle 72"/>
          <p:cNvSpPr/>
          <p:nvPr>
            <p:custDataLst>
              <p:tags r:id="rId2"/>
            </p:custDataLst>
          </p:nvPr>
        </p:nvSpPr>
        <p:spPr bwMode="gray">
          <a:xfrm>
            <a:off x="7947778" y="5359520"/>
            <a:ext cx="729701" cy="336430"/>
          </a:xfrm>
          <a:prstGeom prst="rect">
            <a:avLst/>
          </a:prstGeom>
          <a:solidFill>
            <a:srgbClr val="F9DFB5"/>
          </a:solidFill>
          <a:ln w="9525">
            <a:solidFill>
              <a:srgbClr val="F9DFB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72" name="Rectangle 71"/>
          <p:cNvSpPr/>
          <p:nvPr>
            <p:custDataLst>
              <p:tags r:id="rId3"/>
            </p:custDataLst>
          </p:nvPr>
        </p:nvSpPr>
        <p:spPr bwMode="gray">
          <a:xfrm>
            <a:off x="7947778" y="4537308"/>
            <a:ext cx="729701" cy="336430"/>
          </a:xfrm>
          <a:prstGeom prst="rect">
            <a:avLst/>
          </a:prstGeom>
          <a:solidFill>
            <a:srgbClr val="F9DFB5"/>
          </a:solidFill>
          <a:ln w="9525">
            <a:solidFill>
              <a:srgbClr val="F9DFB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71" name="Rectangle 70"/>
          <p:cNvSpPr/>
          <p:nvPr>
            <p:custDataLst>
              <p:tags r:id="rId4"/>
            </p:custDataLst>
          </p:nvPr>
        </p:nvSpPr>
        <p:spPr bwMode="gray">
          <a:xfrm>
            <a:off x="7947778" y="3928844"/>
            <a:ext cx="729701" cy="336430"/>
          </a:xfrm>
          <a:prstGeom prst="rect">
            <a:avLst/>
          </a:prstGeom>
          <a:solidFill>
            <a:srgbClr val="F9DFB5"/>
          </a:solidFill>
          <a:ln w="9525">
            <a:solidFill>
              <a:srgbClr val="F9DFB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70" name="Rectangle 69"/>
          <p:cNvSpPr/>
          <p:nvPr>
            <p:custDataLst>
              <p:tags r:id="rId5"/>
            </p:custDataLst>
          </p:nvPr>
        </p:nvSpPr>
        <p:spPr bwMode="gray">
          <a:xfrm>
            <a:off x="7947778" y="2225005"/>
            <a:ext cx="729701" cy="336430"/>
          </a:xfrm>
          <a:prstGeom prst="rect">
            <a:avLst/>
          </a:prstGeom>
          <a:solidFill>
            <a:srgbClr val="F9DFB5"/>
          </a:solidFill>
          <a:ln w="9525">
            <a:solidFill>
              <a:srgbClr val="F9DFB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69" name="Rectangle 68"/>
          <p:cNvSpPr/>
          <p:nvPr>
            <p:custDataLst>
              <p:tags r:id="rId6"/>
            </p:custDataLst>
          </p:nvPr>
        </p:nvSpPr>
        <p:spPr bwMode="gray">
          <a:xfrm>
            <a:off x="6313591" y="5359520"/>
            <a:ext cx="729701" cy="336430"/>
          </a:xfrm>
          <a:prstGeom prst="rect">
            <a:avLst/>
          </a:prstGeom>
          <a:solidFill>
            <a:srgbClr val="F9DFB5"/>
          </a:solidFill>
          <a:ln w="9525">
            <a:solidFill>
              <a:srgbClr val="F9DFB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68" name="Rectangle 67"/>
          <p:cNvSpPr/>
          <p:nvPr>
            <p:custDataLst>
              <p:tags r:id="rId7"/>
            </p:custDataLst>
          </p:nvPr>
        </p:nvSpPr>
        <p:spPr bwMode="gray">
          <a:xfrm>
            <a:off x="6313591" y="2784021"/>
            <a:ext cx="729701" cy="336430"/>
          </a:xfrm>
          <a:prstGeom prst="rect">
            <a:avLst/>
          </a:prstGeom>
          <a:solidFill>
            <a:srgbClr val="F9DFB5"/>
          </a:solidFill>
          <a:ln w="9525">
            <a:solidFill>
              <a:srgbClr val="F9DFB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64" name="Rectangle 63"/>
          <p:cNvSpPr/>
          <p:nvPr>
            <p:custDataLst>
              <p:tags r:id="rId8"/>
            </p:custDataLst>
          </p:nvPr>
        </p:nvSpPr>
        <p:spPr bwMode="gray">
          <a:xfrm>
            <a:off x="6313591" y="4537308"/>
            <a:ext cx="729701" cy="336430"/>
          </a:xfrm>
          <a:prstGeom prst="rect">
            <a:avLst/>
          </a:prstGeom>
          <a:solidFill>
            <a:srgbClr val="F9DFB5"/>
          </a:solidFill>
          <a:ln w="9525">
            <a:solidFill>
              <a:srgbClr val="F9DFB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63" name="Rectangle 62"/>
          <p:cNvSpPr/>
          <p:nvPr>
            <p:custDataLst>
              <p:tags r:id="rId9"/>
            </p:custDataLst>
          </p:nvPr>
        </p:nvSpPr>
        <p:spPr bwMode="gray">
          <a:xfrm>
            <a:off x="6313591" y="3928844"/>
            <a:ext cx="729701" cy="336430"/>
          </a:xfrm>
          <a:prstGeom prst="rect">
            <a:avLst/>
          </a:prstGeom>
          <a:solidFill>
            <a:srgbClr val="F9DFB5"/>
          </a:solidFill>
          <a:ln w="9525">
            <a:solidFill>
              <a:srgbClr val="F9DFB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66" name="Rectangle 65"/>
          <p:cNvSpPr/>
          <p:nvPr>
            <p:custDataLst>
              <p:tags r:id="rId10"/>
            </p:custDataLst>
          </p:nvPr>
        </p:nvSpPr>
        <p:spPr bwMode="gray">
          <a:xfrm>
            <a:off x="3117902" y="3339168"/>
            <a:ext cx="729701" cy="336430"/>
          </a:xfrm>
          <a:prstGeom prst="rect">
            <a:avLst/>
          </a:prstGeom>
          <a:solidFill>
            <a:srgbClr val="F9DFB5"/>
          </a:solidFill>
          <a:ln w="9525">
            <a:solidFill>
              <a:srgbClr val="F9DFB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67" name="Rectangle 66"/>
          <p:cNvSpPr/>
          <p:nvPr>
            <p:custDataLst>
              <p:tags r:id="rId11"/>
            </p:custDataLst>
          </p:nvPr>
        </p:nvSpPr>
        <p:spPr bwMode="gray">
          <a:xfrm>
            <a:off x="7947778" y="3339168"/>
            <a:ext cx="729701" cy="336430"/>
          </a:xfrm>
          <a:prstGeom prst="rect">
            <a:avLst/>
          </a:prstGeom>
          <a:solidFill>
            <a:srgbClr val="F9DFB5"/>
          </a:solidFill>
          <a:ln w="9525">
            <a:solidFill>
              <a:srgbClr val="F9DFB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 bwMode="gray"/>
        <p:txBody>
          <a:bodyPr/>
          <a:lstStyle/>
          <a:p>
            <a:r>
              <a:rPr lang="en-US" dirty="0" smtClean="0"/>
              <a:t>Rapidly changing economics of Chinese production</a:t>
            </a:r>
            <a:endParaRPr lang="en-US" dirty="0"/>
          </a:p>
        </p:txBody>
      </p:sp>
      <p:sp>
        <p:nvSpPr>
          <p:cNvPr id="20" name="Rectangle 4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765050" y="1610639"/>
            <a:ext cx="1434723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600" b="1" dirty="0" smtClean="0"/>
              <a:t>2000A</a:t>
            </a:r>
            <a:endParaRPr lang="en-US" sz="1600" b="1" dirty="0"/>
          </a:p>
        </p:txBody>
      </p:sp>
      <p:sp>
        <p:nvSpPr>
          <p:cNvPr id="22" name="Rectangle 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377156" y="1610639"/>
            <a:ext cx="1437672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600" b="1" dirty="0" smtClean="0"/>
              <a:t>2005A</a:t>
            </a:r>
            <a:endParaRPr lang="en-US" sz="1600" b="1" dirty="0"/>
          </a:p>
        </p:txBody>
      </p:sp>
      <p:sp>
        <p:nvSpPr>
          <p:cNvPr id="24" name="Rectangle 8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5992210" y="1610639"/>
            <a:ext cx="1434723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600" b="1" dirty="0" smtClean="0"/>
              <a:t>2010A</a:t>
            </a:r>
            <a:endParaRPr lang="en-US" sz="1600" b="1" dirty="0"/>
          </a:p>
        </p:txBody>
      </p:sp>
      <p:sp>
        <p:nvSpPr>
          <p:cNvPr id="26" name="Rectangle 10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7604316" y="1610639"/>
            <a:ext cx="1436198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600" b="1" dirty="0" smtClean="0"/>
              <a:t>2015F</a:t>
            </a:r>
            <a:endParaRPr lang="en-US" sz="1600" b="1" dirty="0"/>
          </a:p>
        </p:txBody>
      </p:sp>
      <p:sp>
        <p:nvSpPr>
          <p:cNvPr id="19" name="Rectangle 3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471637" y="2193925"/>
            <a:ext cx="1863959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400" dirty="0" err="1" smtClean="0"/>
              <a:t>YRD</a:t>
            </a:r>
            <a:r>
              <a:rPr lang="en-US" sz="1400" dirty="0" smtClean="0"/>
              <a:t> wages ($/hour)</a:t>
            </a:r>
            <a:endParaRPr lang="en-US" sz="1400" dirty="0"/>
          </a:p>
        </p:txBody>
      </p:sp>
      <p:sp>
        <p:nvSpPr>
          <p:cNvPr id="21" name="Rectangle 5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3216799" y="2193925"/>
            <a:ext cx="549332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dirty="0" smtClean="0"/>
              <a:t>0.72</a:t>
            </a:r>
            <a:endParaRPr lang="en-US" sz="1400" dirty="0"/>
          </a:p>
        </p:txBody>
      </p:sp>
      <p:sp>
        <p:nvSpPr>
          <p:cNvPr id="23" name="Rectangle 7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4830379" y="2193925"/>
            <a:ext cx="549332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dirty="0" smtClean="0"/>
              <a:t>1.16</a:t>
            </a:r>
            <a:endParaRPr lang="en-US" sz="1400" dirty="0"/>
          </a:p>
        </p:txBody>
      </p:sp>
      <p:sp>
        <p:nvSpPr>
          <p:cNvPr id="25" name="Rectangle 9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6434906" y="2193925"/>
            <a:ext cx="549332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dirty="0" smtClean="0"/>
              <a:t>2.79</a:t>
            </a:r>
            <a:endParaRPr lang="en-US" sz="1400" dirty="0"/>
          </a:p>
        </p:txBody>
      </p:sp>
      <p:sp>
        <p:nvSpPr>
          <p:cNvPr id="27" name="Rectangle 11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8093014" y="2193925"/>
            <a:ext cx="549332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dirty="0" smtClean="0"/>
              <a:t>6.31</a:t>
            </a:r>
            <a:endParaRPr lang="en-US" sz="1400" dirty="0"/>
          </a:p>
        </p:txBody>
      </p:sp>
      <p:sp>
        <p:nvSpPr>
          <p:cNvPr id="30" name="Rectangle 3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471636" y="2752181"/>
            <a:ext cx="1720094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400" dirty="0" smtClean="0"/>
              <a:t>US new factory ($)</a:t>
            </a:r>
            <a:endParaRPr lang="en-US" sz="1400" dirty="0"/>
          </a:p>
        </p:txBody>
      </p:sp>
      <p:sp>
        <p:nvSpPr>
          <p:cNvPr id="50" name="Rectangle 49"/>
          <p:cNvSpPr/>
          <p:nvPr>
            <p:custDataLst>
              <p:tags r:id="rId23"/>
            </p:custDataLst>
          </p:nvPr>
        </p:nvSpPr>
        <p:spPr bwMode="gray">
          <a:xfrm>
            <a:off x="3117902" y="2784021"/>
            <a:ext cx="729701" cy="336430"/>
          </a:xfrm>
          <a:prstGeom prst="rect">
            <a:avLst/>
          </a:prstGeom>
          <a:solidFill>
            <a:srgbClr val="F9DFB5"/>
          </a:solidFill>
          <a:ln w="9525">
            <a:solidFill>
              <a:srgbClr val="F9DFB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1" name="Rectangle 5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3111559" y="2752181"/>
            <a:ext cx="651857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dirty="0" smtClean="0"/>
              <a:t>15.81</a:t>
            </a:r>
            <a:endParaRPr lang="en-US" sz="1400" dirty="0"/>
          </a:p>
        </p:txBody>
      </p:sp>
      <p:sp>
        <p:nvSpPr>
          <p:cNvPr id="32" name="Rectangle 7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4724798" y="2752181"/>
            <a:ext cx="651857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dirty="0" smtClean="0"/>
              <a:t>17.87</a:t>
            </a:r>
            <a:endParaRPr lang="en-US" sz="1400" dirty="0"/>
          </a:p>
        </p:txBody>
      </p:sp>
      <p:sp>
        <p:nvSpPr>
          <p:cNvPr id="33" name="Rectangle 9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6338378" y="2752181"/>
            <a:ext cx="651857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dirty="0" smtClean="0"/>
              <a:t>21.25</a:t>
            </a:r>
            <a:endParaRPr lang="en-US" sz="1400" dirty="0"/>
          </a:p>
        </p:txBody>
      </p:sp>
      <p:sp>
        <p:nvSpPr>
          <p:cNvPr id="65" name="Rectangle 64"/>
          <p:cNvSpPr/>
          <p:nvPr>
            <p:custDataLst>
              <p:tags r:id="rId27"/>
            </p:custDataLst>
          </p:nvPr>
        </p:nvSpPr>
        <p:spPr bwMode="gray">
          <a:xfrm>
            <a:off x="7947778" y="2784021"/>
            <a:ext cx="729701" cy="336430"/>
          </a:xfrm>
          <a:prstGeom prst="rect">
            <a:avLst/>
          </a:prstGeom>
          <a:solidFill>
            <a:srgbClr val="F9DFB5"/>
          </a:solidFill>
          <a:ln w="9525">
            <a:solidFill>
              <a:srgbClr val="F9DFB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4" name="Rectangle 11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7985394" y="2752181"/>
            <a:ext cx="651857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dirty="0" smtClean="0"/>
              <a:t>24.81</a:t>
            </a:r>
            <a:endParaRPr lang="en-US" sz="1400" dirty="0"/>
          </a:p>
        </p:txBody>
      </p:sp>
      <p:sp>
        <p:nvSpPr>
          <p:cNvPr id="36" name="Rectangle 3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71637" y="3310437"/>
            <a:ext cx="1422376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400" dirty="0" smtClean="0"/>
              <a:t>US/China </a:t>
            </a:r>
            <a:r>
              <a:rPr lang="en-US" sz="1400" dirty="0" err="1" smtClean="0"/>
              <a:t>YRD</a:t>
            </a:r>
            <a:endParaRPr lang="en-US" sz="1400" dirty="0"/>
          </a:p>
        </p:txBody>
      </p:sp>
      <p:sp>
        <p:nvSpPr>
          <p:cNvPr id="37" name="Rectangle 5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3121104" y="3310437"/>
            <a:ext cx="686406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dirty="0" smtClean="0"/>
              <a:t>22.0 ×</a:t>
            </a:r>
            <a:endParaRPr lang="en-US" sz="1400" dirty="0"/>
          </a:p>
        </p:txBody>
      </p:sp>
      <p:sp>
        <p:nvSpPr>
          <p:cNvPr id="38" name="Rectangle 7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4734683" y="3310437"/>
            <a:ext cx="686406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dirty="0" smtClean="0"/>
              <a:t>15.0 ×</a:t>
            </a:r>
            <a:endParaRPr lang="en-US" sz="1400" dirty="0"/>
          </a:p>
        </p:txBody>
      </p:sp>
      <p:sp>
        <p:nvSpPr>
          <p:cNvPr id="39" name="Rectangle 9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6434168" y="3310437"/>
            <a:ext cx="587020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dirty="0" smtClean="0"/>
              <a:t>7.6 ×</a:t>
            </a:r>
            <a:endParaRPr lang="en-US" sz="1400" dirty="0"/>
          </a:p>
        </p:txBody>
      </p:sp>
      <p:sp>
        <p:nvSpPr>
          <p:cNvPr id="40" name="Rectangle 11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8083224" y="3310437"/>
            <a:ext cx="587020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dirty="0" smtClean="0"/>
              <a:t>3.9 ×</a:t>
            </a:r>
            <a:endParaRPr lang="en-US" sz="1400" dirty="0"/>
          </a:p>
        </p:txBody>
      </p:sp>
      <p:sp>
        <p:nvSpPr>
          <p:cNvPr id="42" name="Rectangle 3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471637" y="3887743"/>
            <a:ext cx="2335174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400" dirty="0" smtClean="0"/>
              <a:t>US/China </a:t>
            </a:r>
            <a:r>
              <a:rPr lang="en-US" sz="1400" dirty="0" err="1" smtClean="0"/>
              <a:t>YRD</a:t>
            </a:r>
            <a:r>
              <a:rPr lang="en-US" sz="1400" dirty="0" smtClean="0"/>
              <a:t> production</a:t>
            </a:r>
            <a:endParaRPr lang="en-US" sz="1400" dirty="0"/>
          </a:p>
        </p:txBody>
      </p:sp>
      <p:sp>
        <p:nvSpPr>
          <p:cNvPr id="43" name="Rectangle 5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3216154" y="3887743"/>
            <a:ext cx="532518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dirty="0" smtClean="0"/>
              <a:t>3.80</a:t>
            </a:r>
            <a:endParaRPr lang="en-US" sz="1400" dirty="0"/>
          </a:p>
        </p:txBody>
      </p:sp>
      <p:sp>
        <p:nvSpPr>
          <p:cNvPr id="44" name="Rectangle 7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4829733" y="3887743"/>
            <a:ext cx="532518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dirty="0" smtClean="0"/>
              <a:t>3.70</a:t>
            </a:r>
            <a:endParaRPr lang="en-US" sz="1400" dirty="0"/>
          </a:p>
        </p:txBody>
      </p:sp>
      <p:sp>
        <p:nvSpPr>
          <p:cNvPr id="45" name="Rectangle 9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6443313" y="3887743"/>
            <a:ext cx="532518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dirty="0" smtClean="0"/>
              <a:t>3.10</a:t>
            </a:r>
            <a:endParaRPr lang="en-US" sz="1400" dirty="0"/>
          </a:p>
        </p:txBody>
      </p:sp>
      <p:sp>
        <p:nvSpPr>
          <p:cNvPr id="46" name="Rectangle 11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8081276" y="3887743"/>
            <a:ext cx="532518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dirty="0" smtClean="0"/>
              <a:t>2.40</a:t>
            </a:r>
            <a:endParaRPr lang="en-US" sz="1400" dirty="0"/>
          </a:p>
        </p:txBody>
      </p:sp>
      <p:sp>
        <p:nvSpPr>
          <p:cNvPr id="52" name="Rectangle 3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471637" y="4493625"/>
            <a:ext cx="2334293" cy="6155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400" dirty="0" smtClean="0"/>
              <a:t>Production adjusted wages</a:t>
            </a:r>
          </a:p>
          <a:p>
            <a:pPr>
              <a:buClr>
                <a:schemeClr val="tx2"/>
              </a:buClr>
            </a:pPr>
            <a:r>
              <a:rPr lang="en-US" sz="1400" dirty="0" smtClean="0"/>
              <a:t>for </a:t>
            </a:r>
            <a:r>
              <a:rPr lang="en-US" sz="1400" dirty="0" err="1" smtClean="0"/>
              <a:t>YRD</a:t>
            </a:r>
            <a:r>
              <a:rPr lang="en-US" sz="1400" dirty="0" smtClean="0"/>
              <a:t> production ($)</a:t>
            </a:r>
            <a:endParaRPr lang="en-US" sz="1400" dirty="0"/>
          </a:p>
        </p:txBody>
      </p:sp>
      <p:sp>
        <p:nvSpPr>
          <p:cNvPr id="53" name="Rectangle 5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3207747" y="4493624"/>
            <a:ext cx="549332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dirty="0" smtClean="0"/>
              <a:t>2.77</a:t>
            </a:r>
            <a:endParaRPr lang="en-US" sz="1400" dirty="0"/>
          </a:p>
        </p:txBody>
      </p:sp>
      <p:sp>
        <p:nvSpPr>
          <p:cNvPr id="54" name="Rectangle 7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4830379" y="4493624"/>
            <a:ext cx="549332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dirty="0" smtClean="0"/>
              <a:t>4.30</a:t>
            </a:r>
            <a:endParaRPr lang="en-US" sz="1400" dirty="0"/>
          </a:p>
        </p:txBody>
      </p:sp>
      <p:sp>
        <p:nvSpPr>
          <p:cNvPr id="55" name="Rectangle 9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6434906" y="4493624"/>
            <a:ext cx="549332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dirty="0" smtClean="0"/>
              <a:t>8.72</a:t>
            </a:r>
            <a:endParaRPr lang="en-US" sz="1400" dirty="0"/>
          </a:p>
        </p:txBody>
      </p:sp>
      <p:sp>
        <p:nvSpPr>
          <p:cNvPr id="56" name="Rectangle 11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7985394" y="4493624"/>
            <a:ext cx="651857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dirty="0" smtClean="0"/>
              <a:t>15.02</a:t>
            </a:r>
            <a:endParaRPr lang="en-US" sz="1400" dirty="0"/>
          </a:p>
        </p:txBody>
      </p:sp>
      <p:sp>
        <p:nvSpPr>
          <p:cNvPr id="58" name="Rectangle 3"/>
          <p:cNvSpPr>
            <a:spLocks noChangeArrowheads="1"/>
          </p:cNvSpPr>
          <p:nvPr>
            <p:custDataLst>
              <p:tags r:id="rId44"/>
            </p:custDataLst>
          </p:nvPr>
        </p:nvSpPr>
        <p:spPr bwMode="gray">
          <a:xfrm>
            <a:off x="471636" y="5314951"/>
            <a:ext cx="2084160" cy="6155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400" dirty="0" err="1" smtClean="0"/>
              <a:t>YRD</a:t>
            </a:r>
            <a:r>
              <a:rPr lang="en-US" sz="1400" dirty="0" smtClean="0"/>
              <a:t> effective wages as</a:t>
            </a:r>
            <a:br>
              <a:rPr lang="en-US" sz="1400" dirty="0" smtClean="0"/>
            </a:br>
            <a:r>
              <a:rPr lang="en-US" sz="1400" dirty="0" smtClean="0"/>
              <a:t>% of US</a:t>
            </a:r>
            <a:endParaRPr lang="en-US" sz="1400" dirty="0"/>
          </a:p>
        </p:txBody>
      </p:sp>
      <p:sp>
        <p:nvSpPr>
          <p:cNvPr id="59" name="Rectangle 5"/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3112143" y="5314950"/>
            <a:ext cx="631904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dirty="0" smtClean="0"/>
              <a:t>17.50</a:t>
            </a:r>
            <a:endParaRPr lang="en-US" sz="1400" dirty="0"/>
          </a:p>
        </p:txBody>
      </p:sp>
      <p:sp>
        <p:nvSpPr>
          <p:cNvPr id="60" name="Rectangle 7"/>
          <p:cNvSpPr>
            <a:spLocks noChangeArrowheads="1"/>
          </p:cNvSpPr>
          <p:nvPr>
            <p:custDataLst>
              <p:tags r:id="rId46"/>
            </p:custDataLst>
          </p:nvPr>
        </p:nvSpPr>
        <p:spPr bwMode="gray">
          <a:xfrm>
            <a:off x="4734775" y="5314950"/>
            <a:ext cx="631904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dirty="0" smtClean="0"/>
              <a:t>24.00</a:t>
            </a:r>
            <a:endParaRPr lang="en-US" sz="1400" dirty="0"/>
          </a:p>
        </p:txBody>
      </p:sp>
      <p:sp>
        <p:nvSpPr>
          <p:cNvPr id="61" name="Rectangle 9"/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6348355" y="5314950"/>
            <a:ext cx="631904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dirty="0" smtClean="0"/>
              <a:t>41.00</a:t>
            </a:r>
            <a:endParaRPr lang="en-US" sz="1400" dirty="0"/>
          </a:p>
        </p:txBody>
      </p:sp>
      <p:sp>
        <p:nvSpPr>
          <p:cNvPr id="62" name="Rectangle 11"/>
          <p:cNvSpPr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7988357" y="5314950"/>
            <a:ext cx="631904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tIns="91440" bIns="9144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dirty="0" smtClean="0"/>
              <a:t>61.00</a:t>
            </a:r>
            <a:endParaRPr lang="en-US" sz="1400" dirty="0"/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>
                      <p:stCondLst>
                        <p:cond delay="indefinite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5" fill="hold">
                      <p:stCondLst>
                        <p:cond delay="indefinite"/>
                      </p:stCondLst>
                      <p:childTnLst>
                        <p:par>
                          <p:cTn id="136" fill="hold">
                            <p:stCondLst>
                              <p:cond delay="0"/>
                            </p:stCondLst>
                            <p:childTnLst>
                              <p:par>
                                <p:cTn id="13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1" fill="hold">
                      <p:stCondLst>
                        <p:cond delay="indefinite"/>
                      </p:stCondLst>
                      <p:childTnLst>
                        <p:par>
                          <p:cTn id="142" fill="hold">
                            <p:stCondLst>
                              <p:cond delay="0"/>
                            </p:stCondLst>
                            <p:childTnLst>
                              <p:par>
                                <p:cTn id="143" presetID="1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5" fill="hold">
                      <p:stCondLst>
                        <p:cond delay="indefinite"/>
                      </p:stCondLst>
                      <p:childTnLst>
                        <p:par>
                          <p:cTn id="146" fill="hold">
                            <p:stCondLst>
                              <p:cond delay="0"/>
                            </p:stCondLst>
                            <p:childTnLst>
                              <p:par>
                                <p:cTn id="1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" grpId="0" animBg="1"/>
      <p:bldP spid="72" grpId="0" animBg="1"/>
      <p:bldP spid="71" grpId="0" animBg="1"/>
      <p:bldP spid="71" grpId="1" animBg="1"/>
      <p:bldP spid="70" grpId="0" animBg="1"/>
      <p:bldP spid="69" grpId="0" animBg="1"/>
      <p:bldP spid="69" grpId="1" animBg="1"/>
      <p:bldP spid="68" grpId="0" animBg="1"/>
      <p:bldP spid="68" grpId="1" animBg="1"/>
      <p:bldP spid="64" grpId="0" animBg="1"/>
      <p:bldP spid="64" grpId="1" animBg="1"/>
      <p:bldP spid="63" grpId="0" animBg="1"/>
      <p:bldP spid="63" grpId="1" animBg="1"/>
      <p:bldP spid="63" grpId="2" animBg="1"/>
      <p:bldP spid="66" grpId="0" animBg="1"/>
      <p:bldP spid="66" grpId="1" animBg="1"/>
      <p:bldP spid="66" grpId="2" animBg="1"/>
      <p:bldP spid="67" grpId="0" animBg="1"/>
      <p:bldP spid="67" grpId="1" animBg="1"/>
      <p:bldP spid="67" grpId="2" animBg="1"/>
      <p:bldP spid="20" grpId="0" animBg="1"/>
      <p:bldP spid="22" grpId="0" animBg="1"/>
      <p:bldP spid="24" grpId="0" animBg="1"/>
      <p:bldP spid="26" grpId="0" animBg="1"/>
      <p:bldP spid="19" grpId="0"/>
      <p:bldP spid="21" grpId="0"/>
      <p:bldP spid="23" grpId="0"/>
      <p:bldP spid="25" grpId="0"/>
      <p:bldP spid="27" grpId="0"/>
      <p:bldP spid="30" grpId="0"/>
      <p:bldP spid="50" grpId="0" animBg="1"/>
      <p:bldP spid="50" grpId="1" animBg="1"/>
      <p:bldP spid="50" grpId="2" animBg="1"/>
      <p:bldP spid="31" grpId="0"/>
      <p:bldP spid="32" grpId="0"/>
      <p:bldP spid="33" grpId="0"/>
      <p:bldP spid="65" grpId="0" animBg="1"/>
      <p:bldP spid="65" grpId="1" animBg="1"/>
      <p:bldP spid="65" grpId="2" animBg="1"/>
      <p:bldP spid="65" grpId="3" animBg="1"/>
      <p:bldP spid="34" grpId="0"/>
      <p:bldP spid="36" grpId="0"/>
      <p:bldP spid="37" grpId="0"/>
      <p:bldP spid="38" grpId="0"/>
      <p:bldP spid="39" grpId="0"/>
      <p:bldP spid="40" grpId="0"/>
      <p:bldP spid="42" grpId="0"/>
      <p:bldP spid="43" grpId="0"/>
      <p:bldP spid="44" grpId="0"/>
      <p:bldP spid="45" grpId="0"/>
      <p:bldP spid="46" grpId="0"/>
      <p:bldP spid="52" grpId="0"/>
      <p:bldP spid="53" grpId="0"/>
      <p:bldP spid="54" grpId="0"/>
      <p:bldP spid="55" grpId="0"/>
      <p:bldP spid="56" grpId="0"/>
      <p:bldP spid="58" grpId="0"/>
      <p:bldP spid="59" grpId="0"/>
      <p:bldP spid="60" grpId="0"/>
      <p:bldP spid="61" grpId="0"/>
      <p:bldP spid="6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2242" name="Object 2" hidden="1"/>
          <p:cNvGraphicFramePr>
            <a:graphicFrameLocks noChangeAspect="1"/>
          </p:cNvGraphicFramePr>
          <p:nvPr/>
        </p:nvGraphicFramePr>
        <p:xfrm>
          <a:off x="0" y="0"/>
          <a:ext cx="163763" cy="158750"/>
        </p:xfrm>
        <a:graphic>
          <a:graphicData uri="http://schemas.openxmlformats.org/presentationml/2006/ole">
            <p:oleObj spid="_x0000_s67586" name="think-cell Slide" r:id="rId19" imgW="360" imgH="360" progId="TCLayout.ActiveDocument.1">
              <p:embed/>
            </p:oleObj>
          </a:graphicData>
        </a:graphic>
      </p:graphicFrame>
      <p:sp>
        <p:nvSpPr>
          <p:cNvPr id="522243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/>
        <p:txBody>
          <a:bodyPr/>
          <a:lstStyle/>
          <a:p>
            <a:pPr eaLnBrk="1" hangingPunct="1"/>
            <a:r>
              <a:rPr lang="en-US" dirty="0" smtClean="0">
                <a:solidFill>
                  <a:srgbClr val="177B57"/>
                </a:solidFill>
              </a:rPr>
              <a:t>Economics will drive reinvestment in US</a:t>
            </a:r>
          </a:p>
        </p:txBody>
      </p:sp>
      <p:sp>
        <p:nvSpPr>
          <p:cNvPr id="18" name="Rectangle 17"/>
          <p:cNvSpPr/>
          <p:nvPr>
            <p:custDataLst>
              <p:tags r:id="rId3"/>
            </p:custDataLst>
          </p:nvPr>
        </p:nvSpPr>
        <p:spPr>
          <a:xfrm>
            <a:off x="5633117" y="4944716"/>
            <a:ext cx="3834734" cy="1130300"/>
          </a:xfrm>
          <a:prstGeom prst="rect">
            <a:avLst/>
          </a:prstGeom>
          <a:solidFill>
            <a:srgbClr val="F9DFB5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1"/>
              </a:solidFill>
            </a:endParaRPr>
          </a:p>
        </p:txBody>
      </p:sp>
      <p:graphicFrame>
        <p:nvGraphicFramePr>
          <p:cNvPr id="19" name="Group 61"/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5699456" y="1611833"/>
          <a:ext cx="3721626" cy="4500055"/>
        </p:xfrm>
        <a:graphic>
          <a:graphicData uri="http://schemas.openxmlformats.org/drawingml/2006/table">
            <a:tbl>
              <a:tblPr/>
              <a:tblGrid>
                <a:gridCol w="2148677"/>
                <a:gridCol w="776440"/>
                <a:gridCol w="796509"/>
              </a:tblGrid>
              <a:tr h="40202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2000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91440" marB="91440" anchor="b" horzOverflow="overflow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5F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91440" marB="91440" anchor="b" horzOverflow="overflow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527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Wage rate ($/hr)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91440" marB="9144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5.81</a:t>
                      </a:r>
                    </a:p>
                  </a:txBody>
                  <a:tcPr marL="9826" marR="9826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24.81</a:t>
                      </a:r>
                    </a:p>
                  </a:txBody>
                  <a:tcPr marL="9826" marR="9826" marT="9525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04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ductivity (%)</a:t>
                      </a:r>
                    </a:p>
                  </a:txBody>
                  <a:tcPr marT="91440" marB="9144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00%</a:t>
                      </a:r>
                    </a:p>
                  </a:txBody>
                  <a:tcPr marL="9826" marR="9826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00%</a:t>
                      </a:r>
                    </a:p>
                  </a:txBody>
                  <a:tcPr marL="9826" marR="9826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6349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abor cost/part ($)</a:t>
                      </a:r>
                    </a:p>
                  </a:txBody>
                  <a:tcPr marL="94327" marR="94327" marT="91440" marB="9144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2.11 </a:t>
                      </a:r>
                    </a:p>
                  </a:txBody>
                  <a:tcPr marL="47164" marR="47164" anchor="ctr" horzOverflow="overflow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3.31 </a:t>
                      </a:r>
                    </a:p>
                  </a:txBody>
                  <a:tcPr marL="47164" marR="47164" anchor="ctr" horzOverflow="overflow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16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age rate ($/hr)</a:t>
                      </a:r>
                    </a:p>
                  </a:txBody>
                  <a:tcPr marT="91440" marB="9144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0.72 </a:t>
                      </a:r>
                    </a:p>
                  </a:txBody>
                  <a:tcPr marL="9826" marR="9826" marT="9525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6.31 </a:t>
                      </a:r>
                    </a:p>
                  </a:txBody>
                  <a:tcPr marL="9826" marR="9826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939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ductivity (%)</a:t>
                      </a:r>
                    </a:p>
                  </a:txBody>
                  <a:tcPr marT="91440" marB="9144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3%</a:t>
                      </a:r>
                      <a:r>
                        <a:rPr kumimoji="0" lang="en-US" sz="14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</a:p>
                  </a:txBody>
                  <a:tcPr marL="9826" marR="9826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42%</a:t>
                      </a:r>
                      <a:r>
                        <a:rPr kumimoji="0" lang="en-US" sz="14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2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</a:p>
                  </a:txBody>
                  <a:tcPr marL="9826" marR="9826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05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abor cost/part ($)</a:t>
                      </a:r>
                    </a:p>
                  </a:txBody>
                  <a:tcPr marL="94327" marR="47164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0.74 </a:t>
                      </a:r>
                    </a:p>
                  </a:txBody>
                  <a:tcPr marL="47164" marR="47164" anchor="ctr" horzOverflow="overflow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2.00</a:t>
                      </a:r>
                    </a:p>
                  </a:txBody>
                  <a:tcPr marL="47164" marR="47164" anchor="ctr" horzOverflow="overflow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83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abor cost savings (%)</a:t>
                      </a:r>
                    </a:p>
                  </a:txBody>
                  <a:tcPr marT="91440" marB="9144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65%</a:t>
                      </a:r>
                    </a:p>
                  </a:txBody>
                  <a:tcPr marL="9826" marR="9826" marT="9525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39%</a:t>
                      </a:r>
                    </a:p>
                  </a:txBody>
                  <a:tcPr marL="9826" marR="9826" marT="9525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4431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tal cost savings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(before transportation, duties, and other costs)</a:t>
                      </a:r>
                    </a:p>
                  </a:txBody>
                  <a:tcPr marT="91440" marB="9144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6%</a:t>
                      </a:r>
                    </a:p>
                  </a:txBody>
                  <a:tcPr marL="9826" marR="9826" marT="9525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&lt; 10%</a:t>
                      </a:r>
                    </a:p>
                  </a:txBody>
                  <a:tcPr marL="9826" marR="9826" marT="9525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22287" name="BCG_FootNote_Box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76550" y="6343651"/>
            <a:ext cx="8959451" cy="3286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>
              <a:lnSpc>
                <a:spcPct val="90000"/>
              </a:lnSpc>
            </a:pPr>
            <a:r>
              <a:rPr lang="en-US" sz="800" dirty="0">
                <a:solidFill>
                  <a:srgbClr val="000000"/>
                </a:solidFill>
              </a:rPr>
              <a:t>1. </a:t>
            </a:r>
            <a:r>
              <a:rPr lang="en-US" sz="800" dirty="0" smtClean="0">
                <a:solidFill>
                  <a:srgbClr val="000000"/>
                </a:solidFill>
              </a:rPr>
              <a:t>Based on average overall Chinese productivity. 2. Average </a:t>
            </a:r>
            <a:r>
              <a:rPr lang="en-US" sz="800" dirty="0">
                <a:solidFill>
                  <a:srgbClr val="000000"/>
                </a:solidFill>
              </a:rPr>
              <a:t>productivity difference between US and China's </a:t>
            </a:r>
            <a:r>
              <a:rPr lang="en-US" sz="800" dirty="0" err="1" smtClean="0">
                <a:solidFill>
                  <a:srgbClr val="000000"/>
                </a:solidFill>
              </a:rPr>
              <a:t>YRD</a:t>
            </a:r>
            <a:r>
              <a:rPr lang="en-US" sz="800" dirty="0" smtClean="0">
                <a:solidFill>
                  <a:srgbClr val="000000"/>
                </a:solidFill>
              </a:rPr>
              <a:t> region. YRD </a:t>
            </a:r>
            <a:r>
              <a:rPr lang="en-US" sz="800" dirty="0">
                <a:solidFill>
                  <a:srgbClr val="000000"/>
                </a:solidFill>
              </a:rPr>
              <a:t>productivity assumed to grow at </a:t>
            </a:r>
            <a:r>
              <a:rPr lang="en-US" sz="800" dirty="0" smtClean="0">
                <a:solidFill>
                  <a:srgbClr val="000000"/>
                </a:solidFill>
              </a:rPr>
              <a:t>~ 7</a:t>
            </a:r>
            <a:r>
              <a:rPr lang="en-US" sz="800" dirty="0">
                <a:solidFill>
                  <a:srgbClr val="000000"/>
                </a:solidFill>
              </a:rPr>
              <a:t>% CAGR over 2009 baseline, slightly slower than overall Chinese manufacturing productivity </a:t>
            </a:r>
            <a:r>
              <a:rPr lang="en-US" sz="800" dirty="0" smtClean="0">
                <a:solidFill>
                  <a:srgbClr val="000000"/>
                </a:solidFill>
              </a:rPr>
              <a:t>(~ 8.5</a:t>
            </a:r>
            <a:r>
              <a:rPr lang="en-US" sz="800" dirty="0">
                <a:solidFill>
                  <a:srgbClr val="000000"/>
                </a:solidFill>
              </a:rPr>
              <a:t>%) as other regions adopt more advanced manufacturing </a:t>
            </a:r>
            <a:r>
              <a:rPr lang="en-US" sz="800" dirty="0" smtClean="0">
                <a:solidFill>
                  <a:srgbClr val="000000"/>
                </a:solidFill>
              </a:rPr>
              <a:t>practices </a:t>
            </a:r>
            <a:endParaRPr lang="en-US" sz="800" dirty="0">
              <a:solidFill>
                <a:srgbClr val="000000"/>
              </a:solidFill>
            </a:endParaRPr>
          </a:p>
          <a:p>
            <a:pPr eaLnBrk="0" hangingPunct="0">
              <a:lnSpc>
                <a:spcPct val="90000"/>
              </a:lnSpc>
            </a:pPr>
            <a:r>
              <a:rPr lang="en-US" sz="800" dirty="0">
                <a:solidFill>
                  <a:srgbClr val="000000"/>
                </a:solidFill>
              </a:rPr>
              <a:t>Source</a:t>
            </a:r>
            <a:r>
              <a:rPr lang="en-US" sz="800" dirty="0" smtClean="0">
                <a:solidFill>
                  <a:srgbClr val="000000"/>
                </a:solidFill>
              </a:rPr>
              <a:t>: </a:t>
            </a:r>
            <a:r>
              <a:rPr lang="en-US" sz="800" dirty="0" err="1" smtClean="0">
                <a:solidFill>
                  <a:srgbClr val="000000"/>
                </a:solidFill>
              </a:rPr>
              <a:t>EIU</a:t>
            </a:r>
            <a:r>
              <a:rPr lang="en-US" sz="800" dirty="0" smtClean="0">
                <a:solidFill>
                  <a:srgbClr val="000000"/>
                </a:solidFill>
              </a:rPr>
              <a:t>; </a:t>
            </a:r>
            <a:r>
              <a:rPr lang="en-US" sz="800" dirty="0" err="1" smtClean="0">
                <a:solidFill>
                  <a:srgbClr val="000000"/>
                </a:solidFill>
              </a:rPr>
              <a:t>BLS</a:t>
            </a:r>
            <a:r>
              <a:rPr lang="en-US" sz="800" dirty="0" smtClean="0">
                <a:solidFill>
                  <a:srgbClr val="000000"/>
                </a:solidFill>
              </a:rPr>
              <a:t>; BCG analysis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1" name="Rectangle 2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62153" y="1447746"/>
            <a:ext cx="1822677" cy="5847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0" bIns="91440" anchor="b">
            <a:spAutoFit/>
          </a:bodyPr>
          <a:lstStyle/>
          <a:p>
            <a:pPr algn="ctr">
              <a:defRPr/>
            </a:pPr>
            <a:r>
              <a:rPr lang="en-US" sz="1600" b="1" dirty="0"/>
              <a:t>Imagine a </a:t>
            </a:r>
            <a:r>
              <a:rPr lang="en-US" sz="1600" b="1" dirty="0" smtClean="0"/>
              <a:t>company ...</a:t>
            </a:r>
            <a:endParaRPr lang="en-US" sz="1600" b="1" dirty="0"/>
          </a:p>
        </p:txBody>
      </p:sp>
      <p:sp>
        <p:nvSpPr>
          <p:cNvPr id="522289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62153" y="2064272"/>
            <a:ext cx="1822677" cy="3597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171450" indent="-171450">
              <a:spcAft>
                <a:spcPts val="600"/>
              </a:spcAft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US-based auto parts supplier</a:t>
            </a:r>
          </a:p>
          <a:p>
            <a:pPr marL="171450" indent="-171450">
              <a:spcAft>
                <a:spcPts val="600"/>
              </a:spcAft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Most customers are US OEMs that manufacture in the US</a:t>
            </a:r>
          </a:p>
          <a:p>
            <a:pPr marL="171450" indent="-171450">
              <a:spcAft>
                <a:spcPts val="600"/>
              </a:spcAft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Parts take </a:t>
            </a:r>
            <a:r>
              <a:rPr lang="en-US" sz="1400" dirty="0" smtClean="0">
                <a:solidFill>
                  <a:srgbClr val="000000"/>
                </a:solidFill>
              </a:rPr>
              <a:t>eight </a:t>
            </a:r>
            <a:r>
              <a:rPr lang="en-US" sz="1400" dirty="0">
                <a:solidFill>
                  <a:srgbClr val="000000"/>
                </a:solidFill>
              </a:rPr>
              <a:t>minutes of labor on average in the US</a:t>
            </a:r>
          </a:p>
          <a:p>
            <a:pPr marL="171450" indent="-171450">
              <a:spcAft>
                <a:spcPts val="600"/>
              </a:spcAft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Labor represents 1/4 of the total cost of the part</a:t>
            </a:r>
          </a:p>
        </p:txBody>
      </p:sp>
      <p:sp>
        <p:nvSpPr>
          <p:cNvPr id="23" name="Rectangle 4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541763" y="1447746"/>
            <a:ext cx="2801762" cy="5847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0" bIns="91440" anchor="b">
            <a:spAutoFit/>
          </a:bodyPr>
          <a:lstStyle/>
          <a:p>
            <a:pPr algn="ctr">
              <a:defRPr/>
            </a:pPr>
            <a:r>
              <a:rPr lang="en-US" sz="1600" b="1" dirty="0" smtClean="0"/>
              <a:t>... with </a:t>
            </a:r>
            <a:r>
              <a:rPr lang="en-US" sz="1600" b="1" dirty="0"/>
              <a:t>the following location </a:t>
            </a:r>
            <a:r>
              <a:rPr lang="en-US" sz="1600" b="1" dirty="0" smtClean="0"/>
              <a:t>choices</a:t>
            </a:r>
            <a:endParaRPr lang="en-US" sz="1600" b="1" dirty="0"/>
          </a:p>
        </p:txBody>
      </p:sp>
      <p:sp>
        <p:nvSpPr>
          <p:cNvPr id="25" name="Rectangle 24"/>
          <p:cNvSpPr/>
          <p:nvPr>
            <p:custDataLst>
              <p:tags r:id="rId9"/>
            </p:custDataLst>
          </p:nvPr>
        </p:nvSpPr>
        <p:spPr bwMode="gray">
          <a:xfrm rot="5400000" flipH="1">
            <a:off x="2437596" y="2304443"/>
            <a:ext cx="1351454" cy="1017531"/>
          </a:xfrm>
          <a:prstGeom prst="rect">
            <a:avLst/>
          </a:prstGeom>
          <a:solidFill>
            <a:srgbClr val="3D6E8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solidFill>
                  <a:schemeClr val="bg1"/>
                </a:solidFill>
              </a:rPr>
              <a:t>US, </a:t>
            </a:r>
            <a:endParaRPr lang="en-US" sz="14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solidFill>
                  <a:schemeClr val="bg1"/>
                </a:solidFill>
              </a:rPr>
              <a:t>likely plant locations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522292" name="Rectangle 3"/>
          <p:cNvSpPr>
            <a:spLocks noChangeArrowheads="1"/>
          </p:cNvSpPr>
          <p:nvPr/>
        </p:nvSpPr>
        <p:spPr bwMode="gray">
          <a:xfrm>
            <a:off x="3634930" y="2066523"/>
            <a:ext cx="1784475" cy="14534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171450" indent="-171450">
              <a:spcAft>
                <a:spcPts val="600"/>
              </a:spcAft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Highly productive workers</a:t>
            </a:r>
          </a:p>
          <a:p>
            <a:pPr marL="171450" indent="-171450">
              <a:spcAft>
                <a:spcPts val="600"/>
              </a:spcAft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Highly automated facilities </a:t>
            </a:r>
          </a:p>
          <a:p>
            <a:pPr marL="171450" indent="-171450">
              <a:spcAft>
                <a:spcPts val="600"/>
              </a:spcAft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Stable wages</a:t>
            </a:r>
            <a:endParaRPr lang="en-US" sz="1400" dirty="0">
              <a:solidFill>
                <a:srgbClr val="000000"/>
              </a:solidFill>
            </a:endParaRPr>
          </a:p>
        </p:txBody>
      </p:sp>
      <p:cxnSp>
        <p:nvCxnSpPr>
          <p:cNvPr id="27" name="Straight Connector 26"/>
          <p:cNvCxnSpPr/>
          <p:nvPr>
            <p:custDataLst>
              <p:tags r:id="rId10"/>
            </p:custDataLst>
          </p:nvPr>
        </p:nvCxnSpPr>
        <p:spPr>
          <a:xfrm>
            <a:off x="2627790" y="3589641"/>
            <a:ext cx="6777914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294" name="AutoShape 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 rot="5400000">
            <a:off x="4835112" y="2719396"/>
            <a:ext cx="1246189" cy="216167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522295" name="AutoShape 2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 rot="5400000">
            <a:off x="4835113" y="4382044"/>
            <a:ext cx="1246190" cy="216166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522296" name="Line 123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 flipH="1">
            <a:off x="5757894" y="3027710"/>
            <a:ext cx="3645355" cy="0"/>
          </a:xfrm>
          <a:prstGeom prst="line">
            <a:avLst/>
          </a:prstGeom>
          <a:noFill/>
          <a:ln w="19050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22297" name="Line 128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 flipH="1">
            <a:off x="5691009" y="4482531"/>
            <a:ext cx="3645355" cy="0"/>
          </a:xfrm>
          <a:prstGeom prst="line">
            <a:avLst/>
          </a:prstGeom>
          <a:noFill/>
          <a:ln w="19050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0" name="Freeform 29"/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8591987" y="5519841"/>
            <a:ext cx="822595" cy="38757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9525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 dirty="0"/>
          </a:p>
        </p:txBody>
      </p:sp>
      <p:sp>
        <p:nvSpPr>
          <p:cNvPr id="26" name="Rectangle 25"/>
          <p:cNvSpPr/>
          <p:nvPr>
            <p:custDataLst>
              <p:tags r:id="rId16"/>
            </p:custDataLst>
          </p:nvPr>
        </p:nvSpPr>
        <p:spPr bwMode="gray">
          <a:xfrm rot="5400000" flipH="1">
            <a:off x="2432903" y="3897866"/>
            <a:ext cx="1351454" cy="1017531"/>
          </a:xfrm>
          <a:prstGeom prst="rect">
            <a:avLst/>
          </a:prstGeom>
          <a:solidFill>
            <a:srgbClr val="9C3328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solidFill>
                  <a:schemeClr val="bg1"/>
                </a:solidFill>
              </a:rPr>
              <a:t>China, Yangtze River Delta locations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2" name="Rectangle 3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3634930" y="3734345"/>
            <a:ext cx="1784475" cy="158683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171450" indent="-171450">
              <a:spcAft>
                <a:spcPts val="600"/>
              </a:spcAft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Scarce labor</a:t>
            </a:r>
          </a:p>
          <a:p>
            <a:pPr marL="171450" indent="-171450">
              <a:spcAft>
                <a:spcPts val="600"/>
              </a:spcAft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Rapidly rising wages</a:t>
            </a:r>
          </a:p>
          <a:p>
            <a:pPr marL="171450" indent="-171450">
              <a:spcAft>
                <a:spcPts val="600"/>
              </a:spcAft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Low productivity relative to the US</a:t>
            </a:r>
          </a:p>
          <a:p>
            <a:pPr marL="171450" indent="-171450">
              <a:spcAft>
                <a:spcPts val="600"/>
              </a:spcAft>
              <a:buClr>
                <a:srgbClr val="177B57"/>
              </a:buClr>
              <a:buSzPct val="100000"/>
              <a:buFont typeface="Arial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</p:txBody>
      </p:sp>
      <p:cxnSp>
        <p:nvCxnSpPr>
          <p:cNvPr id="29" name="Straight Connector 28"/>
          <p:cNvCxnSpPr/>
          <p:nvPr/>
        </p:nvCxnSpPr>
        <p:spPr bwMode="gray">
          <a:xfrm>
            <a:off x="7891413" y="2041875"/>
            <a:ext cx="6658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 bwMode="gray">
          <a:xfrm>
            <a:off x="8686611" y="2041875"/>
            <a:ext cx="6658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" name="Object 75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5428" name="think-cell Slide" r:id="rId64" imgW="360" imgH="360" progId="TCLayout.ActiveDocument.1">
              <p:embed/>
            </p:oleObj>
          </a:graphicData>
        </a:graphic>
      </p:graphicFrame>
      <p:sp>
        <p:nvSpPr>
          <p:cNvPr id="75" name="Rectangle 7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 smtClean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>
                <a:ea typeface="宋体" pitchFamily="2" charset="-122"/>
              </a:rPr>
              <a:t>Quantitative assessment indicates that seven industry clusters may be close to a tipping point</a:t>
            </a:r>
            <a:endParaRPr lang="en-US" dirty="0"/>
          </a:p>
        </p:txBody>
      </p:sp>
      <p:cxnSp>
        <p:nvCxnSpPr>
          <p:cNvPr id="4" name="Straight Connector 3"/>
          <p:cNvCxnSpPr/>
          <p:nvPr>
            <p:custDataLst>
              <p:tags r:id="rId4"/>
            </p:custDataLst>
          </p:nvPr>
        </p:nvCxnSpPr>
        <p:spPr bwMode="gray">
          <a:xfrm>
            <a:off x="1662112" y="2370137"/>
            <a:ext cx="4286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>
            <p:custDataLst>
              <p:tags r:id="rId5"/>
            </p:custDataLst>
          </p:nvPr>
        </p:nvCxnSpPr>
        <p:spPr bwMode="gray">
          <a:xfrm>
            <a:off x="1662112" y="3170237"/>
            <a:ext cx="4286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>
            <p:custDataLst>
              <p:tags r:id="rId6"/>
            </p:custDataLst>
          </p:nvPr>
        </p:nvCxnSpPr>
        <p:spPr bwMode="gray">
          <a:xfrm>
            <a:off x="1662112" y="3970337"/>
            <a:ext cx="4286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>
            <p:custDataLst>
              <p:tags r:id="rId7"/>
            </p:custDataLst>
          </p:nvPr>
        </p:nvCxnSpPr>
        <p:spPr bwMode="gray">
          <a:xfrm>
            <a:off x="1662112" y="4770437"/>
            <a:ext cx="4286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8"/>
            </p:custDataLst>
          </p:nvPr>
        </p:nvCxnSpPr>
        <p:spPr bwMode="gray">
          <a:xfrm>
            <a:off x="1662112" y="5408612"/>
            <a:ext cx="4286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>
            <p:custDataLst>
              <p:tags r:id="rId9"/>
            </p:custDataLst>
          </p:nvPr>
        </p:nvCxnSpPr>
        <p:spPr bwMode="gray">
          <a:xfrm flipV="1">
            <a:off x="8191500" y="5408612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>
            <p:custDataLst>
              <p:tags r:id="rId10"/>
            </p:custDataLst>
          </p:nvPr>
        </p:nvCxnSpPr>
        <p:spPr bwMode="gray">
          <a:xfrm flipV="1">
            <a:off x="7200900" y="5408612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11"/>
            </p:custDataLst>
          </p:nvPr>
        </p:nvCxnSpPr>
        <p:spPr bwMode="gray">
          <a:xfrm flipV="1">
            <a:off x="6286500" y="5408612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>
            <p:custDataLst>
              <p:tags r:id="rId12"/>
            </p:custDataLst>
          </p:nvPr>
        </p:nvCxnSpPr>
        <p:spPr bwMode="gray">
          <a:xfrm flipV="1">
            <a:off x="5372100" y="5408612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13"/>
            </p:custDataLst>
          </p:nvPr>
        </p:nvCxnSpPr>
        <p:spPr bwMode="gray">
          <a:xfrm flipV="1">
            <a:off x="4457700" y="5408612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14"/>
            </p:custDataLst>
          </p:nvPr>
        </p:nvCxnSpPr>
        <p:spPr bwMode="gray">
          <a:xfrm flipV="1">
            <a:off x="3533775" y="5408612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15"/>
            </p:custDataLst>
          </p:nvPr>
        </p:nvCxnSpPr>
        <p:spPr bwMode="gray">
          <a:xfrm flipV="1">
            <a:off x="2619375" y="5408612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>
            <p:custDataLst>
              <p:tags r:id="rId16"/>
            </p:custDataLst>
          </p:nvPr>
        </p:nvCxnSpPr>
        <p:spPr bwMode="gray">
          <a:xfrm flipV="1">
            <a:off x="1704975" y="5408612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Object 4"/>
          <p:cNvGraphicFramePr>
            <a:graphicFrameLocks noChangeAspect="1"/>
          </p:cNvGraphicFramePr>
          <p:nvPr/>
        </p:nvGraphicFramePr>
        <p:xfrm>
          <a:off x="1562100" y="2265362"/>
          <a:ext cx="6734063" cy="3286086"/>
        </p:xfrm>
        <a:graphic>
          <a:graphicData uri="http://schemas.openxmlformats.org/presentationml/2006/ole">
            <p:oleObj spid="_x0000_s145410" name="Chart" r:id="rId65" imgW="6734063" imgH="3286086" progId="MSGraph.Chart.8">
              <p:embed followColorScheme="full"/>
            </p:oleObj>
          </a:graphicData>
        </a:graphic>
      </p:graphicFrame>
      <p:sp useBgFill="1">
        <p:nvSpPr>
          <p:cNvPr id="18" name="Freeform 17"/>
          <p:cNvSpPr/>
          <p:nvPr>
            <p:custDataLst>
              <p:tags r:id="rId17"/>
            </p:custDataLst>
          </p:nvPr>
        </p:nvSpPr>
        <p:spPr bwMode="auto">
          <a:xfrm>
            <a:off x="1633537" y="5041900"/>
            <a:ext cx="146051" cy="95251"/>
          </a:xfrm>
          <a:custGeom>
            <a:avLst/>
            <a:gdLst/>
            <a:ahLst/>
            <a:cxnLst/>
            <a:rect l="0" t="0" r="0" b="0"/>
            <a:pathLst>
              <a:path w="146051" h="95251">
                <a:moveTo>
                  <a:pt x="0" y="38100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525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 useBgFill="1">
        <p:nvSpPr>
          <p:cNvPr id="17" name="Freeform 16"/>
          <p:cNvSpPr/>
          <p:nvPr>
            <p:custDataLst>
              <p:tags r:id="rId18"/>
            </p:custDataLst>
          </p:nvPr>
        </p:nvSpPr>
        <p:spPr bwMode="auto">
          <a:xfrm>
            <a:off x="7596187" y="5338762"/>
            <a:ext cx="95251" cy="146051"/>
          </a:xfrm>
          <a:custGeom>
            <a:avLst/>
            <a:gdLst/>
            <a:ahLst/>
            <a:cxnLst/>
            <a:rect l="0" t="0" r="0" b="0"/>
            <a:pathLst>
              <a:path w="95251" h="146051">
                <a:moveTo>
                  <a:pt x="95250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8100" y="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1" name="Freeform 20"/>
          <p:cNvSpPr/>
          <p:nvPr>
            <p:custDataLst>
              <p:tags r:id="rId19"/>
            </p:custDataLst>
          </p:nvPr>
        </p:nvSpPr>
        <p:spPr bwMode="auto">
          <a:xfrm>
            <a:off x="1633537" y="5099050"/>
            <a:ext cx="146051" cy="38101"/>
          </a:xfrm>
          <a:custGeom>
            <a:avLst/>
            <a:gdLst/>
            <a:ahLst/>
            <a:cxnLst/>
            <a:rect l="0" t="0" r="0" b="0"/>
            <a:pathLst>
              <a:path w="146051" h="38101">
                <a:moveTo>
                  <a:pt x="0" y="38100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reeform 21"/>
          <p:cNvSpPr/>
          <p:nvPr>
            <p:custDataLst>
              <p:tags r:id="rId20"/>
            </p:custDataLst>
          </p:nvPr>
        </p:nvSpPr>
        <p:spPr bwMode="auto">
          <a:xfrm>
            <a:off x="1633537" y="5041900"/>
            <a:ext cx="146051" cy="38101"/>
          </a:xfrm>
          <a:custGeom>
            <a:avLst/>
            <a:gdLst/>
            <a:ahLst/>
            <a:cxnLst/>
            <a:rect l="0" t="0" r="0" b="0"/>
            <a:pathLst>
              <a:path w="146051" h="38101">
                <a:moveTo>
                  <a:pt x="0" y="38100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 18"/>
          <p:cNvSpPr/>
          <p:nvPr>
            <p:custDataLst>
              <p:tags r:id="rId21"/>
            </p:custDataLst>
          </p:nvPr>
        </p:nvSpPr>
        <p:spPr bwMode="auto">
          <a:xfrm>
            <a:off x="7653337" y="5338762"/>
            <a:ext cx="38101" cy="146051"/>
          </a:xfrm>
          <a:custGeom>
            <a:avLst/>
            <a:gdLst/>
            <a:ahLst/>
            <a:cxnLst/>
            <a:rect l="0" t="0" r="0" b="0"/>
            <a:pathLst>
              <a:path w="38101" h="146051">
                <a:moveTo>
                  <a:pt x="38100" y="0"/>
                </a:moveTo>
                <a:lnTo>
                  <a:pt x="0" y="14605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eform 19"/>
          <p:cNvSpPr/>
          <p:nvPr>
            <p:custDataLst>
              <p:tags r:id="rId22"/>
            </p:custDataLst>
          </p:nvPr>
        </p:nvSpPr>
        <p:spPr bwMode="auto">
          <a:xfrm>
            <a:off x="7596187" y="5338762"/>
            <a:ext cx="38101" cy="146051"/>
          </a:xfrm>
          <a:custGeom>
            <a:avLst/>
            <a:gdLst/>
            <a:ahLst/>
            <a:cxnLst/>
            <a:rect l="0" t="0" r="0" b="0"/>
            <a:pathLst>
              <a:path w="38101" h="146051">
                <a:moveTo>
                  <a:pt x="38100" y="0"/>
                </a:moveTo>
                <a:lnTo>
                  <a:pt x="0" y="14605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704975" y="2119312"/>
            <a:ext cx="2614612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r>
              <a:rPr lang="en-US" sz="1200" dirty="0">
                <a:sym typeface="Arial" charset="0"/>
              </a:rPr>
              <a:t>Labor costs as % of total product costs</a:t>
            </a: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717925" y="5516562"/>
            <a:ext cx="24606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/>
            <a:r>
              <a:rPr lang="en-US" sz="1200" dirty="0">
                <a:sym typeface="Arial" charset="0"/>
              </a:rPr>
              <a:t>Logistics costs as % of product price</a:t>
            </a:r>
          </a:p>
        </p:txBody>
      </p:sp>
      <p:sp>
        <p:nvSpPr>
          <p:cNvPr id="25" name="Pie 24"/>
          <p:cNvSpPr/>
          <p:nvPr>
            <p:custDataLst>
              <p:tags r:id="rId25"/>
            </p:custDataLst>
          </p:nvPr>
        </p:nvSpPr>
        <p:spPr>
          <a:xfrm rot="10800000">
            <a:off x="1858962" y="2300287"/>
            <a:ext cx="12620625" cy="6173788"/>
          </a:xfrm>
          <a:prstGeom prst="pie">
            <a:avLst>
              <a:gd name="adj1" fmla="val 0"/>
              <a:gd name="adj2" fmla="val 5400070"/>
            </a:avLst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" name="Pie 25"/>
          <p:cNvSpPr/>
          <p:nvPr>
            <p:custDataLst>
              <p:tags r:id="rId26"/>
            </p:custDataLst>
          </p:nvPr>
        </p:nvSpPr>
        <p:spPr>
          <a:xfrm>
            <a:off x="-1219200" y="0"/>
            <a:ext cx="5862638" cy="4689476"/>
          </a:xfrm>
          <a:prstGeom prst="pie">
            <a:avLst>
              <a:gd name="adj1" fmla="val 0"/>
              <a:gd name="adj2" fmla="val 5400044"/>
            </a:avLst>
          </a:prstGeom>
          <a:solidFill>
            <a:srgbClr val="CEA09D">
              <a:alpha val="49000"/>
            </a:srgbClr>
          </a:solidFill>
          <a:ln w="9525">
            <a:solidFill>
              <a:srgbClr val="CEA09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" name="Pie 26"/>
          <p:cNvSpPr/>
          <p:nvPr>
            <p:custDataLst>
              <p:tags r:id="rId27"/>
            </p:custDataLst>
          </p:nvPr>
        </p:nvSpPr>
        <p:spPr>
          <a:xfrm rot="10800000">
            <a:off x="4403725" y="3130550"/>
            <a:ext cx="7523163" cy="4513262"/>
          </a:xfrm>
          <a:prstGeom prst="pie">
            <a:avLst>
              <a:gd name="adj1" fmla="val 0"/>
              <a:gd name="adj2" fmla="val 5400070"/>
            </a:avLst>
          </a:prstGeom>
          <a:solidFill>
            <a:srgbClr val="ACC6D0"/>
          </a:solidFill>
          <a:ln w="9525">
            <a:solidFill>
              <a:srgbClr val="ACC6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" name="Pie 27"/>
          <p:cNvSpPr/>
          <p:nvPr>
            <p:custDataLst>
              <p:tags r:id="rId28"/>
            </p:custDataLst>
          </p:nvPr>
        </p:nvSpPr>
        <p:spPr>
          <a:xfrm>
            <a:off x="52387" y="358775"/>
            <a:ext cx="3316288" cy="3967162"/>
          </a:xfrm>
          <a:prstGeom prst="pie">
            <a:avLst>
              <a:gd name="adj1" fmla="val 0"/>
              <a:gd name="adj2" fmla="val 5400044"/>
            </a:avLst>
          </a:prstGeom>
          <a:solidFill>
            <a:srgbClr val="CEA09D"/>
          </a:solidFill>
          <a:ln w="9525">
            <a:solidFill>
              <a:srgbClr val="CEA09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9" name="AutoShape 3"/>
          <p:cNvCxnSpPr>
            <a:cxnSpLocks noChangeShapeType="1"/>
          </p:cNvCxnSpPr>
          <p:nvPr>
            <p:custDataLst>
              <p:tags r:id="rId29"/>
            </p:custDataLst>
          </p:nvPr>
        </p:nvCxnSpPr>
        <p:spPr bwMode="gray">
          <a:xfrm rot="16200000" flipH="1">
            <a:off x="6024562" y="5359400"/>
            <a:ext cx="774700" cy="661988"/>
          </a:xfrm>
          <a:prstGeom prst="straightConnector1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</p:cxnSp>
      <p:graphicFrame>
        <p:nvGraphicFramePr>
          <p:cNvPr id="31" name="Object 3"/>
          <p:cNvGraphicFramePr>
            <a:graphicFrameLocks noChangeAspect="1"/>
          </p:cNvGraphicFramePr>
          <p:nvPr/>
        </p:nvGraphicFramePr>
        <p:xfrm>
          <a:off x="4876800" y="4643437"/>
          <a:ext cx="1381083" cy="914439"/>
        </p:xfrm>
        <a:graphic>
          <a:graphicData uri="http://schemas.openxmlformats.org/presentationml/2006/ole">
            <p:oleObj spid="_x0000_s145411" name="Chart" r:id="rId66" imgW="1381083" imgH="914439" progId="MSGraph.Chart.8">
              <p:embed followColorScheme="full"/>
            </p:oleObj>
          </a:graphicData>
        </a:graphic>
      </p:graphicFrame>
      <p:graphicFrame>
        <p:nvGraphicFramePr>
          <p:cNvPr id="32" name="Object 4"/>
          <p:cNvGraphicFramePr>
            <a:graphicFrameLocks noChangeAspect="1"/>
          </p:cNvGraphicFramePr>
          <p:nvPr/>
        </p:nvGraphicFramePr>
        <p:xfrm>
          <a:off x="6176962" y="4837112"/>
          <a:ext cx="1381083" cy="914439"/>
        </p:xfrm>
        <a:graphic>
          <a:graphicData uri="http://schemas.openxmlformats.org/presentationml/2006/ole">
            <p:oleObj spid="_x0000_s145412" name="Chart" r:id="rId67" imgW="1381083" imgH="914439" progId="MSGraph.Chart.8">
              <p:embed followColorScheme="full"/>
            </p:oleObj>
          </a:graphicData>
        </a:graphic>
      </p:graphicFrame>
      <p:graphicFrame>
        <p:nvGraphicFramePr>
          <p:cNvPr id="33" name="Object 5"/>
          <p:cNvGraphicFramePr>
            <a:graphicFrameLocks noChangeAspect="1"/>
          </p:cNvGraphicFramePr>
          <p:nvPr/>
        </p:nvGraphicFramePr>
        <p:xfrm>
          <a:off x="3708400" y="4672012"/>
          <a:ext cx="1381083" cy="914439"/>
        </p:xfrm>
        <a:graphic>
          <a:graphicData uri="http://schemas.openxmlformats.org/presentationml/2006/ole">
            <p:oleObj spid="_x0000_s145413" name="Chart" r:id="rId68" imgW="1381083" imgH="914439" progId="MSGraph.Chart.8">
              <p:embed followColorScheme="full"/>
            </p:oleObj>
          </a:graphicData>
        </a:graphic>
      </p:graphicFrame>
      <p:graphicFrame>
        <p:nvGraphicFramePr>
          <p:cNvPr id="34" name="Object 6"/>
          <p:cNvGraphicFramePr>
            <a:graphicFrameLocks noChangeAspect="1"/>
          </p:cNvGraphicFramePr>
          <p:nvPr/>
        </p:nvGraphicFramePr>
        <p:xfrm>
          <a:off x="3949700" y="4389437"/>
          <a:ext cx="1381083" cy="914439"/>
        </p:xfrm>
        <a:graphic>
          <a:graphicData uri="http://schemas.openxmlformats.org/presentationml/2006/ole">
            <p:oleObj spid="_x0000_s145414" name="Chart" r:id="rId69" imgW="1381083" imgH="914439" progId="MSGraph.Chart.8">
              <p:embed followColorScheme="full"/>
            </p:oleObj>
          </a:graphicData>
        </a:graphic>
      </p:graphicFrame>
      <p:graphicFrame>
        <p:nvGraphicFramePr>
          <p:cNvPr id="35" name="Object 7"/>
          <p:cNvGraphicFramePr>
            <a:graphicFrameLocks noChangeAspect="1"/>
          </p:cNvGraphicFramePr>
          <p:nvPr/>
        </p:nvGraphicFramePr>
        <p:xfrm>
          <a:off x="7480300" y="3278187"/>
          <a:ext cx="1381083" cy="914439"/>
        </p:xfrm>
        <a:graphic>
          <a:graphicData uri="http://schemas.openxmlformats.org/presentationml/2006/ole">
            <p:oleObj spid="_x0000_s145415" name="Chart" r:id="rId70" imgW="1381083" imgH="914439" progId="MSGraph.Chart.8">
              <p:embed followColorScheme="full"/>
            </p:oleObj>
          </a:graphicData>
        </a:graphic>
      </p:graphicFrame>
      <p:graphicFrame>
        <p:nvGraphicFramePr>
          <p:cNvPr id="36" name="Object 9"/>
          <p:cNvGraphicFramePr>
            <a:graphicFrameLocks noChangeAspect="1"/>
          </p:cNvGraphicFramePr>
          <p:nvPr/>
        </p:nvGraphicFramePr>
        <p:xfrm>
          <a:off x="7348537" y="3533775"/>
          <a:ext cx="1381083" cy="914439"/>
        </p:xfrm>
        <a:graphic>
          <a:graphicData uri="http://schemas.openxmlformats.org/presentationml/2006/ole">
            <p:oleObj spid="_x0000_s145416" name="Chart" r:id="rId71" imgW="1381083" imgH="914439" progId="MSGraph.Chart.8">
              <p:embed followColorScheme="full"/>
            </p:oleObj>
          </a:graphicData>
        </a:graphic>
      </p:graphicFrame>
      <p:graphicFrame>
        <p:nvGraphicFramePr>
          <p:cNvPr id="37" name="Object 9"/>
          <p:cNvGraphicFramePr>
            <a:graphicFrameLocks noChangeAspect="1"/>
          </p:cNvGraphicFramePr>
          <p:nvPr/>
        </p:nvGraphicFramePr>
        <p:xfrm>
          <a:off x="4978400" y="4017962"/>
          <a:ext cx="1381083" cy="914439"/>
        </p:xfrm>
        <a:graphic>
          <a:graphicData uri="http://schemas.openxmlformats.org/presentationml/2006/ole">
            <p:oleObj spid="_x0000_s145417" name="Chart" r:id="rId72" imgW="1381083" imgH="914439" progId="MSGraph.Chart.8">
              <p:embed followColorScheme="full"/>
            </p:oleObj>
          </a:graphicData>
        </a:graphic>
      </p:graphicFrame>
      <p:graphicFrame>
        <p:nvGraphicFramePr>
          <p:cNvPr id="38" name="Object 13"/>
          <p:cNvGraphicFramePr>
            <a:graphicFrameLocks noChangeAspect="1"/>
          </p:cNvGraphicFramePr>
          <p:nvPr/>
        </p:nvGraphicFramePr>
        <p:xfrm>
          <a:off x="2184400" y="3313112"/>
          <a:ext cx="1381083" cy="914439"/>
        </p:xfrm>
        <a:graphic>
          <a:graphicData uri="http://schemas.openxmlformats.org/presentationml/2006/ole">
            <p:oleObj spid="_x0000_s145418" name="Chart" r:id="rId73" imgW="1381083" imgH="914439" progId="MSGraph.Chart.8">
              <p:embed followColorScheme="full"/>
            </p:oleObj>
          </a:graphicData>
        </a:graphic>
      </p:graphicFrame>
      <p:graphicFrame>
        <p:nvGraphicFramePr>
          <p:cNvPr id="39" name="Object 14"/>
          <p:cNvGraphicFramePr>
            <a:graphicFrameLocks noChangeAspect="1"/>
          </p:cNvGraphicFramePr>
          <p:nvPr/>
        </p:nvGraphicFramePr>
        <p:xfrm>
          <a:off x="2493962" y="3392487"/>
          <a:ext cx="1381083" cy="914439"/>
        </p:xfrm>
        <a:graphic>
          <a:graphicData uri="http://schemas.openxmlformats.org/presentationml/2006/ole">
            <p:oleObj spid="_x0000_s145419" name="Chart" r:id="rId74" imgW="1381083" imgH="914439" progId="MSGraph.Chart.8">
              <p:embed followColorScheme="full"/>
            </p:oleObj>
          </a:graphicData>
        </a:graphic>
      </p:graphicFrame>
      <p:graphicFrame>
        <p:nvGraphicFramePr>
          <p:cNvPr id="40" name="Object 18"/>
          <p:cNvGraphicFramePr>
            <a:graphicFrameLocks noChangeAspect="1"/>
          </p:cNvGraphicFramePr>
          <p:nvPr/>
        </p:nvGraphicFramePr>
        <p:xfrm>
          <a:off x="2157412" y="3768725"/>
          <a:ext cx="1381083" cy="914439"/>
        </p:xfrm>
        <a:graphic>
          <a:graphicData uri="http://schemas.openxmlformats.org/presentationml/2006/ole">
            <p:oleObj spid="_x0000_s145420" name="Chart" r:id="rId75" imgW="1381083" imgH="914439" progId="MSGraph.Chart.8">
              <p:embed followColorScheme="full"/>
            </p:oleObj>
          </a:graphicData>
        </a:graphic>
      </p:graphicFrame>
      <p:sp>
        <p:nvSpPr>
          <p:cNvPr id="41" name="TextBox 316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6845300" y="5111750"/>
            <a:ext cx="1135063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 dirty="0"/>
              <a:t>Petroleum and coal (3%)</a:t>
            </a:r>
          </a:p>
        </p:txBody>
      </p:sp>
      <p:sp>
        <p:nvSpPr>
          <p:cNvPr id="42" name="TextBox 317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5511800" y="4660900"/>
            <a:ext cx="11938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 dirty="0"/>
              <a:t>Food and beverages (2%)</a:t>
            </a:r>
          </a:p>
        </p:txBody>
      </p:sp>
      <p:sp>
        <p:nvSpPr>
          <p:cNvPr id="43" name="TextBox 318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5435600" y="4184650"/>
            <a:ext cx="94615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 dirty="0"/>
              <a:t>Paper products (3%)</a:t>
            </a:r>
          </a:p>
        </p:txBody>
      </p:sp>
      <p:sp>
        <p:nvSpPr>
          <p:cNvPr id="44" name="TextBox 321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6464300" y="3683000"/>
            <a:ext cx="9398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800" dirty="0"/>
              <a:t>Wood products (4%)</a:t>
            </a:r>
          </a:p>
        </p:txBody>
      </p:sp>
      <p:sp>
        <p:nvSpPr>
          <p:cNvPr id="45" name="TextBox 322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6045200" y="3416300"/>
            <a:ext cx="146685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800" dirty="0"/>
              <a:t>Glass, stone, and minerals (8%)</a:t>
            </a:r>
          </a:p>
        </p:txBody>
      </p:sp>
      <p:sp>
        <p:nvSpPr>
          <p:cNvPr id="46" name="TextBox 324"/>
          <p:cNvSpPr txBox="1"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3027362" y="4997450"/>
            <a:ext cx="725487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800" dirty="0"/>
              <a:t>Chemicals (4%)</a:t>
            </a:r>
          </a:p>
        </p:txBody>
      </p:sp>
      <p:sp>
        <p:nvSpPr>
          <p:cNvPr id="47" name="TextBox 330"/>
          <p:cNvSpPr txBox="1"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1700212" y="3622675"/>
            <a:ext cx="63478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800" dirty="0"/>
              <a:t>Textiles </a:t>
            </a:r>
            <a:r>
              <a:rPr lang="en-US" sz="800" dirty="0" smtClean="0"/>
              <a:t>and</a:t>
            </a:r>
            <a:br>
              <a:rPr lang="en-US" sz="800" dirty="0" smtClean="0"/>
            </a:br>
            <a:r>
              <a:rPr lang="en-US" sz="800" dirty="0" smtClean="0"/>
              <a:t> </a:t>
            </a:r>
            <a:r>
              <a:rPr lang="en-US" sz="800" dirty="0"/>
              <a:t>fabrics (22%)</a:t>
            </a:r>
          </a:p>
        </p:txBody>
      </p:sp>
      <p:sp>
        <p:nvSpPr>
          <p:cNvPr id="48" name="TextBox 331"/>
          <p:cNvSpPr txBox="1"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1778000" y="3152775"/>
            <a:ext cx="106920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800" dirty="0"/>
              <a:t>Apparel, </a:t>
            </a:r>
            <a:r>
              <a:rPr lang="en-US" sz="800" dirty="0" smtClean="0"/>
              <a:t>footwear, </a:t>
            </a:r>
            <a:r>
              <a:rPr lang="en-US" sz="800" dirty="0"/>
              <a:t>and </a:t>
            </a:r>
            <a:br>
              <a:rPr lang="en-US" sz="800" dirty="0"/>
            </a:br>
            <a:r>
              <a:rPr lang="en-US" sz="800" dirty="0"/>
              <a:t>accessories (</a:t>
            </a:r>
            <a:r>
              <a:rPr lang="en-US" sz="800" dirty="0" smtClean="0"/>
              <a:t>69%)</a:t>
            </a:r>
            <a:endParaRPr lang="en-US" sz="800" dirty="0"/>
          </a:p>
        </p:txBody>
      </p:sp>
      <p:sp>
        <p:nvSpPr>
          <p:cNvPr id="49" name="TextBox 332"/>
          <p:cNvSpPr txBox="1"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2944812" y="3573462"/>
            <a:ext cx="1808187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 dirty="0"/>
              <a:t>Misc. manufactured commodities </a:t>
            </a:r>
            <a:r>
              <a:rPr lang="en-US" sz="800" dirty="0" smtClean="0"/>
              <a:t>(31%)</a:t>
            </a:r>
            <a:endParaRPr lang="en-US" sz="800" dirty="0"/>
          </a:p>
        </p:txBody>
      </p:sp>
      <p:sp>
        <p:nvSpPr>
          <p:cNvPr id="50" name="TextBox 114"/>
          <p:cNvSpPr txBox="1"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4403725" y="4546600"/>
            <a:ext cx="15621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 dirty="0"/>
              <a:t>Primary metal manufacturing (8%)</a:t>
            </a:r>
          </a:p>
        </p:txBody>
      </p:sp>
      <p:cxnSp>
        <p:nvCxnSpPr>
          <p:cNvPr id="51" name="AutoShape 3"/>
          <p:cNvCxnSpPr>
            <a:cxnSpLocks noChangeShapeType="1"/>
            <a:stCxn id="78" idx="2"/>
          </p:cNvCxnSpPr>
          <p:nvPr>
            <p:custDataLst>
              <p:tags r:id="rId40"/>
            </p:custDataLst>
          </p:nvPr>
        </p:nvCxnSpPr>
        <p:spPr bwMode="gray">
          <a:xfrm flipH="1">
            <a:off x="4466431" y="1974292"/>
            <a:ext cx="1012032" cy="996714"/>
          </a:xfrm>
          <a:prstGeom prst="straightConnector1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</p:cxnSp>
      <p:sp>
        <p:nvSpPr>
          <p:cNvPr id="52" name="BCG_FootNote_Box"/>
          <p:cNvSpPr txBox="1"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1252537" y="5154612"/>
            <a:ext cx="309562" cy="2000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000" dirty="0">
                <a:solidFill>
                  <a:srgbClr val="000000"/>
                </a:solidFill>
              </a:rPr>
              <a:t>Low</a:t>
            </a:r>
          </a:p>
        </p:txBody>
      </p:sp>
      <p:sp>
        <p:nvSpPr>
          <p:cNvPr id="53" name="BCG_FootNote_Box"/>
          <p:cNvSpPr txBox="1"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1252537" y="2320925"/>
            <a:ext cx="309562" cy="2000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000" dirty="0">
                <a:solidFill>
                  <a:srgbClr val="000000"/>
                </a:solidFill>
              </a:rPr>
              <a:t>High</a:t>
            </a:r>
          </a:p>
        </p:txBody>
      </p:sp>
      <p:sp>
        <p:nvSpPr>
          <p:cNvPr id="54" name="BCG_FootNote_Box"/>
          <p:cNvSpPr txBox="1"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1720850" y="5486400"/>
            <a:ext cx="309563" cy="2000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000" dirty="0">
                <a:solidFill>
                  <a:srgbClr val="000000"/>
                </a:solidFill>
              </a:rPr>
              <a:t>Low</a:t>
            </a:r>
          </a:p>
        </p:txBody>
      </p:sp>
      <p:sp>
        <p:nvSpPr>
          <p:cNvPr id="55" name="BCG_FootNote_Box"/>
          <p:cNvSpPr txBox="1"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7824787" y="5486400"/>
            <a:ext cx="311150" cy="2000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000" dirty="0">
                <a:solidFill>
                  <a:srgbClr val="000000"/>
                </a:solidFill>
              </a:rPr>
              <a:t>High</a:t>
            </a:r>
          </a:p>
        </p:txBody>
      </p:sp>
      <p:cxnSp>
        <p:nvCxnSpPr>
          <p:cNvPr id="56" name="AutoShape 3"/>
          <p:cNvCxnSpPr>
            <a:cxnSpLocks noChangeShapeType="1"/>
            <a:stCxn id="77" idx="2"/>
          </p:cNvCxnSpPr>
          <p:nvPr>
            <p:custDataLst>
              <p:tags r:id="rId45"/>
            </p:custDataLst>
          </p:nvPr>
        </p:nvCxnSpPr>
        <p:spPr bwMode="gray">
          <a:xfrm>
            <a:off x="2614982" y="1831768"/>
            <a:ext cx="389362" cy="696326"/>
          </a:xfrm>
          <a:prstGeom prst="straightConnector1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</p:cxnSp>
      <p:sp>
        <p:nvSpPr>
          <p:cNvPr id="57" name="Rectangle 56"/>
          <p:cNvSpPr/>
          <p:nvPr>
            <p:custDataLst>
              <p:tags r:id="rId46"/>
            </p:custDataLst>
          </p:nvPr>
        </p:nvSpPr>
        <p:spPr>
          <a:xfrm>
            <a:off x="1695450" y="2320924"/>
            <a:ext cx="6496050" cy="3203575"/>
          </a:xfrm>
          <a:prstGeom prst="rect">
            <a:avLst/>
          </a:prstGeom>
          <a:solidFill>
            <a:schemeClr val="accent1">
              <a:alpha val="71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58" name="Freeform 57"/>
          <p:cNvSpPr/>
          <p:nvPr>
            <p:custDataLst>
              <p:tags r:id="rId47"/>
            </p:custDataLst>
          </p:nvPr>
        </p:nvSpPr>
        <p:spPr>
          <a:xfrm>
            <a:off x="2019300" y="2840037"/>
            <a:ext cx="2558076" cy="1836280"/>
          </a:xfrm>
          <a:custGeom>
            <a:avLst/>
            <a:gdLst>
              <a:gd name="connsiteX0" fmla="*/ 2558076 w 2558076"/>
              <a:gd name="connsiteY0" fmla="*/ 0 h 1834410"/>
              <a:gd name="connsiteX1" fmla="*/ 1868069 w 2558076"/>
              <a:gd name="connsiteY1" fmla="*/ 263661 h 1834410"/>
              <a:gd name="connsiteX2" fmla="*/ 1396844 w 2558076"/>
              <a:gd name="connsiteY2" fmla="*/ 516103 h 1834410"/>
              <a:gd name="connsiteX3" fmla="*/ 936839 w 2558076"/>
              <a:gd name="connsiteY3" fmla="*/ 790984 h 1834410"/>
              <a:gd name="connsiteX4" fmla="*/ 560982 w 2558076"/>
              <a:gd name="connsiteY4" fmla="*/ 1133183 h 1834410"/>
              <a:gd name="connsiteX5" fmla="*/ 280491 w 2558076"/>
              <a:gd name="connsiteY5" fmla="*/ 1396844 h 1834410"/>
              <a:gd name="connsiteX6" fmla="*/ 0 w 2558076"/>
              <a:gd name="connsiteY6" fmla="*/ 1834410 h 1834410"/>
              <a:gd name="connsiteX7" fmla="*/ 510493 w 2558076"/>
              <a:gd name="connsiteY7" fmla="*/ 1755872 h 1834410"/>
              <a:gd name="connsiteX8" fmla="*/ 1065865 w 2558076"/>
              <a:gd name="connsiteY8" fmla="*/ 1587578 h 1834410"/>
              <a:gd name="connsiteX9" fmla="*/ 1492211 w 2558076"/>
              <a:gd name="connsiteY9" fmla="*/ 1357575 h 1834410"/>
              <a:gd name="connsiteX10" fmla="*/ 1896118 w 2558076"/>
              <a:gd name="connsiteY10" fmla="*/ 1054645 h 1834410"/>
              <a:gd name="connsiteX11" fmla="*/ 2227097 w 2558076"/>
              <a:gd name="connsiteY11" fmla="*/ 701227 h 1834410"/>
              <a:gd name="connsiteX12" fmla="*/ 2468319 w 2558076"/>
              <a:gd name="connsiteY12" fmla="*/ 274881 h 1834410"/>
              <a:gd name="connsiteX13" fmla="*/ 2558076 w 2558076"/>
              <a:gd name="connsiteY13" fmla="*/ 0 h 1834410"/>
              <a:gd name="connsiteX0" fmla="*/ 2558076 w 2558076"/>
              <a:gd name="connsiteY0" fmla="*/ 0 h 1834410"/>
              <a:gd name="connsiteX1" fmla="*/ 1868069 w 2558076"/>
              <a:gd name="connsiteY1" fmla="*/ 263661 h 1834410"/>
              <a:gd name="connsiteX2" fmla="*/ 1396844 w 2558076"/>
              <a:gd name="connsiteY2" fmla="*/ 516103 h 1834410"/>
              <a:gd name="connsiteX3" fmla="*/ 936839 w 2558076"/>
              <a:gd name="connsiteY3" fmla="*/ 790984 h 1834410"/>
              <a:gd name="connsiteX4" fmla="*/ 560982 w 2558076"/>
              <a:gd name="connsiteY4" fmla="*/ 1133183 h 1834410"/>
              <a:gd name="connsiteX5" fmla="*/ 280491 w 2558076"/>
              <a:gd name="connsiteY5" fmla="*/ 1396844 h 1834410"/>
              <a:gd name="connsiteX6" fmla="*/ 0 w 2558076"/>
              <a:gd name="connsiteY6" fmla="*/ 1834410 h 1834410"/>
              <a:gd name="connsiteX7" fmla="*/ 510493 w 2558076"/>
              <a:gd name="connsiteY7" fmla="*/ 1755872 h 1834410"/>
              <a:gd name="connsiteX8" fmla="*/ 1065865 w 2558076"/>
              <a:gd name="connsiteY8" fmla="*/ 1587578 h 1834410"/>
              <a:gd name="connsiteX9" fmla="*/ 1492211 w 2558076"/>
              <a:gd name="connsiteY9" fmla="*/ 1357575 h 1834410"/>
              <a:gd name="connsiteX10" fmla="*/ 1896118 w 2558076"/>
              <a:gd name="connsiteY10" fmla="*/ 1054645 h 1834410"/>
              <a:gd name="connsiteX11" fmla="*/ 2227097 w 2558076"/>
              <a:gd name="connsiteY11" fmla="*/ 701227 h 1834410"/>
              <a:gd name="connsiteX12" fmla="*/ 2468319 w 2558076"/>
              <a:gd name="connsiteY12" fmla="*/ 274881 h 1834410"/>
              <a:gd name="connsiteX13" fmla="*/ 2558076 w 2558076"/>
              <a:gd name="connsiteY13" fmla="*/ 0 h 1834410"/>
              <a:gd name="connsiteX0" fmla="*/ 2558076 w 2558076"/>
              <a:gd name="connsiteY0" fmla="*/ 0 h 1834410"/>
              <a:gd name="connsiteX1" fmla="*/ 1868069 w 2558076"/>
              <a:gd name="connsiteY1" fmla="*/ 263661 h 1834410"/>
              <a:gd name="connsiteX2" fmla="*/ 1396844 w 2558076"/>
              <a:gd name="connsiteY2" fmla="*/ 516103 h 1834410"/>
              <a:gd name="connsiteX3" fmla="*/ 936839 w 2558076"/>
              <a:gd name="connsiteY3" fmla="*/ 790984 h 1834410"/>
              <a:gd name="connsiteX4" fmla="*/ 560982 w 2558076"/>
              <a:gd name="connsiteY4" fmla="*/ 1133183 h 1834410"/>
              <a:gd name="connsiteX5" fmla="*/ 280491 w 2558076"/>
              <a:gd name="connsiteY5" fmla="*/ 1396844 h 1834410"/>
              <a:gd name="connsiteX6" fmla="*/ 0 w 2558076"/>
              <a:gd name="connsiteY6" fmla="*/ 1834410 h 1834410"/>
              <a:gd name="connsiteX7" fmla="*/ 510493 w 2558076"/>
              <a:gd name="connsiteY7" fmla="*/ 1755872 h 1834410"/>
              <a:gd name="connsiteX8" fmla="*/ 1065865 w 2558076"/>
              <a:gd name="connsiteY8" fmla="*/ 1587578 h 1834410"/>
              <a:gd name="connsiteX9" fmla="*/ 1492211 w 2558076"/>
              <a:gd name="connsiteY9" fmla="*/ 1357575 h 1834410"/>
              <a:gd name="connsiteX10" fmla="*/ 1896118 w 2558076"/>
              <a:gd name="connsiteY10" fmla="*/ 1054645 h 1834410"/>
              <a:gd name="connsiteX11" fmla="*/ 2227097 w 2558076"/>
              <a:gd name="connsiteY11" fmla="*/ 701227 h 1834410"/>
              <a:gd name="connsiteX12" fmla="*/ 2468319 w 2558076"/>
              <a:gd name="connsiteY12" fmla="*/ 274881 h 1834410"/>
              <a:gd name="connsiteX13" fmla="*/ 2558076 w 2558076"/>
              <a:gd name="connsiteY13" fmla="*/ 0 h 1834410"/>
              <a:gd name="connsiteX0" fmla="*/ 2558076 w 2558076"/>
              <a:gd name="connsiteY0" fmla="*/ 1870 h 1836280"/>
              <a:gd name="connsiteX1" fmla="*/ 1868069 w 2558076"/>
              <a:gd name="connsiteY1" fmla="*/ 265531 h 1836280"/>
              <a:gd name="connsiteX2" fmla="*/ 1396844 w 2558076"/>
              <a:gd name="connsiteY2" fmla="*/ 517973 h 1836280"/>
              <a:gd name="connsiteX3" fmla="*/ 936839 w 2558076"/>
              <a:gd name="connsiteY3" fmla="*/ 792854 h 1836280"/>
              <a:gd name="connsiteX4" fmla="*/ 560982 w 2558076"/>
              <a:gd name="connsiteY4" fmla="*/ 1135053 h 1836280"/>
              <a:gd name="connsiteX5" fmla="*/ 280491 w 2558076"/>
              <a:gd name="connsiteY5" fmla="*/ 1398714 h 1836280"/>
              <a:gd name="connsiteX6" fmla="*/ 0 w 2558076"/>
              <a:gd name="connsiteY6" fmla="*/ 1836280 h 1836280"/>
              <a:gd name="connsiteX7" fmla="*/ 510493 w 2558076"/>
              <a:gd name="connsiteY7" fmla="*/ 1757742 h 1836280"/>
              <a:gd name="connsiteX8" fmla="*/ 1065865 w 2558076"/>
              <a:gd name="connsiteY8" fmla="*/ 1589448 h 1836280"/>
              <a:gd name="connsiteX9" fmla="*/ 1492211 w 2558076"/>
              <a:gd name="connsiteY9" fmla="*/ 1359445 h 1836280"/>
              <a:gd name="connsiteX10" fmla="*/ 1896118 w 2558076"/>
              <a:gd name="connsiteY10" fmla="*/ 1056515 h 1836280"/>
              <a:gd name="connsiteX11" fmla="*/ 2227097 w 2558076"/>
              <a:gd name="connsiteY11" fmla="*/ 703097 h 1836280"/>
              <a:gd name="connsiteX12" fmla="*/ 2468319 w 2558076"/>
              <a:gd name="connsiteY12" fmla="*/ 276751 h 1836280"/>
              <a:gd name="connsiteX13" fmla="*/ 2558076 w 2558076"/>
              <a:gd name="connsiteY13" fmla="*/ 1870 h 1836280"/>
              <a:gd name="connsiteX0" fmla="*/ 2558076 w 2558076"/>
              <a:gd name="connsiteY0" fmla="*/ 1870 h 1836280"/>
              <a:gd name="connsiteX1" fmla="*/ 1868069 w 2558076"/>
              <a:gd name="connsiteY1" fmla="*/ 265531 h 1836280"/>
              <a:gd name="connsiteX2" fmla="*/ 1396844 w 2558076"/>
              <a:gd name="connsiteY2" fmla="*/ 517973 h 1836280"/>
              <a:gd name="connsiteX3" fmla="*/ 936839 w 2558076"/>
              <a:gd name="connsiteY3" fmla="*/ 792854 h 1836280"/>
              <a:gd name="connsiteX4" fmla="*/ 560982 w 2558076"/>
              <a:gd name="connsiteY4" fmla="*/ 1135053 h 1836280"/>
              <a:gd name="connsiteX5" fmla="*/ 280491 w 2558076"/>
              <a:gd name="connsiteY5" fmla="*/ 1398714 h 1836280"/>
              <a:gd name="connsiteX6" fmla="*/ 0 w 2558076"/>
              <a:gd name="connsiteY6" fmla="*/ 1836280 h 1836280"/>
              <a:gd name="connsiteX7" fmla="*/ 510493 w 2558076"/>
              <a:gd name="connsiteY7" fmla="*/ 1757742 h 1836280"/>
              <a:gd name="connsiteX8" fmla="*/ 1065865 w 2558076"/>
              <a:gd name="connsiteY8" fmla="*/ 1589448 h 1836280"/>
              <a:gd name="connsiteX9" fmla="*/ 1492211 w 2558076"/>
              <a:gd name="connsiteY9" fmla="*/ 1359445 h 1836280"/>
              <a:gd name="connsiteX10" fmla="*/ 1896118 w 2558076"/>
              <a:gd name="connsiteY10" fmla="*/ 1056515 h 1836280"/>
              <a:gd name="connsiteX11" fmla="*/ 2227097 w 2558076"/>
              <a:gd name="connsiteY11" fmla="*/ 703097 h 1836280"/>
              <a:gd name="connsiteX12" fmla="*/ 2468319 w 2558076"/>
              <a:gd name="connsiteY12" fmla="*/ 276751 h 1836280"/>
              <a:gd name="connsiteX13" fmla="*/ 2558076 w 2558076"/>
              <a:gd name="connsiteY13" fmla="*/ 1870 h 1836280"/>
              <a:gd name="connsiteX0" fmla="*/ 2558076 w 2558076"/>
              <a:gd name="connsiteY0" fmla="*/ 1870 h 1836280"/>
              <a:gd name="connsiteX1" fmla="*/ 1868069 w 2558076"/>
              <a:gd name="connsiteY1" fmla="*/ 265531 h 1836280"/>
              <a:gd name="connsiteX2" fmla="*/ 1396844 w 2558076"/>
              <a:gd name="connsiteY2" fmla="*/ 517973 h 1836280"/>
              <a:gd name="connsiteX3" fmla="*/ 936839 w 2558076"/>
              <a:gd name="connsiteY3" fmla="*/ 792854 h 1836280"/>
              <a:gd name="connsiteX4" fmla="*/ 560982 w 2558076"/>
              <a:gd name="connsiteY4" fmla="*/ 1135053 h 1836280"/>
              <a:gd name="connsiteX5" fmla="*/ 280491 w 2558076"/>
              <a:gd name="connsiteY5" fmla="*/ 1398714 h 1836280"/>
              <a:gd name="connsiteX6" fmla="*/ 0 w 2558076"/>
              <a:gd name="connsiteY6" fmla="*/ 1836280 h 1836280"/>
              <a:gd name="connsiteX7" fmla="*/ 510493 w 2558076"/>
              <a:gd name="connsiteY7" fmla="*/ 1757742 h 1836280"/>
              <a:gd name="connsiteX8" fmla="*/ 1065865 w 2558076"/>
              <a:gd name="connsiteY8" fmla="*/ 1589448 h 1836280"/>
              <a:gd name="connsiteX9" fmla="*/ 1492211 w 2558076"/>
              <a:gd name="connsiteY9" fmla="*/ 1359445 h 1836280"/>
              <a:gd name="connsiteX10" fmla="*/ 1896118 w 2558076"/>
              <a:gd name="connsiteY10" fmla="*/ 1056515 h 1836280"/>
              <a:gd name="connsiteX11" fmla="*/ 2227097 w 2558076"/>
              <a:gd name="connsiteY11" fmla="*/ 703097 h 1836280"/>
              <a:gd name="connsiteX12" fmla="*/ 2468319 w 2558076"/>
              <a:gd name="connsiteY12" fmla="*/ 276751 h 1836280"/>
              <a:gd name="connsiteX13" fmla="*/ 2558076 w 2558076"/>
              <a:gd name="connsiteY13" fmla="*/ 1870 h 1836280"/>
              <a:gd name="connsiteX0" fmla="*/ 2558076 w 2558076"/>
              <a:gd name="connsiteY0" fmla="*/ 1870 h 1836280"/>
              <a:gd name="connsiteX1" fmla="*/ 1868069 w 2558076"/>
              <a:gd name="connsiteY1" fmla="*/ 265531 h 1836280"/>
              <a:gd name="connsiteX2" fmla="*/ 1396844 w 2558076"/>
              <a:gd name="connsiteY2" fmla="*/ 517973 h 1836280"/>
              <a:gd name="connsiteX3" fmla="*/ 936839 w 2558076"/>
              <a:gd name="connsiteY3" fmla="*/ 792854 h 1836280"/>
              <a:gd name="connsiteX4" fmla="*/ 560982 w 2558076"/>
              <a:gd name="connsiteY4" fmla="*/ 1135053 h 1836280"/>
              <a:gd name="connsiteX5" fmla="*/ 280491 w 2558076"/>
              <a:gd name="connsiteY5" fmla="*/ 1398714 h 1836280"/>
              <a:gd name="connsiteX6" fmla="*/ 0 w 2558076"/>
              <a:gd name="connsiteY6" fmla="*/ 1836280 h 1836280"/>
              <a:gd name="connsiteX7" fmla="*/ 510493 w 2558076"/>
              <a:gd name="connsiteY7" fmla="*/ 1757742 h 1836280"/>
              <a:gd name="connsiteX8" fmla="*/ 1065865 w 2558076"/>
              <a:gd name="connsiteY8" fmla="*/ 1589448 h 1836280"/>
              <a:gd name="connsiteX9" fmla="*/ 1492211 w 2558076"/>
              <a:gd name="connsiteY9" fmla="*/ 1359445 h 1836280"/>
              <a:gd name="connsiteX10" fmla="*/ 1896118 w 2558076"/>
              <a:gd name="connsiteY10" fmla="*/ 1056515 h 1836280"/>
              <a:gd name="connsiteX11" fmla="*/ 2227097 w 2558076"/>
              <a:gd name="connsiteY11" fmla="*/ 703097 h 1836280"/>
              <a:gd name="connsiteX12" fmla="*/ 2468319 w 2558076"/>
              <a:gd name="connsiteY12" fmla="*/ 276751 h 1836280"/>
              <a:gd name="connsiteX13" fmla="*/ 2558076 w 2558076"/>
              <a:gd name="connsiteY13" fmla="*/ 1870 h 1836280"/>
              <a:gd name="connsiteX0" fmla="*/ 2558076 w 2558076"/>
              <a:gd name="connsiteY0" fmla="*/ 1870 h 1836280"/>
              <a:gd name="connsiteX1" fmla="*/ 1868069 w 2558076"/>
              <a:gd name="connsiteY1" fmla="*/ 265531 h 1836280"/>
              <a:gd name="connsiteX2" fmla="*/ 1396844 w 2558076"/>
              <a:gd name="connsiteY2" fmla="*/ 517973 h 1836280"/>
              <a:gd name="connsiteX3" fmla="*/ 936839 w 2558076"/>
              <a:gd name="connsiteY3" fmla="*/ 792854 h 1836280"/>
              <a:gd name="connsiteX4" fmla="*/ 560982 w 2558076"/>
              <a:gd name="connsiteY4" fmla="*/ 1135053 h 1836280"/>
              <a:gd name="connsiteX5" fmla="*/ 280491 w 2558076"/>
              <a:gd name="connsiteY5" fmla="*/ 1398714 h 1836280"/>
              <a:gd name="connsiteX6" fmla="*/ 0 w 2558076"/>
              <a:gd name="connsiteY6" fmla="*/ 1836280 h 1836280"/>
              <a:gd name="connsiteX7" fmla="*/ 510493 w 2558076"/>
              <a:gd name="connsiteY7" fmla="*/ 1757742 h 1836280"/>
              <a:gd name="connsiteX8" fmla="*/ 1065865 w 2558076"/>
              <a:gd name="connsiteY8" fmla="*/ 1589448 h 1836280"/>
              <a:gd name="connsiteX9" fmla="*/ 1492211 w 2558076"/>
              <a:gd name="connsiteY9" fmla="*/ 1359445 h 1836280"/>
              <a:gd name="connsiteX10" fmla="*/ 1896118 w 2558076"/>
              <a:gd name="connsiteY10" fmla="*/ 1056515 h 1836280"/>
              <a:gd name="connsiteX11" fmla="*/ 2227097 w 2558076"/>
              <a:gd name="connsiteY11" fmla="*/ 703097 h 1836280"/>
              <a:gd name="connsiteX12" fmla="*/ 2468319 w 2558076"/>
              <a:gd name="connsiteY12" fmla="*/ 276751 h 1836280"/>
              <a:gd name="connsiteX13" fmla="*/ 2558076 w 2558076"/>
              <a:gd name="connsiteY13" fmla="*/ 1870 h 1836280"/>
              <a:gd name="connsiteX0" fmla="*/ 2558076 w 2558076"/>
              <a:gd name="connsiteY0" fmla="*/ 1870 h 1836280"/>
              <a:gd name="connsiteX1" fmla="*/ 1868069 w 2558076"/>
              <a:gd name="connsiteY1" fmla="*/ 265531 h 1836280"/>
              <a:gd name="connsiteX2" fmla="*/ 1396844 w 2558076"/>
              <a:gd name="connsiteY2" fmla="*/ 517973 h 1836280"/>
              <a:gd name="connsiteX3" fmla="*/ 936839 w 2558076"/>
              <a:gd name="connsiteY3" fmla="*/ 792854 h 1836280"/>
              <a:gd name="connsiteX4" fmla="*/ 560982 w 2558076"/>
              <a:gd name="connsiteY4" fmla="*/ 1135053 h 1836280"/>
              <a:gd name="connsiteX5" fmla="*/ 280491 w 2558076"/>
              <a:gd name="connsiteY5" fmla="*/ 1398714 h 1836280"/>
              <a:gd name="connsiteX6" fmla="*/ 0 w 2558076"/>
              <a:gd name="connsiteY6" fmla="*/ 1836280 h 1836280"/>
              <a:gd name="connsiteX7" fmla="*/ 510493 w 2558076"/>
              <a:gd name="connsiteY7" fmla="*/ 1757742 h 1836280"/>
              <a:gd name="connsiteX8" fmla="*/ 1065865 w 2558076"/>
              <a:gd name="connsiteY8" fmla="*/ 1589448 h 1836280"/>
              <a:gd name="connsiteX9" fmla="*/ 1492211 w 2558076"/>
              <a:gd name="connsiteY9" fmla="*/ 1359445 h 1836280"/>
              <a:gd name="connsiteX10" fmla="*/ 1896118 w 2558076"/>
              <a:gd name="connsiteY10" fmla="*/ 1056515 h 1836280"/>
              <a:gd name="connsiteX11" fmla="*/ 2227097 w 2558076"/>
              <a:gd name="connsiteY11" fmla="*/ 703097 h 1836280"/>
              <a:gd name="connsiteX12" fmla="*/ 2468319 w 2558076"/>
              <a:gd name="connsiteY12" fmla="*/ 276751 h 1836280"/>
              <a:gd name="connsiteX13" fmla="*/ 2558076 w 2558076"/>
              <a:gd name="connsiteY13" fmla="*/ 1870 h 1836280"/>
              <a:gd name="connsiteX0" fmla="*/ 2558076 w 2558076"/>
              <a:gd name="connsiteY0" fmla="*/ 1870 h 1836280"/>
              <a:gd name="connsiteX1" fmla="*/ 1868069 w 2558076"/>
              <a:gd name="connsiteY1" fmla="*/ 265531 h 1836280"/>
              <a:gd name="connsiteX2" fmla="*/ 1396844 w 2558076"/>
              <a:gd name="connsiteY2" fmla="*/ 517973 h 1836280"/>
              <a:gd name="connsiteX3" fmla="*/ 936839 w 2558076"/>
              <a:gd name="connsiteY3" fmla="*/ 792854 h 1836280"/>
              <a:gd name="connsiteX4" fmla="*/ 560982 w 2558076"/>
              <a:gd name="connsiteY4" fmla="*/ 1135053 h 1836280"/>
              <a:gd name="connsiteX5" fmla="*/ 280491 w 2558076"/>
              <a:gd name="connsiteY5" fmla="*/ 1398714 h 1836280"/>
              <a:gd name="connsiteX6" fmla="*/ 0 w 2558076"/>
              <a:gd name="connsiteY6" fmla="*/ 1836280 h 1836280"/>
              <a:gd name="connsiteX7" fmla="*/ 510493 w 2558076"/>
              <a:gd name="connsiteY7" fmla="*/ 1757742 h 1836280"/>
              <a:gd name="connsiteX8" fmla="*/ 1065865 w 2558076"/>
              <a:gd name="connsiteY8" fmla="*/ 1589448 h 1836280"/>
              <a:gd name="connsiteX9" fmla="*/ 1492211 w 2558076"/>
              <a:gd name="connsiteY9" fmla="*/ 1359445 h 1836280"/>
              <a:gd name="connsiteX10" fmla="*/ 1896118 w 2558076"/>
              <a:gd name="connsiteY10" fmla="*/ 1056515 h 1836280"/>
              <a:gd name="connsiteX11" fmla="*/ 2227097 w 2558076"/>
              <a:gd name="connsiteY11" fmla="*/ 703097 h 1836280"/>
              <a:gd name="connsiteX12" fmla="*/ 2468319 w 2558076"/>
              <a:gd name="connsiteY12" fmla="*/ 276751 h 1836280"/>
              <a:gd name="connsiteX13" fmla="*/ 2558076 w 2558076"/>
              <a:gd name="connsiteY13" fmla="*/ 1870 h 1836280"/>
              <a:gd name="connsiteX0" fmla="*/ 2558076 w 2558076"/>
              <a:gd name="connsiteY0" fmla="*/ 1870 h 1836280"/>
              <a:gd name="connsiteX1" fmla="*/ 1868069 w 2558076"/>
              <a:gd name="connsiteY1" fmla="*/ 265531 h 1836280"/>
              <a:gd name="connsiteX2" fmla="*/ 1396844 w 2558076"/>
              <a:gd name="connsiteY2" fmla="*/ 517973 h 1836280"/>
              <a:gd name="connsiteX3" fmla="*/ 936839 w 2558076"/>
              <a:gd name="connsiteY3" fmla="*/ 792854 h 1836280"/>
              <a:gd name="connsiteX4" fmla="*/ 560982 w 2558076"/>
              <a:gd name="connsiteY4" fmla="*/ 1135053 h 1836280"/>
              <a:gd name="connsiteX5" fmla="*/ 280491 w 2558076"/>
              <a:gd name="connsiteY5" fmla="*/ 1398714 h 1836280"/>
              <a:gd name="connsiteX6" fmla="*/ 0 w 2558076"/>
              <a:gd name="connsiteY6" fmla="*/ 1836280 h 1836280"/>
              <a:gd name="connsiteX7" fmla="*/ 510493 w 2558076"/>
              <a:gd name="connsiteY7" fmla="*/ 1757742 h 1836280"/>
              <a:gd name="connsiteX8" fmla="*/ 1065865 w 2558076"/>
              <a:gd name="connsiteY8" fmla="*/ 1589448 h 1836280"/>
              <a:gd name="connsiteX9" fmla="*/ 1492211 w 2558076"/>
              <a:gd name="connsiteY9" fmla="*/ 1359445 h 1836280"/>
              <a:gd name="connsiteX10" fmla="*/ 1896118 w 2558076"/>
              <a:gd name="connsiteY10" fmla="*/ 1056515 h 1836280"/>
              <a:gd name="connsiteX11" fmla="*/ 2227097 w 2558076"/>
              <a:gd name="connsiteY11" fmla="*/ 703097 h 1836280"/>
              <a:gd name="connsiteX12" fmla="*/ 2468319 w 2558076"/>
              <a:gd name="connsiteY12" fmla="*/ 276751 h 1836280"/>
              <a:gd name="connsiteX13" fmla="*/ 2558076 w 2558076"/>
              <a:gd name="connsiteY13" fmla="*/ 1870 h 1836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558076" h="1836280">
                <a:moveTo>
                  <a:pt x="2558076" y="1870"/>
                </a:moveTo>
                <a:cubicBezTo>
                  <a:pt x="2458034" y="0"/>
                  <a:pt x="2061608" y="179514"/>
                  <a:pt x="1868069" y="265531"/>
                </a:cubicBezTo>
                <a:cubicBezTo>
                  <a:pt x="1674530" y="351548"/>
                  <a:pt x="1552049" y="430086"/>
                  <a:pt x="1396844" y="517973"/>
                </a:cubicBezTo>
                <a:cubicBezTo>
                  <a:pt x="1241639" y="605860"/>
                  <a:pt x="1076149" y="690007"/>
                  <a:pt x="936839" y="792854"/>
                </a:cubicBezTo>
                <a:cubicBezTo>
                  <a:pt x="797529" y="895701"/>
                  <a:pt x="670373" y="1034076"/>
                  <a:pt x="560982" y="1135053"/>
                </a:cubicBezTo>
                <a:cubicBezTo>
                  <a:pt x="451591" y="1236030"/>
                  <a:pt x="373988" y="1281843"/>
                  <a:pt x="280491" y="1398714"/>
                </a:cubicBezTo>
                <a:lnTo>
                  <a:pt x="0" y="1836280"/>
                </a:lnTo>
                <a:lnTo>
                  <a:pt x="510493" y="1757742"/>
                </a:lnTo>
                <a:cubicBezTo>
                  <a:pt x="688137" y="1716603"/>
                  <a:pt x="902245" y="1655831"/>
                  <a:pt x="1065865" y="1589448"/>
                </a:cubicBezTo>
                <a:cubicBezTo>
                  <a:pt x="1229485" y="1523065"/>
                  <a:pt x="1353836" y="1448267"/>
                  <a:pt x="1492211" y="1359445"/>
                </a:cubicBezTo>
                <a:cubicBezTo>
                  <a:pt x="1630586" y="1270623"/>
                  <a:pt x="1773637" y="1165906"/>
                  <a:pt x="1896118" y="1056515"/>
                </a:cubicBezTo>
                <a:cubicBezTo>
                  <a:pt x="2018599" y="947124"/>
                  <a:pt x="2131730" y="833058"/>
                  <a:pt x="2227097" y="703097"/>
                </a:cubicBezTo>
                <a:cubicBezTo>
                  <a:pt x="2322464" y="573136"/>
                  <a:pt x="2413156" y="393622"/>
                  <a:pt x="2468319" y="276751"/>
                </a:cubicBezTo>
                <a:lnTo>
                  <a:pt x="2558076" y="1870"/>
                </a:lnTo>
                <a:close/>
              </a:path>
            </a:pathLst>
          </a:custGeom>
          <a:solidFill>
            <a:srgbClr val="D0C0C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59" name="TextBox 329"/>
          <p:cNvSpPr txBox="1"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1768475" y="4618037"/>
            <a:ext cx="84798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 b="1" i="1" dirty="0"/>
              <a:t>Computers and </a:t>
            </a:r>
            <a:br>
              <a:rPr lang="en-US" sz="800" b="1" i="1" dirty="0"/>
            </a:br>
            <a:r>
              <a:rPr lang="en-US" sz="800" b="1" i="1" dirty="0"/>
              <a:t>electronics </a:t>
            </a:r>
            <a:r>
              <a:rPr lang="en-US" sz="800" b="1" i="1" dirty="0" smtClean="0"/>
              <a:t>(43%)</a:t>
            </a:r>
            <a:endParaRPr lang="en-US" sz="800" b="1" i="1" dirty="0"/>
          </a:p>
        </p:txBody>
      </p:sp>
      <p:graphicFrame>
        <p:nvGraphicFramePr>
          <p:cNvPr id="60" name="Object 15"/>
          <p:cNvGraphicFramePr>
            <a:graphicFrameLocks noChangeAspect="1"/>
          </p:cNvGraphicFramePr>
          <p:nvPr/>
        </p:nvGraphicFramePr>
        <p:xfrm>
          <a:off x="1733550" y="3962400"/>
          <a:ext cx="1381083" cy="914439"/>
        </p:xfrm>
        <a:graphic>
          <a:graphicData uri="http://schemas.openxmlformats.org/presentationml/2006/ole">
            <p:oleObj spid="_x0000_s145421" name="Chart" r:id="rId76" imgW="1381083" imgH="914439" progId="MSGraph.Chart.8">
              <p:embed followColorScheme="full"/>
            </p:oleObj>
          </a:graphicData>
        </a:graphic>
      </p:graphicFrame>
      <p:graphicFrame>
        <p:nvGraphicFramePr>
          <p:cNvPr id="61" name="Object 16"/>
          <p:cNvGraphicFramePr>
            <a:graphicFrameLocks noChangeAspect="1"/>
          </p:cNvGraphicFramePr>
          <p:nvPr/>
        </p:nvGraphicFramePr>
        <p:xfrm>
          <a:off x="2724150" y="3937000"/>
          <a:ext cx="1381083" cy="914439"/>
        </p:xfrm>
        <a:graphic>
          <a:graphicData uri="http://schemas.openxmlformats.org/presentationml/2006/ole">
            <p:oleObj spid="_x0000_s145422" name="Chart" r:id="rId77" imgW="1381083" imgH="914439" progId="MSGraph.Chart.8">
              <p:embed followColorScheme="full"/>
            </p:oleObj>
          </a:graphicData>
        </a:graphic>
      </p:graphicFrame>
      <p:graphicFrame>
        <p:nvGraphicFramePr>
          <p:cNvPr id="62" name="Object 10"/>
          <p:cNvGraphicFramePr>
            <a:graphicFrameLocks noChangeAspect="1"/>
          </p:cNvGraphicFramePr>
          <p:nvPr/>
        </p:nvGraphicFramePr>
        <p:xfrm>
          <a:off x="3629025" y="3640137"/>
          <a:ext cx="1381083" cy="914439"/>
        </p:xfrm>
        <a:graphic>
          <a:graphicData uri="http://schemas.openxmlformats.org/presentationml/2006/ole">
            <p:oleObj spid="_x0000_s145423" name="Chart" r:id="rId78" imgW="1381083" imgH="914439" progId="MSGraph.Chart.8">
              <p:embed followColorScheme="full"/>
            </p:oleObj>
          </a:graphicData>
        </a:graphic>
      </p:graphicFrame>
      <p:graphicFrame>
        <p:nvGraphicFramePr>
          <p:cNvPr id="63" name="Object 12"/>
          <p:cNvGraphicFramePr>
            <a:graphicFrameLocks noChangeAspect="1"/>
          </p:cNvGraphicFramePr>
          <p:nvPr/>
        </p:nvGraphicFramePr>
        <p:xfrm>
          <a:off x="3236912" y="3028950"/>
          <a:ext cx="1381083" cy="914439"/>
        </p:xfrm>
        <a:graphic>
          <a:graphicData uri="http://schemas.openxmlformats.org/presentationml/2006/ole">
            <p:oleObj spid="_x0000_s145424" name="Chart" r:id="rId79" imgW="1381083" imgH="914439" progId="MSGraph.Chart.8">
              <p:embed followColorScheme="full"/>
            </p:oleObj>
          </a:graphicData>
        </a:graphic>
      </p:graphicFrame>
      <p:graphicFrame>
        <p:nvGraphicFramePr>
          <p:cNvPr id="64" name="Object 19"/>
          <p:cNvGraphicFramePr>
            <a:graphicFrameLocks noChangeAspect="1"/>
          </p:cNvGraphicFramePr>
          <p:nvPr/>
        </p:nvGraphicFramePr>
        <p:xfrm>
          <a:off x="2552700" y="3833812"/>
          <a:ext cx="1381083" cy="914439"/>
        </p:xfrm>
        <a:graphic>
          <a:graphicData uri="http://schemas.openxmlformats.org/presentationml/2006/ole">
            <p:oleObj spid="_x0000_s145425" name="Chart" r:id="rId80" imgW="1381083" imgH="914439" progId="MSGraph.Chart.8">
              <p:embed followColorScheme="full"/>
            </p:oleObj>
          </a:graphicData>
        </a:graphic>
      </p:graphicFrame>
      <p:sp>
        <p:nvSpPr>
          <p:cNvPr id="65" name="TextBox 325"/>
          <p:cNvSpPr txBox="1"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4337050" y="3240087"/>
            <a:ext cx="754063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 b="1" i="1" dirty="0"/>
              <a:t>Furniture (23%)</a:t>
            </a:r>
          </a:p>
        </p:txBody>
      </p:sp>
      <p:sp>
        <p:nvSpPr>
          <p:cNvPr id="66" name="TextBox 327"/>
          <p:cNvSpPr txBox="1"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3656012" y="3001962"/>
            <a:ext cx="1122362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 b="1" i="1" dirty="0"/>
              <a:t>Fabricated metals (6%)</a:t>
            </a:r>
          </a:p>
        </p:txBody>
      </p:sp>
      <p:sp>
        <p:nvSpPr>
          <p:cNvPr id="67" name="TextBox 323"/>
          <p:cNvSpPr txBox="1"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4070350" y="3821112"/>
            <a:ext cx="120173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 b="1" i="1" dirty="0"/>
              <a:t>Plastics and rubber (8%)</a:t>
            </a:r>
          </a:p>
        </p:txBody>
      </p:sp>
      <p:sp>
        <p:nvSpPr>
          <p:cNvPr id="68" name="TextBox 328"/>
          <p:cNvSpPr txBox="1">
            <a:spLocks noChangeArrowheads="1"/>
          </p:cNvSpPr>
          <p:nvPr>
            <p:custDataLst>
              <p:tags r:id="rId52"/>
            </p:custDataLst>
          </p:nvPr>
        </p:nvSpPr>
        <p:spPr bwMode="auto">
          <a:xfrm>
            <a:off x="3475037" y="4202112"/>
            <a:ext cx="969962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 b="1" i="1" dirty="0"/>
              <a:t>Transportation (7%)</a:t>
            </a:r>
          </a:p>
        </p:txBody>
      </p:sp>
      <p:sp>
        <p:nvSpPr>
          <p:cNvPr id="69" name="TextBox 337"/>
          <p:cNvSpPr txBox="1"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3378200" y="4014787"/>
            <a:ext cx="209073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 b="1" i="1" dirty="0"/>
              <a:t>Appliances and electrical equipment </a:t>
            </a:r>
            <a:r>
              <a:rPr lang="en-US" sz="800" b="1" i="1" dirty="0" smtClean="0"/>
              <a:t>(32%)</a:t>
            </a:r>
            <a:endParaRPr lang="en-US" sz="800" b="1" i="1" dirty="0"/>
          </a:p>
        </p:txBody>
      </p:sp>
      <p:sp>
        <p:nvSpPr>
          <p:cNvPr id="70" name="TextBox 334"/>
          <p:cNvSpPr txBox="1"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2919412" y="3770312"/>
            <a:ext cx="81272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 b="1" i="1" dirty="0"/>
              <a:t>Machinery (</a:t>
            </a:r>
            <a:r>
              <a:rPr lang="en-US" sz="800" b="1" i="1" dirty="0" smtClean="0"/>
              <a:t>12%)</a:t>
            </a:r>
            <a:endParaRPr lang="en-US" sz="800" b="1" i="1" dirty="0"/>
          </a:p>
        </p:txBody>
      </p:sp>
      <p:sp>
        <p:nvSpPr>
          <p:cNvPr id="71" name="Freeform 70"/>
          <p:cNvSpPr/>
          <p:nvPr>
            <p:custDataLst>
              <p:tags r:id="rId55"/>
            </p:custDataLst>
          </p:nvPr>
        </p:nvSpPr>
        <p:spPr>
          <a:xfrm>
            <a:off x="2855912" y="3838575"/>
            <a:ext cx="58737" cy="95250"/>
          </a:xfrm>
          <a:custGeom>
            <a:avLst/>
            <a:gdLst>
              <a:gd name="connsiteX0" fmla="*/ 2381 w 59531"/>
              <a:gd name="connsiteY0" fmla="*/ 95250 h 95250"/>
              <a:gd name="connsiteX1" fmla="*/ 0 w 59531"/>
              <a:gd name="connsiteY1" fmla="*/ 0 h 95250"/>
              <a:gd name="connsiteX2" fmla="*/ 59531 w 59531"/>
              <a:gd name="connsiteY2" fmla="*/ 0 h 95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531" h="95250">
                <a:moveTo>
                  <a:pt x="2381" y="95250"/>
                </a:moveTo>
                <a:cubicBezTo>
                  <a:pt x="1587" y="63500"/>
                  <a:pt x="794" y="31750"/>
                  <a:pt x="0" y="0"/>
                </a:cubicBezTo>
                <a:lnTo>
                  <a:pt x="59531" y="0"/>
                </a:lnTo>
              </a:path>
            </a:pathLst>
          </a:cu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2" name="Freeform 71"/>
          <p:cNvSpPr/>
          <p:nvPr>
            <p:custDataLst>
              <p:tags r:id="rId56"/>
            </p:custDataLst>
          </p:nvPr>
        </p:nvSpPr>
        <p:spPr>
          <a:xfrm>
            <a:off x="2967037" y="3973512"/>
            <a:ext cx="374650" cy="95250"/>
          </a:xfrm>
          <a:custGeom>
            <a:avLst/>
            <a:gdLst>
              <a:gd name="connsiteX0" fmla="*/ 374650 w 374650"/>
              <a:gd name="connsiteY0" fmla="*/ 95250 h 95250"/>
              <a:gd name="connsiteX1" fmla="*/ 320675 w 374650"/>
              <a:gd name="connsiteY1" fmla="*/ 92075 h 95250"/>
              <a:gd name="connsiteX2" fmla="*/ 317500 w 374650"/>
              <a:gd name="connsiteY2" fmla="*/ 6350 h 95250"/>
              <a:gd name="connsiteX3" fmla="*/ 0 w 374650"/>
              <a:gd name="connsiteY3" fmla="*/ 0 h 95250"/>
              <a:gd name="connsiteX0" fmla="*/ 374650 w 374650"/>
              <a:gd name="connsiteY0" fmla="*/ 95250 h 101600"/>
              <a:gd name="connsiteX1" fmla="*/ 320675 w 374650"/>
              <a:gd name="connsiteY1" fmla="*/ 101600 h 101600"/>
              <a:gd name="connsiteX2" fmla="*/ 317500 w 374650"/>
              <a:gd name="connsiteY2" fmla="*/ 6350 h 101600"/>
              <a:gd name="connsiteX3" fmla="*/ 0 w 374650"/>
              <a:gd name="connsiteY3" fmla="*/ 0 h 101600"/>
              <a:gd name="connsiteX0" fmla="*/ 374650 w 374650"/>
              <a:gd name="connsiteY0" fmla="*/ 95250 h 95250"/>
              <a:gd name="connsiteX1" fmla="*/ 318294 w 374650"/>
              <a:gd name="connsiteY1" fmla="*/ 94456 h 95250"/>
              <a:gd name="connsiteX2" fmla="*/ 317500 w 374650"/>
              <a:gd name="connsiteY2" fmla="*/ 6350 h 95250"/>
              <a:gd name="connsiteX3" fmla="*/ 0 w 374650"/>
              <a:gd name="connsiteY3" fmla="*/ 0 h 95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4650" h="95250">
                <a:moveTo>
                  <a:pt x="374650" y="95250"/>
                </a:moveTo>
                <a:lnTo>
                  <a:pt x="318294" y="94456"/>
                </a:lnTo>
                <a:cubicBezTo>
                  <a:pt x="318029" y="65087"/>
                  <a:pt x="317765" y="35719"/>
                  <a:pt x="317500" y="6350"/>
                </a:cubicBezTo>
                <a:lnTo>
                  <a:pt x="0" y="0"/>
                </a:lnTo>
              </a:path>
            </a:pathLst>
          </a:cu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graphicFrame>
        <p:nvGraphicFramePr>
          <p:cNvPr id="73" name="Object 11"/>
          <p:cNvGraphicFramePr>
            <a:graphicFrameLocks noChangeAspect="1"/>
          </p:cNvGraphicFramePr>
          <p:nvPr/>
        </p:nvGraphicFramePr>
        <p:xfrm>
          <a:off x="3994150" y="3124200"/>
          <a:ext cx="1381083" cy="914439"/>
        </p:xfrm>
        <a:graphic>
          <a:graphicData uri="http://schemas.openxmlformats.org/presentationml/2006/ole">
            <p:oleObj spid="_x0000_s145426" name="Chart" r:id="rId81" imgW="1381083" imgH="914439" progId="MSGraph.Chart.8">
              <p:embed followColorScheme="full"/>
            </p:oleObj>
          </a:graphicData>
        </a:graphic>
      </p:graphicFrame>
      <p:graphicFrame>
        <p:nvGraphicFramePr>
          <p:cNvPr id="74" name="Object 17"/>
          <p:cNvGraphicFramePr>
            <a:graphicFrameLocks noChangeAspect="1"/>
          </p:cNvGraphicFramePr>
          <p:nvPr/>
        </p:nvGraphicFramePr>
        <p:xfrm>
          <a:off x="2778125" y="3879850"/>
          <a:ext cx="1381083" cy="914439"/>
        </p:xfrm>
        <a:graphic>
          <a:graphicData uri="http://schemas.openxmlformats.org/presentationml/2006/ole">
            <p:oleObj spid="_x0000_s145427" name="Chart" r:id="rId82" imgW="1381083" imgH="914439" progId="MSGraph.Chart.8">
              <p:embed followColorScheme="full"/>
            </p:oleObj>
          </a:graphicData>
        </a:graphic>
      </p:graphicFrame>
      <p:sp>
        <p:nvSpPr>
          <p:cNvPr id="77" name="Rectangle 2"/>
          <p:cNvSpPr>
            <a:spLocks noChangeArrowheads="1"/>
          </p:cNvSpPr>
          <p:nvPr>
            <p:custDataLst>
              <p:tags r:id="rId57"/>
            </p:custDataLst>
          </p:nvPr>
        </p:nvSpPr>
        <p:spPr bwMode="gray">
          <a:xfrm>
            <a:off x="1514475" y="1533318"/>
            <a:ext cx="2201014" cy="298450"/>
          </a:xfrm>
          <a:prstGeom prst="rect">
            <a:avLst/>
          </a:prstGeom>
          <a:solidFill>
            <a:srgbClr val="CEA09D"/>
          </a:solidFill>
          <a:ln w="9525" algn="ctr">
            <a:noFill/>
            <a:miter lim="800000"/>
            <a:headEnd/>
            <a:tailEnd/>
          </a:ln>
        </p:spPr>
        <p:txBody>
          <a:bodyPr lIns="0" tIns="91440" rIns="0" bIns="91440" anchor="ctr"/>
          <a:lstStyle/>
          <a:p>
            <a:pPr algn="ctr"/>
            <a:r>
              <a:rPr lang="en-US" sz="1200" b="1" dirty="0"/>
              <a:t>Remain </a:t>
            </a:r>
            <a:r>
              <a:rPr lang="en-US" sz="1200" b="1" dirty="0" smtClean="0"/>
              <a:t>offshored </a:t>
            </a:r>
            <a:endParaRPr lang="en-US" sz="1200" b="1" dirty="0"/>
          </a:p>
        </p:txBody>
      </p:sp>
      <p:sp>
        <p:nvSpPr>
          <p:cNvPr id="78" name="Rectangle 2"/>
          <p:cNvSpPr>
            <a:spLocks noChangeArrowheads="1"/>
          </p:cNvSpPr>
          <p:nvPr>
            <p:custDataLst>
              <p:tags r:id="rId58"/>
            </p:custDataLst>
          </p:nvPr>
        </p:nvSpPr>
        <p:spPr bwMode="gray">
          <a:xfrm>
            <a:off x="4416425" y="1688065"/>
            <a:ext cx="2124075" cy="286227"/>
          </a:xfrm>
          <a:prstGeom prst="rect">
            <a:avLst/>
          </a:prstGeom>
          <a:solidFill>
            <a:srgbClr val="E7C7C7">
              <a:alpha val="50195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0" tIns="91440" rIns="0" bIns="91440" anchor="ctr"/>
          <a:lstStyle/>
          <a:p>
            <a:pPr algn="ctr"/>
            <a:r>
              <a:rPr lang="en-US" sz="1200" i="1" dirty="0"/>
              <a:t>May be close to tipping point?</a:t>
            </a:r>
          </a:p>
        </p:txBody>
      </p:sp>
      <p:sp>
        <p:nvSpPr>
          <p:cNvPr id="79" name="Rectangle 2"/>
          <p:cNvSpPr>
            <a:spLocks noChangeArrowheads="1"/>
          </p:cNvSpPr>
          <p:nvPr>
            <p:custDataLst>
              <p:tags r:id="rId59"/>
            </p:custDataLst>
          </p:nvPr>
        </p:nvSpPr>
        <p:spPr bwMode="gray">
          <a:xfrm>
            <a:off x="6008687" y="5780087"/>
            <a:ext cx="2201014" cy="298450"/>
          </a:xfrm>
          <a:prstGeom prst="rect">
            <a:avLst/>
          </a:prstGeom>
          <a:solidFill>
            <a:srgbClr val="ACC6D0"/>
          </a:solidFill>
          <a:ln w="9525" algn="ctr">
            <a:noFill/>
            <a:miter lim="800000"/>
            <a:headEnd/>
            <a:tailEnd/>
          </a:ln>
        </p:spPr>
        <p:txBody>
          <a:bodyPr lIns="0" tIns="91440" rIns="0" bIns="91440" anchor="ctr"/>
          <a:lstStyle/>
          <a:p>
            <a:pPr algn="ctr"/>
            <a:r>
              <a:rPr lang="en-US" sz="1200" b="1" dirty="0"/>
              <a:t>Remain in US</a:t>
            </a:r>
          </a:p>
        </p:txBody>
      </p:sp>
      <p:sp>
        <p:nvSpPr>
          <p:cNvPr id="80" name="TextBox 168"/>
          <p:cNvSpPr txBox="1">
            <a:spLocks noChangeArrowheads="1"/>
          </p:cNvSpPr>
          <p:nvPr>
            <p:custDataLst>
              <p:tags r:id="rId60"/>
            </p:custDataLst>
          </p:nvPr>
        </p:nvSpPr>
        <p:spPr bwMode="auto">
          <a:xfrm>
            <a:off x="9090025" y="4791075"/>
            <a:ext cx="36671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sz="1000" dirty="0"/>
              <a:t> 700B </a:t>
            </a:r>
          </a:p>
          <a:p>
            <a:r>
              <a:rPr lang="en-US" sz="1000" dirty="0"/>
              <a:t>(</a:t>
            </a:r>
            <a:r>
              <a:rPr lang="en-US" sz="1000" dirty="0" smtClean="0"/>
              <a:t>13%)</a:t>
            </a:r>
            <a:endParaRPr lang="en-US" sz="1000" dirty="0"/>
          </a:p>
        </p:txBody>
      </p:sp>
      <p:sp>
        <p:nvSpPr>
          <p:cNvPr id="81" name="Rectangle 2"/>
          <p:cNvSpPr>
            <a:spLocks noChangeArrowheads="1"/>
          </p:cNvSpPr>
          <p:nvPr>
            <p:custDataLst>
              <p:tags r:id="rId61"/>
            </p:custDataLst>
          </p:nvPr>
        </p:nvSpPr>
        <p:spPr bwMode="gray">
          <a:xfrm>
            <a:off x="8221662" y="4214812"/>
            <a:ext cx="1511300" cy="2968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r>
              <a:rPr lang="en-US" sz="1100" b="1" dirty="0"/>
              <a:t>US consumption</a:t>
            </a:r>
          </a:p>
          <a:p>
            <a:r>
              <a:rPr lang="en-US" sz="1100" dirty="0"/>
              <a:t>(% LCC imported)</a:t>
            </a:r>
          </a:p>
        </p:txBody>
      </p:sp>
      <p:graphicFrame>
        <p:nvGraphicFramePr>
          <p:cNvPr id="82" name="Object 21"/>
          <p:cNvGraphicFramePr>
            <a:graphicFrameLocks noChangeAspect="1"/>
          </p:cNvGraphicFramePr>
          <p:nvPr/>
        </p:nvGraphicFramePr>
        <p:xfrm>
          <a:off x="8243887" y="4594225"/>
          <a:ext cx="1381083" cy="914439"/>
        </p:xfrm>
        <a:graphic>
          <a:graphicData uri="http://schemas.openxmlformats.org/presentationml/2006/ole">
            <p:oleObj spid="_x0000_s145429" name="Chart" r:id="rId83" imgW="1381083" imgH="914439" progId="MSGraph.Chart.8">
              <p:embed followColorScheme="full"/>
            </p:oleObj>
          </a:graphicData>
        </a:graphic>
      </p:graphicFrame>
      <p:sp>
        <p:nvSpPr>
          <p:cNvPr id="85" name="BCG_FootNote_Box"/>
          <p:cNvSpPr txBox="1">
            <a:spLocks noChangeArrowheads="1"/>
          </p:cNvSpPr>
          <p:nvPr>
            <p:custDataLst>
              <p:tags r:id="rId62"/>
            </p:custDataLst>
          </p:nvPr>
        </p:nvSpPr>
        <p:spPr bwMode="gray">
          <a:xfrm>
            <a:off x="476550" y="6334126"/>
            <a:ext cx="8959451" cy="3286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>
              <a:lnSpc>
                <a:spcPct val="90000"/>
              </a:lnSpc>
            </a:pPr>
            <a:r>
              <a:rPr lang="en-US" sz="800" dirty="0">
                <a:solidFill>
                  <a:srgbClr val="000000"/>
                </a:solidFill>
              </a:rPr>
              <a:t>Note</a:t>
            </a:r>
            <a:r>
              <a:rPr lang="en-US" sz="800" dirty="0" smtClean="0">
                <a:solidFill>
                  <a:srgbClr val="000000"/>
                </a:solidFill>
              </a:rPr>
              <a:t>: Included </a:t>
            </a:r>
            <a:r>
              <a:rPr lang="en-US" sz="800" dirty="0">
                <a:solidFill>
                  <a:srgbClr val="000000"/>
                </a:solidFill>
              </a:rPr>
              <a:t>total of 17 NAICS industries</a:t>
            </a:r>
            <a:r>
              <a:rPr lang="en-US" sz="800" dirty="0" smtClean="0">
                <a:solidFill>
                  <a:srgbClr val="000000"/>
                </a:solidFill>
              </a:rPr>
              <a:t>. LCC countries include comprises13 </a:t>
            </a:r>
            <a:r>
              <a:rPr lang="en-US" sz="800" dirty="0">
                <a:solidFill>
                  <a:srgbClr val="000000"/>
                </a:solidFill>
              </a:rPr>
              <a:t>countries (Brazil, Cambodia, China, Czech Republic, Hungary, India, Indonesia, Malaysia, Mexico, Poland, Russia, Thailand, and Vietnam). Based on </a:t>
            </a:r>
            <a:r>
              <a:rPr lang="en-US" sz="800" dirty="0" smtClean="0">
                <a:solidFill>
                  <a:srgbClr val="000000"/>
                </a:solidFill>
              </a:rPr>
              <a:t>2010 consumption data</a:t>
            </a:r>
            <a:endParaRPr lang="en-US" sz="800" dirty="0">
              <a:solidFill>
                <a:srgbClr val="000000"/>
              </a:solidFill>
            </a:endParaRPr>
          </a:p>
          <a:p>
            <a:pPr eaLnBrk="0" hangingPunct="0">
              <a:lnSpc>
                <a:spcPct val="90000"/>
              </a:lnSpc>
            </a:pPr>
            <a:r>
              <a:rPr lang="en-US" sz="800" dirty="0">
                <a:solidFill>
                  <a:srgbClr val="000000"/>
                </a:solidFill>
              </a:rPr>
              <a:t>Note: Consumption defined as </a:t>
            </a:r>
            <a:r>
              <a:rPr lang="en-US" sz="800" dirty="0" smtClean="0">
                <a:solidFill>
                  <a:srgbClr val="000000"/>
                </a:solidFill>
              </a:rPr>
              <a:t>total production </a:t>
            </a:r>
            <a:r>
              <a:rPr lang="en-US" sz="800" dirty="0">
                <a:solidFill>
                  <a:srgbClr val="000000"/>
                </a:solidFill>
              </a:rPr>
              <a:t>+ </a:t>
            </a:r>
            <a:r>
              <a:rPr lang="en-US" sz="800" dirty="0" smtClean="0">
                <a:solidFill>
                  <a:srgbClr val="000000"/>
                </a:solidFill>
              </a:rPr>
              <a:t>imports -exports</a:t>
            </a:r>
            <a:r>
              <a:rPr lang="en-US" sz="800" dirty="0">
                <a:solidFill>
                  <a:srgbClr val="000000"/>
                </a:solidFill>
              </a:rPr>
              <a:t>; $1.5T value is </a:t>
            </a:r>
            <a:r>
              <a:rPr lang="en-US" sz="800" dirty="0" smtClean="0">
                <a:solidFill>
                  <a:srgbClr val="000000"/>
                </a:solidFill>
              </a:rPr>
              <a:t>real for 2010</a:t>
            </a:r>
            <a:endParaRPr lang="en-US" sz="800" dirty="0">
              <a:solidFill>
                <a:srgbClr val="000000"/>
              </a:solidFill>
            </a:endParaRPr>
          </a:p>
          <a:p>
            <a:pPr eaLnBrk="0" hangingPunct="0">
              <a:lnSpc>
                <a:spcPct val="90000"/>
              </a:lnSpc>
            </a:pPr>
            <a:r>
              <a:rPr lang="en-US" sz="800" dirty="0">
                <a:solidFill>
                  <a:srgbClr val="000000"/>
                </a:solidFill>
              </a:rPr>
              <a:t>Source</a:t>
            </a:r>
            <a:r>
              <a:rPr lang="en-US" sz="800" dirty="0" smtClean="0">
                <a:solidFill>
                  <a:srgbClr val="000000"/>
                </a:solidFill>
              </a:rPr>
              <a:t>: US </a:t>
            </a:r>
            <a:r>
              <a:rPr lang="en-US" sz="800" dirty="0">
                <a:solidFill>
                  <a:srgbClr val="000000"/>
                </a:solidFill>
              </a:rPr>
              <a:t>Department of </a:t>
            </a:r>
            <a:r>
              <a:rPr lang="en-US" sz="800" dirty="0" smtClean="0">
                <a:solidFill>
                  <a:srgbClr val="000000"/>
                </a:solidFill>
              </a:rPr>
              <a:t>Transportation; </a:t>
            </a:r>
            <a:r>
              <a:rPr lang="en-US" sz="800" dirty="0">
                <a:solidFill>
                  <a:srgbClr val="000000"/>
                </a:solidFill>
              </a:rPr>
              <a:t>US Census </a:t>
            </a:r>
            <a:r>
              <a:rPr lang="en-US" sz="800" dirty="0" smtClean="0">
                <a:solidFill>
                  <a:srgbClr val="000000"/>
                </a:solidFill>
              </a:rPr>
              <a:t>Bureau; </a:t>
            </a:r>
            <a:r>
              <a:rPr lang="en-US" sz="800" dirty="0">
                <a:solidFill>
                  <a:srgbClr val="000000"/>
                </a:solidFill>
              </a:rPr>
              <a:t>Bureau of Economic Analysis; BCG analysi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pPr eaLnBrk="1" hangingPunct="1"/>
            <a:r>
              <a:rPr lang="en-US" smtClean="0"/>
              <a:t>The map of the world changed at a geological pace</a:t>
            </a:r>
          </a:p>
        </p:txBody>
      </p:sp>
      <p:pic>
        <p:nvPicPr>
          <p:cNvPr id="13315" name="Picture 4" descr="Pangea_animation_03"/>
          <p:cNvPicPr>
            <a:picLocks noChangeAspect="1" noChangeArrowheads="1" noCrop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2137456" y="1743077"/>
            <a:ext cx="5631090" cy="436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/>
        </p:nvGraphicFramePr>
        <p:xfrm>
          <a:off x="1639" y="1589"/>
          <a:ext cx="1637" cy="1587"/>
        </p:xfrm>
        <a:graphic>
          <a:graphicData uri="http://schemas.openxmlformats.org/presentationml/2006/ole">
            <p:oleObj spid="_x0000_s112642" name="think-cell Slide" r:id="rId14" imgW="360" imgH="360" progId="TCLayout.ActiveDocument.1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We've seen many clients</a:t>
            </a:r>
            <a:endParaRPr lang="en-US" dirty="0"/>
          </a:p>
        </p:txBody>
      </p:sp>
      <p:sp>
        <p:nvSpPr>
          <p:cNvPr id="14" name="Rectangle 13"/>
          <p:cNvSpPr/>
          <p:nvPr>
            <p:custDataLst>
              <p:tags r:id="rId3"/>
            </p:custDataLst>
          </p:nvPr>
        </p:nvSpPr>
        <p:spPr>
          <a:xfrm>
            <a:off x="0" y="1"/>
            <a:ext cx="9904362" cy="140078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grpSp>
        <p:nvGrpSpPr>
          <p:cNvPr id="3" name="Group 38"/>
          <p:cNvGrpSpPr/>
          <p:nvPr>
            <p:custDataLst>
              <p:tags r:id="rId4"/>
            </p:custDataLst>
          </p:nvPr>
        </p:nvGrpSpPr>
        <p:grpSpPr>
          <a:xfrm>
            <a:off x="246777" y="3052660"/>
            <a:ext cx="4298543" cy="2936493"/>
            <a:chOff x="424047" y="3470946"/>
            <a:chExt cx="4166969" cy="2936493"/>
          </a:xfrm>
        </p:grpSpPr>
        <p:pic>
          <p:nvPicPr>
            <p:cNvPr id="233489" name="Picture 17" descr="http://images.nationalgeographic.com/wpf/media-live/photos/000/060/cache/indonesia_6016_600x450.jpg"/>
            <p:cNvPicPr>
              <a:picLocks noChangeAspect="1" noChangeArrowheads="1"/>
            </p:cNvPicPr>
            <p:nvPr>
              <p:custDataLst>
                <p:tags r:id="rId11"/>
              </p:custDataLst>
            </p:nvPr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675692" y="3470946"/>
              <a:ext cx="3915324" cy="2936493"/>
            </a:xfrm>
            <a:prstGeom prst="rect">
              <a:avLst/>
            </a:prstGeom>
            <a:noFill/>
          </p:spPr>
        </p:pic>
        <p:sp>
          <p:nvSpPr>
            <p:cNvPr id="11" name="TextBox 10"/>
            <p:cNvSpPr txBox="1"/>
            <p:nvPr>
              <p:custDataLst>
                <p:tags r:id="rId12"/>
              </p:custDataLst>
            </p:nvPr>
          </p:nvSpPr>
          <p:spPr>
            <a:xfrm>
              <a:off x="424047" y="3612173"/>
              <a:ext cx="960519" cy="397201"/>
            </a:xfrm>
            <a:prstGeom prst="rect">
              <a:avLst/>
            </a:prstGeom>
            <a:solidFill>
              <a:srgbClr val="BBAD87"/>
            </a:solidFill>
            <a:ln>
              <a:solidFill>
                <a:srgbClr val="BBAD87"/>
              </a:solidFill>
            </a:ln>
          </p:spPr>
          <p:txBody>
            <a:bodyPr wrap="none" tIns="90000" bIns="90000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chemeClr val="bg1"/>
                  </a:solidFill>
                </a:rPr>
                <a:t>Indonesia</a:t>
              </a:r>
            </a:p>
          </p:txBody>
        </p:sp>
      </p:grpSp>
      <p:grpSp>
        <p:nvGrpSpPr>
          <p:cNvPr id="5" name="Group 37"/>
          <p:cNvGrpSpPr/>
          <p:nvPr>
            <p:custDataLst>
              <p:tags r:id="rId5"/>
            </p:custDataLst>
          </p:nvPr>
        </p:nvGrpSpPr>
        <p:grpSpPr>
          <a:xfrm>
            <a:off x="2432647" y="788329"/>
            <a:ext cx="4572018" cy="2822542"/>
            <a:chOff x="2543010" y="1206616"/>
            <a:chExt cx="4432073" cy="2822542"/>
          </a:xfrm>
        </p:grpSpPr>
        <p:pic>
          <p:nvPicPr>
            <p:cNvPr id="233486" name="Picture 14" descr="http://storage.canoe.ca/v1/dynamic_resize/sws_path/suns-prod-images/1297261962216_ORIGINAL.jpg?quality=80&amp;size=650x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2747773" y="1206616"/>
              <a:ext cx="4227310" cy="2822542"/>
            </a:xfrm>
            <a:prstGeom prst="rect">
              <a:avLst/>
            </a:prstGeom>
            <a:noFill/>
          </p:spPr>
        </p:pic>
        <p:sp>
          <p:nvSpPr>
            <p:cNvPr id="4" name="TextBox 3"/>
            <p:cNvSpPr txBox="1"/>
            <p:nvPr>
              <p:custDataLst>
                <p:tags r:id="rId10"/>
              </p:custDataLst>
            </p:nvPr>
          </p:nvSpPr>
          <p:spPr>
            <a:xfrm>
              <a:off x="2543010" y="1543050"/>
              <a:ext cx="838628" cy="397201"/>
            </a:xfrm>
            <a:prstGeom prst="rect">
              <a:avLst/>
            </a:prstGeom>
            <a:solidFill>
              <a:srgbClr val="BBAD87"/>
            </a:solidFill>
            <a:ln>
              <a:solidFill>
                <a:srgbClr val="BBAD87"/>
              </a:solidFill>
            </a:ln>
          </p:spPr>
          <p:txBody>
            <a:bodyPr wrap="none" tIns="90000" bIns="90000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chemeClr val="bg1"/>
                  </a:solidFill>
                </a:rPr>
                <a:t>Vietnam</a:t>
              </a:r>
            </a:p>
          </p:txBody>
        </p:sp>
      </p:grpSp>
      <p:grpSp>
        <p:nvGrpSpPr>
          <p:cNvPr id="6" name="Group 39"/>
          <p:cNvGrpSpPr/>
          <p:nvPr>
            <p:custDataLst>
              <p:tags r:id="rId6"/>
            </p:custDataLst>
          </p:nvPr>
        </p:nvGrpSpPr>
        <p:grpSpPr>
          <a:xfrm>
            <a:off x="4868334" y="2961157"/>
            <a:ext cx="4529501" cy="2603669"/>
            <a:chOff x="4904143" y="3379443"/>
            <a:chExt cx="4390858" cy="2603669"/>
          </a:xfrm>
        </p:grpSpPr>
        <p:pic>
          <p:nvPicPr>
            <p:cNvPr id="233474" name="Picture 2" descr="http://www.wincor-nixdorf.com/internet/cae/servlet/contentblob/630066/normal/61803/country_image.jpg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5632348" y="3379443"/>
              <a:ext cx="3662653" cy="2603669"/>
            </a:xfrm>
            <a:prstGeom prst="rect">
              <a:avLst/>
            </a:prstGeom>
            <a:noFill/>
          </p:spPr>
        </p:pic>
        <p:sp>
          <p:nvSpPr>
            <p:cNvPr id="10" name="TextBox 9"/>
            <p:cNvSpPr txBox="1"/>
            <p:nvPr>
              <p:custDataLst>
                <p:tags r:id="rId8"/>
              </p:custDataLst>
            </p:nvPr>
          </p:nvSpPr>
          <p:spPr>
            <a:xfrm>
              <a:off x="4904143" y="4883267"/>
              <a:ext cx="1051891" cy="397201"/>
            </a:xfrm>
            <a:prstGeom prst="rect">
              <a:avLst/>
            </a:prstGeom>
            <a:solidFill>
              <a:srgbClr val="BBAD87"/>
            </a:solidFill>
            <a:ln>
              <a:solidFill>
                <a:srgbClr val="BBAD87"/>
              </a:solidFill>
            </a:ln>
          </p:spPr>
          <p:txBody>
            <a:bodyPr wrap="none" tIns="90000" bIns="90000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chemeClr val="bg1"/>
                  </a:solidFill>
                </a:rPr>
                <a:t>Philippines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3" name="Group 7"/>
          <p:cNvGrpSpPr/>
          <p:nvPr/>
        </p:nvGrpSpPr>
        <p:grpSpPr>
          <a:xfrm>
            <a:off x="1449296" y="1440637"/>
            <a:ext cx="6279252" cy="4286250"/>
            <a:chOff x="1404934" y="1722749"/>
            <a:chExt cx="6087051" cy="4286250"/>
          </a:xfrm>
        </p:grpSpPr>
        <p:pic>
          <p:nvPicPr>
            <p:cNvPr id="232454" name="Picture 6" descr="http://aventours.webs.com/MexicoCity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776985" y="1722749"/>
              <a:ext cx="5715000" cy="4286250"/>
            </a:xfrm>
            <a:prstGeom prst="rect">
              <a:avLst/>
            </a:prstGeom>
            <a:noFill/>
          </p:spPr>
        </p:pic>
        <p:sp>
          <p:nvSpPr>
            <p:cNvPr id="7" name="TextBox 6"/>
            <p:cNvSpPr txBox="1"/>
            <p:nvPr>
              <p:custDataLst>
                <p:tags r:id="rId1"/>
              </p:custDataLst>
            </p:nvPr>
          </p:nvSpPr>
          <p:spPr>
            <a:xfrm>
              <a:off x="1404934" y="1971909"/>
              <a:ext cx="752130" cy="397201"/>
            </a:xfrm>
            <a:prstGeom prst="rect">
              <a:avLst/>
            </a:prstGeom>
            <a:solidFill>
              <a:srgbClr val="BBAD87"/>
            </a:solidFill>
            <a:ln>
              <a:solidFill>
                <a:srgbClr val="BBAD87"/>
              </a:solidFill>
            </a:ln>
          </p:spPr>
          <p:txBody>
            <a:bodyPr wrap="none" tIns="90000" bIns="90000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chemeClr val="bg1"/>
                  </a:solidFill>
                </a:rPr>
                <a:t>Mexico</a:t>
              </a:r>
            </a:p>
          </p:txBody>
        </p:sp>
      </p:grpSp>
      <p:sp>
        <p:nvSpPr>
          <p:cNvPr id="9" name="Rectangle 8"/>
          <p:cNvSpPr/>
          <p:nvPr/>
        </p:nvSpPr>
        <p:spPr>
          <a:xfrm>
            <a:off x="0" y="1"/>
            <a:ext cx="9904362" cy="140078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/>
        </p:nvGraphicFramePr>
        <p:xfrm>
          <a:off x="0" y="0"/>
          <a:ext cx="163763" cy="158750"/>
        </p:xfrm>
        <a:graphic>
          <a:graphicData uri="http://schemas.openxmlformats.org/presentationml/2006/ole">
            <p:oleObj spid="_x0000_s70658" name="think-cell Slide" r:id="rId33" imgW="360" imgH="360" progId="TCLayout.ActiveDocument.1">
              <p:embed/>
            </p:oleObj>
          </a:graphicData>
        </a:graphic>
      </p:graphicFrame>
      <p:pic>
        <p:nvPicPr>
          <p:cNvPr id="114707" name="Picture 19" descr="https://encrypted-tbn2.google.com/images?q=tbn:ANd9GcSson84voft7PNHBSGzJMdoGiEW2P4ln9z6RjXSJiB1Do9b-ByDDQ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34" cstate="screen"/>
          <a:srcRect/>
          <a:stretch>
            <a:fillRect/>
          </a:stretch>
        </p:blipFill>
        <p:spPr bwMode="gray">
          <a:xfrm>
            <a:off x="8017817" y="2093913"/>
            <a:ext cx="1730971" cy="489245"/>
          </a:xfrm>
          <a:prstGeom prst="rect">
            <a:avLst/>
          </a:prstGeom>
          <a:noFill/>
        </p:spPr>
      </p:pic>
      <p:pic>
        <p:nvPicPr>
          <p:cNvPr id="114701" name="Picture 13" descr="https://encrypted-tbn3.google.com/images?q=tbn:ANd9GcSj-bftPUhVNUFIN_sFtOz0g0QCAG3kbSgoNZ68gT0Szpl4_87NiA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35" cstate="screen"/>
          <a:srcRect/>
          <a:stretch>
            <a:fillRect/>
          </a:stretch>
        </p:blipFill>
        <p:spPr bwMode="gray">
          <a:xfrm>
            <a:off x="3186821" y="4279901"/>
            <a:ext cx="2171492" cy="496640"/>
          </a:xfrm>
          <a:prstGeom prst="rect">
            <a:avLst/>
          </a:prstGeom>
          <a:noFill/>
        </p:spPr>
      </p:pic>
      <p:pic>
        <p:nvPicPr>
          <p:cNvPr id="114697" name="Picture 9" descr="https://encrypted-tbn3.google.com/images?q=tbn:ANd9GcTEX1zsDjWrFznUBAa3SoDoO4rhXsm0mo6rpb1MjYcxILC7QBeA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36" cstate="screen"/>
          <a:srcRect/>
          <a:stretch>
            <a:fillRect/>
          </a:stretch>
        </p:blipFill>
        <p:spPr bwMode="gray">
          <a:xfrm>
            <a:off x="5793921" y="3560763"/>
            <a:ext cx="1280624" cy="929871"/>
          </a:xfrm>
          <a:prstGeom prst="rect">
            <a:avLst/>
          </a:prstGeom>
          <a:noFill/>
        </p:spPr>
      </p:pic>
      <p:pic>
        <p:nvPicPr>
          <p:cNvPr id="114695" name="Picture 7" descr="https://encrypted-tbn3.google.com/images?q=tbn:ANd9GcSuJHczHUq_zcS9Pc-5I_EyyRvuWfK20LZmQsTTTFJKgi3G-2BMJQ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37" cstate="screen"/>
          <a:srcRect/>
          <a:stretch>
            <a:fillRect/>
          </a:stretch>
        </p:blipFill>
        <p:spPr bwMode="gray">
          <a:xfrm>
            <a:off x="2243548" y="5626100"/>
            <a:ext cx="2499017" cy="969010"/>
          </a:xfrm>
          <a:prstGeom prst="rect">
            <a:avLst/>
          </a:prstGeom>
          <a:noFill/>
        </p:spPr>
      </p:pic>
      <p:pic>
        <p:nvPicPr>
          <p:cNvPr id="114691" name="Picture 3" descr="https://encrypted-tbn3.google.com/images?q=tbn:ANd9GcTNqCk1Xm9b8PuTLGsOWrzdwzhU9GElYoB9nkcsDXPFtZO0Yu_P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38" cstate="screen"/>
          <a:srcRect/>
          <a:stretch>
            <a:fillRect/>
          </a:stretch>
        </p:blipFill>
        <p:spPr bwMode="gray">
          <a:xfrm>
            <a:off x="27021" y="1333500"/>
            <a:ext cx="1222427" cy="1233488"/>
          </a:xfrm>
          <a:prstGeom prst="rect">
            <a:avLst/>
          </a:prstGeom>
          <a:noFill/>
        </p:spPr>
      </p:pic>
      <p:sp>
        <p:nvSpPr>
          <p:cNvPr id="580609" name="Rectangle 5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gray"/>
        <p:txBody>
          <a:bodyPr/>
          <a:lstStyle/>
          <a:p>
            <a:pPr eaLnBrk="1" hangingPunct="1"/>
            <a:r>
              <a:rPr lang="en-US" dirty="0" smtClean="0"/>
              <a:t>Many examples of recent decisions by North American companies to rethink their production locations ...</a:t>
            </a:r>
          </a:p>
        </p:txBody>
      </p:sp>
      <p:sp>
        <p:nvSpPr>
          <p:cNvPr id="580610" name="BCG_FootNote_Box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71637" y="6319838"/>
            <a:ext cx="8959452" cy="3286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>
              <a:lnSpc>
                <a:spcPct val="90000"/>
              </a:lnSpc>
            </a:pPr>
            <a:endParaRPr lang="en-US" sz="800" dirty="0">
              <a:solidFill>
                <a:srgbClr val="000000"/>
              </a:solidFill>
            </a:endParaRPr>
          </a:p>
          <a:p>
            <a:pPr eaLnBrk="0" hangingPunct="0">
              <a:lnSpc>
                <a:spcPct val="90000"/>
              </a:lnSpc>
            </a:pPr>
            <a:r>
              <a:rPr lang="en-US" sz="800" dirty="0">
                <a:solidFill>
                  <a:srgbClr val="000000"/>
                </a:solidFill>
              </a:rPr>
              <a:t>Source: Press search; company websites</a:t>
            </a:r>
          </a:p>
        </p:txBody>
      </p:sp>
      <p:pic>
        <p:nvPicPr>
          <p:cNvPr id="638978" name="Picture 2" descr="http://portal.pinncorp.com/pinnacle/Portals/0/pinn/ncr_logo.gif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39" cstate="screen"/>
          <a:srcRect/>
          <a:stretch>
            <a:fillRect/>
          </a:stretch>
        </p:blipFill>
        <p:spPr bwMode="gray">
          <a:xfrm>
            <a:off x="1151588" y="1262080"/>
            <a:ext cx="1794524" cy="1783085"/>
          </a:xfrm>
          <a:prstGeom prst="rect">
            <a:avLst/>
          </a:prstGeom>
          <a:noFill/>
        </p:spPr>
      </p:pic>
      <p:pic>
        <p:nvPicPr>
          <p:cNvPr id="638998" name="Picture 22" descr="http://www.best-camping-tents-review.bestoffblog.info/wp-content/uploads/2011/09/coleman-camping-equipment.jpeg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40" cstate="screen"/>
          <a:srcRect/>
          <a:stretch>
            <a:fillRect/>
          </a:stretch>
        </p:blipFill>
        <p:spPr bwMode="gray">
          <a:xfrm>
            <a:off x="3398214" y="3493828"/>
            <a:ext cx="2405533" cy="778135"/>
          </a:xfrm>
          <a:prstGeom prst="rect">
            <a:avLst/>
          </a:prstGeom>
          <a:noFill/>
        </p:spPr>
      </p:pic>
      <p:pic>
        <p:nvPicPr>
          <p:cNvPr id="639000" name="Picture 24" descr="http://www.seeklogo.com/images/F/Farouk_Systems-logo-E5E3421176-seeklogo.com.gif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41" cstate="screen"/>
          <a:srcRect t="28901" b="30048"/>
          <a:stretch>
            <a:fillRect/>
          </a:stretch>
        </p:blipFill>
        <p:spPr bwMode="gray">
          <a:xfrm>
            <a:off x="7543518" y="1191024"/>
            <a:ext cx="1917048" cy="762880"/>
          </a:xfrm>
          <a:prstGeom prst="rect">
            <a:avLst/>
          </a:prstGeom>
          <a:noFill/>
        </p:spPr>
      </p:pic>
      <p:pic>
        <p:nvPicPr>
          <p:cNvPr id="639006" name="Picture 30" descr="http://sleek-audio.com/wp-content/uploads/2008/12/1-Sleek-Sphere-Day-resized.jp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42" cstate="screen"/>
          <a:srcRect t="19647" b="22230"/>
          <a:stretch>
            <a:fillRect/>
          </a:stretch>
        </p:blipFill>
        <p:spPr bwMode="gray">
          <a:xfrm>
            <a:off x="7858479" y="4508501"/>
            <a:ext cx="1822399" cy="1026805"/>
          </a:xfrm>
          <a:prstGeom prst="rect">
            <a:avLst/>
          </a:prstGeom>
          <a:noFill/>
        </p:spPr>
      </p:pic>
      <p:sp>
        <p:nvSpPr>
          <p:cNvPr id="59" name="Rectangle 3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6893111" y="1699667"/>
            <a:ext cx="2751212" cy="456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/>
          <a:lstStyle/>
          <a:p>
            <a:endParaRPr lang="en-US" sz="1200" b="1" dirty="0">
              <a:solidFill>
                <a:srgbClr val="000000"/>
              </a:solidFill>
            </a:endParaRPr>
          </a:p>
          <a:p>
            <a:endParaRPr lang="en-US" sz="1200" b="1" dirty="0">
              <a:solidFill>
                <a:srgbClr val="000000"/>
              </a:solidFill>
            </a:endParaRPr>
          </a:p>
          <a:p>
            <a:endParaRPr lang="en-US" sz="1200" b="1" dirty="0">
              <a:solidFill>
                <a:srgbClr val="000000"/>
              </a:solidFill>
            </a:endParaRPr>
          </a:p>
          <a:p>
            <a:endParaRPr lang="en-US" sz="1200" b="1" dirty="0">
              <a:solidFill>
                <a:srgbClr val="000000"/>
              </a:solidFill>
            </a:endParaRPr>
          </a:p>
          <a:p>
            <a:endParaRPr lang="en-US" sz="1200" b="1" dirty="0">
              <a:solidFill>
                <a:srgbClr val="000000"/>
              </a:solidFill>
            </a:endParaRPr>
          </a:p>
          <a:p>
            <a:pPr>
              <a:buClr>
                <a:srgbClr val="177B57"/>
              </a:buClr>
            </a:pPr>
            <a:endParaRPr lang="en-US" sz="1200" b="1" dirty="0">
              <a:solidFill>
                <a:srgbClr val="000000"/>
              </a:solidFill>
            </a:endParaRPr>
          </a:p>
          <a:p>
            <a:pPr>
              <a:buClr>
                <a:srgbClr val="177B57"/>
              </a:buClr>
            </a:pPr>
            <a:endParaRPr lang="en-US" sz="1200" b="1" dirty="0">
              <a:solidFill>
                <a:srgbClr val="000000"/>
              </a:solidFill>
            </a:endParaRPr>
          </a:p>
          <a:p>
            <a:pPr>
              <a:buClr>
                <a:srgbClr val="177B57"/>
              </a:buClr>
            </a:pPr>
            <a:endParaRPr lang="en-US" sz="1200" b="1" dirty="0">
              <a:solidFill>
                <a:srgbClr val="000000"/>
              </a:solidFill>
            </a:endParaRPr>
          </a:p>
          <a:p>
            <a:pPr>
              <a:buClr>
                <a:srgbClr val="177B57"/>
              </a:buClr>
            </a:pPr>
            <a:r>
              <a:rPr lang="en-US" sz="1000" dirty="0" smtClean="0">
                <a:solidFill>
                  <a:srgbClr val="000000"/>
                </a:solidFill>
              </a:rPr>
              <a:t> </a:t>
            </a:r>
            <a:endParaRPr lang="en-US" sz="1000" dirty="0">
              <a:solidFill>
                <a:srgbClr val="000000"/>
              </a:solidFill>
            </a:endParaRPr>
          </a:p>
          <a:p>
            <a:pPr>
              <a:buClr>
                <a:srgbClr val="177B57"/>
              </a:buClr>
            </a:pPr>
            <a:endParaRPr lang="en-US" sz="1000" dirty="0">
              <a:solidFill>
                <a:srgbClr val="000000"/>
              </a:solidFill>
            </a:endParaRPr>
          </a:p>
          <a:p>
            <a:pPr>
              <a:buClr>
                <a:srgbClr val="177B57"/>
              </a:buClr>
            </a:pPr>
            <a:endParaRPr lang="en-US" sz="1000" dirty="0">
              <a:solidFill>
                <a:srgbClr val="000000"/>
              </a:solidFill>
            </a:endParaRPr>
          </a:p>
          <a:p>
            <a:pPr>
              <a:buClr>
                <a:srgbClr val="177B57"/>
              </a:buClr>
            </a:pPr>
            <a:endParaRPr lang="en-US" sz="1000" dirty="0">
              <a:solidFill>
                <a:srgbClr val="000000"/>
              </a:solidFill>
            </a:endParaRPr>
          </a:p>
          <a:p>
            <a:pPr>
              <a:buClr>
                <a:srgbClr val="177B57"/>
              </a:buClr>
            </a:pPr>
            <a:endParaRPr lang="en-US" sz="1200" b="1" dirty="0">
              <a:solidFill>
                <a:srgbClr val="000000"/>
              </a:solidFill>
            </a:endParaRPr>
          </a:p>
        </p:txBody>
      </p:sp>
      <p:pic>
        <p:nvPicPr>
          <p:cNvPr id="83974" name="Picture 6" descr="http://upload.wikimedia.org/wikipedia/en/thumb/f/ff/General_Electric_logo.svg/240px-General_Electric_logo.svg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43" cstate="screen"/>
          <a:srcRect/>
          <a:stretch>
            <a:fillRect/>
          </a:stretch>
        </p:blipFill>
        <p:spPr bwMode="gray">
          <a:xfrm>
            <a:off x="237690" y="4232685"/>
            <a:ext cx="2223428" cy="2155372"/>
          </a:xfrm>
          <a:prstGeom prst="rect">
            <a:avLst/>
          </a:prstGeom>
          <a:noFill/>
        </p:spPr>
      </p:pic>
      <p:pic>
        <p:nvPicPr>
          <p:cNvPr id="638982" name="Picture 6" descr="http://www.muscularmustangs.com/database/fordlogo2003.jpg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44" cstate="screen"/>
          <a:srcRect l="8767" t="15708" r="8644" b="17533"/>
          <a:stretch>
            <a:fillRect/>
          </a:stretch>
        </p:blipFill>
        <p:spPr bwMode="gray">
          <a:xfrm>
            <a:off x="3100397" y="2402006"/>
            <a:ext cx="2807255" cy="1101489"/>
          </a:xfrm>
          <a:prstGeom prst="rect">
            <a:avLst/>
          </a:prstGeom>
          <a:noFill/>
        </p:spPr>
      </p:pic>
      <p:pic>
        <p:nvPicPr>
          <p:cNvPr id="638984" name="Picture 8" descr="Flextronics">
            <a:hlinkClick r:id="rId45"/>
          </p:cNvPr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46" cstate="screen"/>
          <a:srcRect/>
          <a:stretch>
            <a:fillRect/>
          </a:stretch>
        </p:blipFill>
        <p:spPr bwMode="gray">
          <a:xfrm>
            <a:off x="211213" y="3247236"/>
            <a:ext cx="1837416" cy="171450"/>
          </a:xfrm>
          <a:prstGeom prst="rect">
            <a:avLst/>
          </a:prstGeom>
          <a:noFill/>
        </p:spPr>
      </p:pic>
      <p:pic>
        <p:nvPicPr>
          <p:cNvPr id="638986" name="Picture 10" descr="http://www.chicagoinnovationawards.com/wp-content/uploads/2010/02/Master-Lock-logo.png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47" cstate="screen"/>
          <a:srcRect/>
          <a:stretch>
            <a:fillRect/>
          </a:stretch>
        </p:blipFill>
        <p:spPr bwMode="gray">
          <a:xfrm>
            <a:off x="4952180" y="5871197"/>
            <a:ext cx="1938226" cy="448918"/>
          </a:xfrm>
          <a:prstGeom prst="rect">
            <a:avLst/>
          </a:prstGeom>
          <a:noFill/>
        </p:spPr>
      </p:pic>
      <p:pic>
        <p:nvPicPr>
          <p:cNvPr id="638988" name="Picture 12" descr="Sauder Home and Office Furniture, Including Office Desks, TV Stands and Bookcases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48" cstate="screen"/>
          <a:srcRect t="19435" b="22760"/>
          <a:stretch>
            <a:fillRect/>
          </a:stretch>
        </p:blipFill>
        <p:spPr bwMode="gray">
          <a:xfrm>
            <a:off x="7230492" y="3853851"/>
            <a:ext cx="2161666" cy="501041"/>
          </a:xfrm>
          <a:prstGeom prst="rect">
            <a:avLst/>
          </a:prstGeom>
          <a:noFill/>
        </p:spPr>
      </p:pic>
      <p:pic>
        <p:nvPicPr>
          <p:cNvPr id="638990" name="Picture 14" descr="http://3.bp.blogspot.com/_tRlky1tMPAI/SdOY9Y5kL2I/AAAAAAAACR0/3bSgDHdJvbU/s400/cbc-logo.gif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49" cstate="screen"/>
          <a:srcRect/>
          <a:stretch>
            <a:fillRect/>
          </a:stretch>
        </p:blipFill>
        <p:spPr bwMode="gray">
          <a:xfrm>
            <a:off x="6165078" y="2783752"/>
            <a:ext cx="3415753" cy="411756"/>
          </a:xfrm>
          <a:prstGeom prst="rect">
            <a:avLst/>
          </a:prstGeom>
          <a:noFill/>
        </p:spPr>
      </p:pic>
      <p:pic>
        <p:nvPicPr>
          <p:cNvPr id="638992" name="Picture 16" descr="http://www.alfi.com/v/vspfiles/assets/images/all_clad_logo(1).jp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50" cstate="screen"/>
          <a:srcRect/>
          <a:stretch>
            <a:fillRect/>
          </a:stretch>
        </p:blipFill>
        <p:spPr bwMode="gray">
          <a:xfrm>
            <a:off x="2149205" y="3464486"/>
            <a:ext cx="1088894" cy="739568"/>
          </a:xfrm>
          <a:prstGeom prst="rect">
            <a:avLst/>
          </a:prstGeom>
          <a:noFill/>
        </p:spPr>
      </p:pic>
      <p:pic>
        <p:nvPicPr>
          <p:cNvPr id="639002" name="Picture 26" descr="http://sc-marketing.s3.amazonaws.com/OGR_Red_and_Black_Logo.jpg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51" cstate="screen"/>
          <a:srcRect/>
          <a:stretch>
            <a:fillRect/>
          </a:stretch>
        </p:blipFill>
        <p:spPr bwMode="gray">
          <a:xfrm>
            <a:off x="2919894" y="1146412"/>
            <a:ext cx="2969447" cy="1225981"/>
          </a:xfrm>
          <a:prstGeom prst="rect">
            <a:avLst/>
          </a:prstGeom>
          <a:noFill/>
        </p:spPr>
      </p:pic>
      <p:pic>
        <p:nvPicPr>
          <p:cNvPr id="639008" name="Picture 32" descr="http://audiovisual.ivci.com/images/partnerLogos/avlogopeerless.gif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52" cstate="screen"/>
          <a:srcRect/>
          <a:stretch>
            <a:fillRect/>
          </a:stretch>
        </p:blipFill>
        <p:spPr bwMode="gray">
          <a:xfrm>
            <a:off x="7141262" y="5895830"/>
            <a:ext cx="1295648" cy="418664"/>
          </a:xfrm>
          <a:prstGeom prst="rect">
            <a:avLst/>
          </a:prstGeom>
          <a:noFill/>
        </p:spPr>
      </p:pic>
      <p:pic>
        <p:nvPicPr>
          <p:cNvPr id="639012" name="Picture 36" descr="http://www.triplepundit.com/wordpress/wp-content/uploads/2010/10/et-water-150x90.jpg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53" cstate="screen"/>
          <a:srcRect t="25428" b="18985"/>
          <a:stretch>
            <a:fillRect/>
          </a:stretch>
        </p:blipFill>
        <p:spPr bwMode="gray">
          <a:xfrm>
            <a:off x="295653" y="3680292"/>
            <a:ext cx="1713108" cy="553868"/>
          </a:xfrm>
          <a:prstGeom prst="rect">
            <a:avLst/>
          </a:prstGeom>
          <a:noFill/>
        </p:spPr>
      </p:pic>
      <p:pic>
        <p:nvPicPr>
          <p:cNvPr id="639014" name="Picture 38" descr="http://www.amforelectronics.com/images/header_r1_c1.jpg">
            <a:hlinkClick r:id="rId54"/>
          </p:cNvPr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55" cstate="screen"/>
          <a:srcRect l="12667" r="16206"/>
          <a:stretch>
            <a:fillRect/>
          </a:stretch>
        </p:blipFill>
        <p:spPr bwMode="gray">
          <a:xfrm>
            <a:off x="2632513" y="4722561"/>
            <a:ext cx="1049557" cy="755572"/>
          </a:xfrm>
          <a:prstGeom prst="rect">
            <a:avLst/>
          </a:prstGeom>
          <a:noFill/>
        </p:spPr>
      </p:pic>
      <p:pic>
        <p:nvPicPr>
          <p:cNvPr id="639019" name="Picture 43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56" cstate="screen"/>
          <a:srcRect l="11620" t="19606" r="66091" b="74281"/>
          <a:stretch>
            <a:fillRect/>
          </a:stretch>
        </p:blipFill>
        <p:spPr bwMode="gray">
          <a:xfrm>
            <a:off x="7322732" y="3343701"/>
            <a:ext cx="1678641" cy="2789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539" name="Picture 3"/>
          <p:cNvPicPr>
            <a:picLocks noChangeAspect="1" noChangeArrowheads="1"/>
          </p:cNvPicPr>
          <p:nvPr>
            <p:custDataLst>
              <p:tags r:id="rId26"/>
            </p:custDataLst>
          </p:nvPr>
        </p:nvPicPr>
        <p:blipFill>
          <a:blip r:embed="rId57" cstate="screen"/>
          <a:srcRect l="2613" t="14492" r="3914" b="9160"/>
          <a:stretch>
            <a:fillRect/>
          </a:stretch>
        </p:blipFill>
        <p:spPr bwMode="gray">
          <a:xfrm>
            <a:off x="3829405" y="4694830"/>
            <a:ext cx="2407457" cy="928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543" name="Picture 7" descr="http://www.rebeloil.com/images/pic_ashland_logo.jpg"/>
          <p:cNvPicPr>
            <a:picLocks noChangeAspect="1" noChangeArrowheads="1"/>
          </p:cNvPicPr>
          <p:nvPr>
            <p:custDataLst>
              <p:tags r:id="rId27"/>
            </p:custDataLst>
          </p:nvPr>
        </p:nvPicPr>
        <p:blipFill>
          <a:blip r:embed="rId58" cstate="screen"/>
          <a:srcRect/>
          <a:stretch>
            <a:fillRect/>
          </a:stretch>
        </p:blipFill>
        <p:spPr bwMode="gray">
          <a:xfrm>
            <a:off x="5808013" y="1339859"/>
            <a:ext cx="1564091" cy="357154"/>
          </a:xfrm>
          <a:prstGeom prst="rect">
            <a:avLst/>
          </a:prstGeom>
          <a:noFill/>
        </p:spPr>
      </p:pic>
      <p:pic>
        <p:nvPicPr>
          <p:cNvPr id="114699" name="Picture 11" descr="https://encrypted-tbn0.google.com/images?q=tbn:ANd9GcRAJ60RZHzSDNCnEUzOl8DwAjywVxzOzB8P5b30ux4ei-BzhvmSDA"/>
          <p:cNvPicPr>
            <a:picLocks noChangeAspect="1" noChangeArrowheads="1"/>
          </p:cNvPicPr>
          <p:nvPr>
            <p:custDataLst>
              <p:tags r:id="rId28"/>
            </p:custDataLst>
          </p:nvPr>
        </p:nvPicPr>
        <p:blipFill>
          <a:blip r:embed="rId59" cstate="screen"/>
          <a:srcRect/>
          <a:stretch>
            <a:fillRect/>
          </a:stretch>
        </p:blipFill>
        <p:spPr bwMode="gray">
          <a:xfrm>
            <a:off x="6606184" y="4689474"/>
            <a:ext cx="1018603" cy="987426"/>
          </a:xfrm>
          <a:prstGeom prst="rect">
            <a:avLst/>
          </a:prstGeom>
          <a:noFill/>
        </p:spPr>
      </p:pic>
      <p:pic>
        <p:nvPicPr>
          <p:cNvPr id="114705" name="Picture 17" descr="https://encrypted-tbn3.google.com/images?q=tbn:ANd9GcSz2NqaxJiUde4IUy7BtqsiG21fvMJ9LCbln_9tg-9ra9eegzTrbA"/>
          <p:cNvPicPr>
            <a:picLocks noChangeAspect="1" noChangeArrowheads="1"/>
          </p:cNvPicPr>
          <p:nvPr>
            <p:custDataLst>
              <p:tags r:id="rId29"/>
            </p:custDataLst>
          </p:nvPr>
        </p:nvPicPr>
        <p:blipFill>
          <a:blip r:embed="rId60" cstate="screen"/>
          <a:srcRect/>
          <a:stretch>
            <a:fillRect/>
          </a:stretch>
        </p:blipFill>
        <p:spPr bwMode="gray">
          <a:xfrm>
            <a:off x="6042841" y="2035175"/>
            <a:ext cx="2033931" cy="609600"/>
          </a:xfrm>
          <a:prstGeom prst="rect">
            <a:avLst/>
          </a:prstGeom>
          <a:noFill/>
        </p:spPr>
      </p:pic>
      <p:pic>
        <p:nvPicPr>
          <p:cNvPr id="114711" name="Picture 23" descr="https://encrypted-tbn1.google.com/images?q=tbn:ANd9GcR4W4dECuTpZMNtz9_SfIAH0YKlXLlOuZV9rR81oGP7rPlfXsIj"/>
          <p:cNvPicPr>
            <a:picLocks noChangeAspect="1" noChangeArrowheads="1"/>
          </p:cNvPicPr>
          <p:nvPr>
            <p:custDataLst>
              <p:tags r:id="rId30"/>
            </p:custDataLst>
          </p:nvPr>
        </p:nvPicPr>
        <p:blipFill>
          <a:blip r:embed="rId61" cstate="screen"/>
          <a:srcRect/>
          <a:stretch>
            <a:fillRect/>
          </a:stretch>
        </p:blipFill>
        <p:spPr bwMode="gray">
          <a:xfrm>
            <a:off x="8322415" y="5641976"/>
            <a:ext cx="1414909" cy="923925"/>
          </a:xfrm>
          <a:prstGeom prst="rect">
            <a:avLst/>
          </a:prstGeom>
          <a:noFill/>
        </p:spPr>
      </p:pic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13666" name="think-cell Slide" r:id="rId58" imgW="360" imgH="360" progId="TCLayout.ActiveDocument.1">
              <p:embed/>
            </p:oleObj>
          </a:graphicData>
        </a:graphic>
      </p:graphicFrame>
      <p:sp>
        <p:nvSpPr>
          <p:cNvPr id="30" name="Rectangle 29" hidden="1"/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7200" y="170626"/>
            <a:ext cx="8992800" cy="831600"/>
          </a:xfrm>
        </p:spPr>
        <p:txBody>
          <a:bodyPr/>
          <a:lstStyle/>
          <a:p>
            <a:r>
              <a:rPr lang="en-US" dirty="0" smtClean="0"/>
              <a:t>The US labor market is the most attractive of all major developed-world manufacturers</a:t>
            </a:r>
            <a:endParaRPr lang="en-US" dirty="0"/>
          </a:p>
        </p:txBody>
      </p:sp>
      <p:sp>
        <p:nvSpPr>
          <p:cNvPr id="97" name="BCG_FootNote_Box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76250" y="6333392"/>
            <a:ext cx="8959295" cy="3286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000000"/>
                </a:solidFill>
              </a:rPr>
              <a:t>Note: Fully loaded wages from </a:t>
            </a:r>
            <a:r>
              <a:rPr lang="en-US" sz="800" dirty="0" err="1" smtClean="0">
                <a:solidFill>
                  <a:srgbClr val="000000"/>
                </a:solidFill>
              </a:rPr>
              <a:t>EIU</a:t>
            </a:r>
            <a:r>
              <a:rPr lang="en-US" sz="800" dirty="0" smtClean="0">
                <a:solidFill>
                  <a:srgbClr val="000000"/>
                </a:solidFill>
              </a:rPr>
              <a:t>. US wages are average for southern states</a:t>
            </a: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b="0" dirty="0" smtClean="0">
                <a:solidFill>
                  <a:srgbClr val="000000"/>
                </a:solidFill>
              </a:rPr>
              <a:t>1. Productivity indexed to US productivity. Projected from 2010–2015</a:t>
            </a: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b="0" dirty="0" smtClean="0">
                <a:solidFill>
                  <a:srgbClr val="000000"/>
                </a:solidFill>
              </a:rPr>
              <a:t>Source: </a:t>
            </a:r>
            <a:r>
              <a:rPr lang="en-US" sz="800" b="0" dirty="0" err="1" smtClean="0">
                <a:solidFill>
                  <a:srgbClr val="000000"/>
                </a:solidFill>
              </a:rPr>
              <a:t>ILO</a:t>
            </a:r>
            <a:r>
              <a:rPr lang="en-US" sz="800" b="0" dirty="0" smtClean="0">
                <a:solidFill>
                  <a:srgbClr val="000000"/>
                </a:solidFill>
              </a:rPr>
              <a:t>; </a:t>
            </a:r>
            <a:r>
              <a:rPr lang="en-US" sz="800" b="0" dirty="0" err="1" smtClean="0">
                <a:solidFill>
                  <a:srgbClr val="000000"/>
                </a:solidFill>
              </a:rPr>
              <a:t>EIU</a:t>
            </a:r>
            <a:r>
              <a:rPr lang="en-US" sz="800" dirty="0" smtClean="0">
                <a:solidFill>
                  <a:srgbClr val="000000"/>
                </a:solidFill>
              </a:rPr>
              <a:t>; </a:t>
            </a:r>
            <a:r>
              <a:rPr lang="en-GB" sz="800" dirty="0" smtClean="0">
                <a:solidFill>
                  <a:srgbClr val="000000"/>
                </a:solidFill>
              </a:rPr>
              <a:t>2011 Fraser Institute Economic Freedom ratings; </a:t>
            </a:r>
            <a:r>
              <a:rPr lang="en-US" sz="800" b="0" dirty="0" smtClean="0">
                <a:solidFill>
                  <a:srgbClr val="000000"/>
                </a:solidFill>
              </a:rPr>
              <a:t>BCG analysis</a:t>
            </a:r>
            <a:endParaRPr lang="en-US" sz="800" b="0" dirty="0">
              <a:solidFill>
                <a:srgbClr val="000000"/>
              </a:solidFill>
            </a:endParaRPr>
          </a:p>
        </p:txBody>
      </p:sp>
      <p:graphicFrame>
        <p:nvGraphicFramePr>
          <p:cNvPr id="76" name="Object 75"/>
          <p:cNvGraphicFramePr>
            <a:graphicFrameLocks noChangeAspect="1"/>
          </p:cNvGraphicFramePr>
          <p:nvPr/>
        </p:nvGraphicFramePr>
        <p:xfrm>
          <a:off x="639762" y="2609850"/>
          <a:ext cx="3581426" cy="3190939"/>
        </p:xfrm>
        <a:graphic>
          <a:graphicData uri="http://schemas.openxmlformats.org/presentationml/2006/ole">
            <p:oleObj spid="_x0000_s113667" name="Chart" r:id="rId59" imgW="3581426" imgH="3190939" progId="MSGraph.Chart.8">
              <p:embed followColorScheme="full"/>
            </p:oleObj>
          </a:graphicData>
        </a:graphic>
      </p:graphicFrame>
      <p:sp>
        <p:nvSpPr>
          <p:cNvPr id="79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19101" y="2325689"/>
            <a:ext cx="4130675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b="0" dirty="0" smtClean="0">
                <a:solidFill>
                  <a:srgbClr val="000000"/>
                </a:solidFill>
                <a:latin typeface="Arial"/>
                <a:sym typeface="Arial"/>
              </a:rPr>
              <a:t>2015 productivity-adjusted wages (index, US = 100)</a:t>
            </a:r>
            <a:r>
              <a:rPr lang="en-US" sz="1400" b="0" baseline="30000" dirty="0" smtClean="0"/>
              <a:t>1</a:t>
            </a:r>
            <a:endParaRPr lang="en-US" sz="1400" b="0" noProof="0" dirty="0">
              <a:latin typeface="Arial"/>
              <a:sym typeface="Arial"/>
            </a:endParaRPr>
          </a:p>
        </p:txBody>
      </p:sp>
      <p:sp>
        <p:nvSpPr>
          <p:cNvPr id="70" name="Text Placeholder 67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19100" y="2614612"/>
            <a:ext cx="252412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7234752-FAB6-4C29-8116-6385122C41D3}" type="datetime'''''''''2''''''''''''0''''''''''''0''''''''''''''''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200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07" name="Text Placeholder 105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19100" y="3348037"/>
            <a:ext cx="252412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1A14A4E-F0A0-4C28-B59C-6FC29874364D}" type="datetime'''''''''1''''''''''5''''''''''''''''''''0''''''''''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150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105" name="Text Placeholder 103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19100" y="4081462"/>
            <a:ext cx="252412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63C2B66-416B-4767-A405-3502CDC778A0}" type="datetime'''''''''''1''''''''''''''''''''''''''''''''''''''00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03" name="Text Placeholder 101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03237" y="4814887"/>
            <a:ext cx="168275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F885E1D-D514-4420-A173-B2721AE7F085}" type="datetime'''''''''''''''''''''''''''''''5''0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50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87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87375" y="5548312"/>
            <a:ext cx="84137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164CC42-9838-49A0-AD62-B30477CDC7D6}" type="datetime'''''''''''''''''''''''''''''''''''''''''''''0''''''''''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200" b="0" noProof="0" dirty="0">
              <a:latin typeface="Arial"/>
              <a:sym typeface="Arial"/>
            </a:endParaRPr>
          </a:p>
        </p:txBody>
      </p:sp>
      <p:sp>
        <p:nvSpPr>
          <p:cNvPr id="78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484562" y="5778500"/>
            <a:ext cx="425450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052E32F-8F3F-4EC2-B5EC-B48B166C4ECD}" type="datetime'''''J''''''''''''a''''''''''''''''''p''''''''a''''''''n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Japan</a:t>
            </a:fld>
            <a:endParaRPr lang="en-US" sz="1200" b="0" noProof="0" dirty="0">
              <a:latin typeface="Arial"/>
              <a:sym typeface="Arial"/>
            </a:endParaRPr>
          </a:p>
        </p:txBody>
      </p:sp>
      <p:sp>
        <p:nvSpPr>
          <p:cNvPr id="85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541712" y="4267200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9CC4586-99C2-483D-8E39-7FD3DD43A82D}" type="datetime'''''''''''''''''1''''''''''''''''''''''''7''''''''''''5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75</a:t>
            </a:fld>
            <a:endParaRPr lang="en-US" sz="1200" b="0" noProof="0" dirty="0">
              <a:latin typeface="Arial"/>
              <a:sym typeface="Arial"/>
            </a:endParaRPr>
          </a:p>
        </p:txBody>
      </p:sp>
      <p:sp>
        <p:nvSpPr>
          <p:cNvPr id="81" name="Text Placeholder 79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625115" y="5778500"/>
            <a:ext cx="485775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4CB6696-28C2-4AEC-A658-371738DAB1F6}" type="datetime'''''''F''''''''''''''r''''''a''''n''''''c''''''''e''''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France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83" name="Text Placeholder 81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713037" y="4419600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E138601-6C02-4A36-AE51-5E8FF619A9EE}" type="datetime'''''''15''''''''''''''''''''4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54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62" name="Text Placeholder 60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716233" y="5778500"/>
            <a:ext cx="638175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DE5E645-8E6C-41E4-963F-145FDA12FB15}" type="datetime'''G''e''''r''''ma''''''''''''''''''n''''y''''''''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Germany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65" name="Text Placeholder 6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879600" y="4448175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B453DBC-C8E0-4893-8994-D8AB881BD73D}" type="datetime'''''''''''''''''1''''''''''''''''''''''''''''''''50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50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29" name="Text Placeholder 127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90612" y="5778500"/>
            <a:ext cx="223837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6D41415-EDFC-46BF-BEE7-43F02CEF9CAA}" type="datetime'''''''''''''''''U''''''''''''''''''''''''''''K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UK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31" name="Text Placeholder 129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46162" y="4614862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3F9C273-63F2-4A3F-8B74-A7D200718EEE}" type="datetime'''1''''''''''''''''''''''27''''''''''''''''''''''''''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27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64" name="Rectangle 3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240897" y="1371999"/>
            <a:ext cx="4453742" cy="61555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400" b="1" dirty="0" smtClean="0"/>
              <a:t>Labor costs in other major manuf.  economies are </a:t>
            </a:r>
          </a:p>
          <a:p>
            <a:pPr algn="ctr"/>
            <a:r>
              <a:rPr lang="en-US" sz="1400" b="1" dirty="0" smtClean="0"/>
              <a:t>1.3–1.9 times higher than in the US ...</a:t>
            </a:r>
            <a:endParaRPr lang="en-US" sz="1400" b="1" dirty="0"/>
          </a:p>
        </p:txBody>
      </p:sp>
      <p:sp>
        <p:nvSpPr>
          <p:cNvPr id="66" name="Rectangle 5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5166911" y="1371999"/>
            <a:ext cx="4453742" cy="61555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>
              <a:defRPr/>
            </a:pPr>
            <a:r>
              <a:rPr lang="en-US" sz="1400" b="1" kern="0" dirty="0" smtClean="0">
                <a:latin typeface="Arial" pitchFamily="34" charset="0"/>
                <a:cs typeface="Arial" pitchFamily="34" charset="0"/>
              </a:rPr>
              <a:t>... and the US benefits from a comparatively flexible labor market</a:t>
            </a:r>
            <a:endParaRPr lang="en-US" sz="1400" b="1" dirty="0" smtClean="0"/>
          </a:p>
        </p:txBody>
      </p:sp>
      <p:graphicFrame>
        <p:nvGraphicFramePr>
          <p:cNvPr id="112" name="Object 111"/>
          <p:cNvGraphicFramePr>
            <a:graphicFrameLocks noChangeAspect="1"/>
          </p:cNvGraphicFramePr>
          <p:nvPr/>
        </p:nvGraphicFramePr>
        <p:xfrm>
          <a:off x="5376862" y="2609850"/>
          <a:ext cx="3581426" cy="3190939"/>
        </p:xfrm>
        <a:graphic>
          <a:graphicData uri="http://schemas.openxmlformats.org/presentationml/2006/ole">
            <p:oleObj spid="_x0000_s113668" name="Chart" r:id="rId60" imgW="3581426" imgH="3190939" progId="MSGraph.Chart.8">
              <p:embed followColorScheme="full"/>
            </p:oleObj>
          </a:graphicData>
        </a:graphic>
      </p:graphicFrame>
      <p:cxnSp>
        <p:nvCxnSpPr>
          <p:cNvPr id="90" name="Straight Connector 89"/>
          <p:cNvCxnSpPr/>
          <p:nvPr>
            <p:custDataLst>
              <p:tags r:id="rId21"/>
            </p:custDataLst>
          </p:nvPr>
        </p:nvCxnSpPr>
        <p:spPr bwMode="gray">
          <a:xfrm flipH="1">
            <a:off x="5529262" y="3000375"/>
            <a:ext cx="2770188" cy="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>
            <p:custDataLst>
              <p:tags r:id="rId22"/>
            </p:custDataLst>
          </p:nvPr>
        </p:nvCxnSpPr>
        <p:spPr bwMode="gray">
          <a:xfrm flipH="1">
            <a:off x="8570912" y="3000375"/>
            <a:ext cx="282575" cy="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ight Arrow 136"/>
          <p:cNvSpPr/>
          <p:nvPr>
            <p:custDataLst>
              <p:tags r:id="rId23"/>
            </p:custDataLst>
          </p:nvPr>
        </p:nvSpPr>
        <p:spPr bwMode="auto">
          <a:xfrm rot="10800000">
            <a:off x="8905875" y="2924175"/>
            <a:ext cx="128587" cy="152400"/>
          </a:xfrm>
          <a:prstGeom prst="rightArrow">
            <a:avLst>
              <a:gd name="adj1" fmla="val 100000"/>
              <a:gd name="adj2" fmla="val 84545"/>
            </a:avLst>
          </a:prstGeom>
          <a:solidFill>
            <a:srgbClr val="80808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17" name="Text Placeholder 6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240337" y="2325689"/>
            <a:ext cx="3814762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b="0" dirty="0" smtClean="0">
                <a:latin typeface="Arial"/>
                <a:sym typeface="Arial"/>
              </a:rPr>
              <a:t>Overall labor market regulation rating (max = 10)</a:t>
            </a:r>
            <a:endParaRPr lang="en-US" sz="1400" b="0" dirty="0">
              <a:latin typeface="Arial"/>
              <a:sym typeface="Arial"/>
            </a:endParaRPr>
          </a:p>
        </p:txBody>
      </p:sp>
      <p:sp>
        <p:nvSpPr>
          <p:cNvPr id="118" name="Text Placeholder 43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240337" y="2614612"/>
            <a:ext cx="168275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041D46B-3EEB-436F-94FD-77AF6F7D9F42}" type="datetime'''''''''''''1''''''''''''''''''''0''''''''''''''''''''''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119" name="Text Placeholder 41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5324475" y="3205162"/>
            <a:ext cx="84137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E14101A-FCB5-4488-8DE6-BA9F522E2170}" type="datetime'''''''8''''''''''''''''''''''''''''''''''''''''''''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120" name="Text Placeholder 39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324475" y="3786187"/>
            <a:ext cx="84137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E911A5E-793D-4FA3-A477-29B80E50D994}" type="datetime'''''''''''''''''''''''''''''6''''''''''''''''''''''''''''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121" name="Text Placeholder 37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324475" y="4376737"/>
            <a:ext cx="84137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8FAA640-67F3-4339-B65C-F392DC0D752C}" type="datetime'''''''''''''''''''4''''''''''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122" name="Text Placeholder 35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324475" y="4957762"/>
            <a:ext cx="84137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C75F30F-8E0B-4734-BAEB-862DEAA1C0CB}" type="datetime'''''''''''''''''''''''''''''''''''''''2''''''''''''''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123" name="Text Placeholder 8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5324475" y="5548312"/>
            <a:ext cx="84137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9932175-3A3C-4B6F-B1B0-C85693DBA8FE}" type="datetime'''0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106" name="Text Placeholder 103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5803900" y="3878262"/>
            <a:ext cx="271462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008E555-A009-4A50-9824-1C73D39BB696}" type="datetime'''''5''''''''''''''''''''''''''.''''''''''''''''''''''3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5.3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35" name="Text Placeholder 133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9083675" y="2727327"/>
            <a:ext cx="639762" cy="547687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0" dirty="0" smtClean="0">
                <a:latin typeface="Arial"/>
                <a:sym typeface="Arial"/>
              </a:rPr>
              <a:t>US = 9.0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0" dirty="0" smtClean="0">
                <a:latin typeface="Arial"/>
                <a:sym typeface="Arial"/>
              </a:rPr>
              <a:t>(5th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0" dirty="0" smtClean="0">
                <a:latin typeface="Arial"/>
                <a:sym typeface="Arial"/>
              </a:rPr>
              <a:t>ranked)</a:t>
            </a:r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114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221662" y="5778500"/>
            <a:ext cx="425450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16BAF5F-0069-4927-9FF0-A4FE21F5DC49}" type="datetime'''''Ja''''''''''''p''''''''''''a''''''n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Japan</a:t>
            </a:fld>
            <a:endParaRPr lang="en-US" sz="1200" b="0" noProof="0" dirty="0">
              <a:latin typeface="Arial"/>
              <a:sym typeface="Arial"/>
            </a:endParaRPr>
          </a:p>
        </p:txBody>
      </p:sp>
      <p:sp>
        <p:nvSpPr>
          <p:cNvPr id="113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8299450" y="2963862"/>
            <a:ext cx="271462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BFB3089-46E4-4D64-9BC7-B5A29CB72D44}" type="datetime'''''''''''''8''''''''''.''''''''''''4''''''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8.4</a:t>
            </a:fld>
            <a:endParaRPr lang="en-US" sz="1200" b="0" noProof="0" dirty="0">
              <a:latin typeface="Arial"/>
              <a:sym typeface="Arial"/>
            </a:endParaRPr>
          </a:p>
        </p:txBody>
      </p:sp>
      <p:sp>
        <p:nvSpPr>
          <p:cNvPr id="132" name="Text Placeholder 21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494587" y="5778500"/>
            <a:ext cx="223837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A686BC7-7AC0-4903-87C9-94B0BC5A12A7}" type="datetime'''''''''''''''''''UK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UK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133" name="Text Placeholder 439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470775" y="3030537"/>
            <a:ext cx="271462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0423141-1AF2-4480-A642-07F01566B4DF}" type="datetime'''''''''''''''''''''''''''''''''8.''''''''''2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8.2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111" name="Text Placeholder 107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529387" y="5778500"/>
            <a:ext cx="485775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061F9D0-3A52-4D7D-8456-017722E2C6D1}" type="datetime'''F''r''an''''''''''''''''''''c''''''''''e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France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16" name="Text Placeholder 114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637337" y="3697287"/>
            <a:ext cx="271462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8E02954-8A54-41CF-88F2-DCA5801249A7}" type="datetime'''''''''5''''''''''''''''''.''''''''9''''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5.9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02" name="Text Placeholder 99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619750" y="5778500"/>
            <a:ext cx="638175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159C60F-8692-4161-AB6C-419F2500BB07}" type="datetime'''''''''''''''''''''''''''''''''''''G''e''''''''''rm''a''n''y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Germany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53" name="TextBox 52"/>
          <p:cNvSpPr txBox="1"/>
          <p:nvPr>
            <p:custDataLst>
              <p:tags r:id="rId40"/>
            </p:custDataLst>
          </p:nvPr>
        </p:nvSpPr>
        <p:spPr>
          <a:xfrm>
            <a:off x="4754688" y="5943596"/>
            <a:ext cx="876284" cy="551090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r"/>
            <a:r>
              <a:rPr lang="en-US" sz="1200" i="1" dirty="0" smtClean="0"/>
              <a:t>World ranking</a:t>
            </a:r>
          </a:p>
        </p:txBody>
      </p:sp>
      <p:sp>
        <p:nvSpPr>
          <p:cNvPr id="54" name="TextBox 53"/>
          <p:cNvSpPr txBox="1"/>
          <p:nvPr>
            <p:custDataLst>
              <p:tags r:id="rId41"/>
            </p:custDataLst>
          </p:nvPr>
        </p:nvSpPr>
        <p:spPr>
          <a:xfrm>
            <a:off x="7980789" y="6057845"/>
            <a:ext cx="8762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i="1" dirty="0" smtClean="0"/>
              <a:t>21</a:t>
            </a:r>
          </a:p>
        </p:txBody>
      </p:sp>
      <p:sp>
        <p:nvSpPr>
          <p:cNvPr id="55" name="TextBox 54"/>
          <p:cNvSpPr txBox="1"/>
          <p:nvPr>
            <p:custDataLst>
              <p:tags r:id="rId42"/>
            </p:custDataLst>
          </p:nvPr>
        </p:nvSpPr>
        <p:spPr>
          <a:xfrm>
            <a:off x="7158771" y="6057845"/>
            <a:ext cx="8762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i="1" dirty="0" smtClean="0"/>
              <a:t>62</a:t>
            </a:r>
          </a:p>
        </p:txBody>
      </p:sp>
      <p:sp>
        <p:nvSpPr>
          <p:cNvPr id="56" name="TextBox 55"/>
          <p:cNvSpPr txBox="1"/>
          <p:nvPr>
            <p:custDataLst>
              <p:tags r:id="rId43"/>
            </p:custDataLst>
          </p:nvPr>
        </p:nvSpPr>
        <p:spPr>
          <a:xfrm>
            <a:off x="6321090" y="6057845"/>
            <a:ext cx="8762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i="1" dirty="0" smtClean="0"/>
              <a:t>88</a:t>
            </a:r>
          </a:p>
        </p:txBody>
      </p:sp>
      <p:sp>
        <p:nvSpPr>
          <p:cNvPr id="57" name="TextBox 56"/>
          <p:cNvSpPr txBox="1"/>
          <p:nvPr>
            <p:custDataLst>
              <p:tags r:id="rId44"/>
            </p:custDataLst>
          </p:nvPr>
        </p:nvSpPr>
        <p:spPr>
          <a:xfrm>
            <a:off x="5481820" y="6057845"/>
            <a:ext cx="8762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i="1" dirty="0" smtClean="0"/>
              <a:t>112</a:t>
            </a:r>
          </a:p>
        </p:txBody>
      </p:sp>
      <p:sp>
        <p:nvSpPr>
          <p:cNvPr id="58" name="TextBox 57"/>
          <p:cNvSpPr txBox="1"/>
          <p:nvPr>
            <p:custDataLst>
              <p:tags r:id="rId45"/>
            </p:custDataLst>
          </p:nvPr>
        </p:nvSpPr>
        <p:spPr>
          <a:xfrm>
            <a:off x="8802808" y="6057845"/>
            <a:ext cx="8762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i="1" dirty="0" smtClean="0"/>
              <a:t>18</a:t>
            </a:r>
          </a:p>
        </p:txBody>
      </p:sp>
      <p:grpSp>
        <p:nvGrpSpPr>
          <p:cNvPr id="59" name="Group 126"/>
          <p:cNvGrpSpPr/>
          <p:nvPr>
            <p:custDataLst>
              <p:tags r:id="rId46"/>
            </p:custDataLst>
          </p:nvPr>
        </p:nvGrpSpPr>
        <p:grpSpPr>
          <a:xfrm>
            <a:off x="4641011" y="1207698"/>
            <a:ext cx="5264989" cy="5287993"/>
            <a:chOff x="4641011" y="1207698"/>
            <a:chExt cx="4960189" cy="5287993"/>
          </a:xfrm>
        </p:grpSpPr>
        <p:sp>
          <p:nvSpPr>
            <p:cNvPr id="60" name="Rectangle 59"/>
            <p:cNvSpPr/>
            <p:nvPr/>
          </p:nvSpPr>
          <p:spPr>
            <a:xfrm>
              <a:off x="4994694" y="1207698"/>
              <a:ext cx="4606506" cy="528799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4641011" y="5883215"/>
              <a:ext cx="845389" cy="61247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63" name="Group 62"/>
          <p:cNvGrpSpPr/>
          <p:nvPr>
            <p:custDataLst>
              <p:tags r:id="rId47"/>
            </p:custDataLst>
          </p:nvPr>
        </p:nvGrpSpPr>
        <p:grpSpPr>
          <a:xfrm>
            <a:off x="1644073" y="3229583"/>
            <a:ext cx="1514763" cy="2918299"/>
            <a:chOff x="846306" y="3229583"/>
            <a:chExt cx="1478605" cy="2918299"/>
          </a:xfrm>
        </p:grpSpPr>
        <p:sp>
          <p:nvSpPr>
            <p:cNvPr id="69" name="Rectangle 68"/>
            <p:cNvSpPr/>
            <p:nvPr>
              <p:custDataLst>
                <p:tags r:id="rId55"/>
              </p:custDataLst>
            </p:nvPr>
          </p:nvSpPr>
          <p:spPr>
            <a:xfrm>
              <a:off x="846306" y="3229583"/>
              <a:ext cx="1478605" cy="239300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1" name="Rectangle 70"/>
            <p:cNvSpPr/>
            <p:nvPr>
              <p:custDataLst>
                <p:tags r:id="rId56"/>
              </p:custDataLst>
            </p:nvPr>
          </p:nvSpPr>
          <p:spPr>
            <a:xfrm>
              <a:off x="846306" y="5739320"/>
              <a:ext cx="1478605" cy="40856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72" name="Group 73"/>
          <p:cNvGrpSpPr/>
          <p:nvPr>
            <p:custDataLst>
              <p:tags r:id="rId48"/>
            </p:custDataLst>
          </p:nvPr>
        </p:nvGrpSpPr>
        <p:grpSpPr>
          <a:xfrm>
            <a:off x="911837" y="3229583"/>
            <a:ext cx="630635" cy="2918299"/>
            <a:chOff x="846306" y="3229583"/>
            <a:chExt cx="1478605" cy="2918299"/>
          </a:xfrm>
        </p:grpSpPr>
        <p:sp>
          <p:nvSpPr>
            <p:cNvPr id="73" name="Rectangle 72"/>
            <p:cNvSpPr/>
            <p:nvPr>
              <p:custDataLst>
                <p:tags r:id="rId53"/>
              </p:custDataLst>
            </p:nvPr>
          </p:nvSpPr>
          <p:spPr>
            <a:xfrm>
              <a:off x="846306" y="3229583"/>
              <a:ext cx="1478605" cy="239300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4" name="Rectangle 73"/>
            <p:cNvSpPr/>
            <p:nvPr>
              <p:custDataLst>
                <p:tags r:id="rId54"/>
              </p:custDataLst>
            </p:nvPr>
          </p:nvSpPr>
          <p:spPr>
            <a:xfrm>
              <a:off x="846306" y="5739320"/>
              <a:ext cx="1478605" cy="40856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75" name="Group 81"/>
          <p:cNvGrpSpPr/>
          <p:nvPr>
            <p:custDataLst>
              <p:tags r:id="rId49"/>
            </p:custDataLst>
          </p:nvPr>
        </p:nvGrpSpPr>
        <p:grpSpPr>
          <a:xfrm>
            <a:off x="3334329" y="2937757"/>
            <a:ext cx="822036" cy="3210126"/>
            <a:chOff x="846306" y="3290203"/>
            <a:chExt cx="1478605" cy="2857679"/>
          </a:xfrm>
        </p:grpSpPr>
        <p:sp>
          <p:nvSpPr>
            <p:cNvPr id="77" name="Rectangle 76"/>
            <p:cNvSpPr/>
            <p:nvPr>
              <p:custDataLst>
                <p:tags r:id="rId51"/>
              </p:custDataLst>
            </p:nvPr>
          </p:nvSpPr>
          <p:spPr>
            <a:xfrm>
              <a:off x="846306" y="3290203"/>
              <a:ext cx="1478605" cy="239300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2" name="Rectangle 81"/>
            <p:cNvSpPr/>
            <p:nvPr>
              <p:custDataLst>
                <p:tags r:id="rId52"/>
              </p:custDataLst>
            </p:nvPr>
          </p:nvSpPr>
          <p:spPr>
            <a:xfrm>
              <a:off x="846306" y="5739320"/>
              <a:ext cx="1478605" cy="40856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7" name="Group 97"/>
          <p:cNvGrpSpPr/>
          <p:nvPr>
            <p:custDataLst>
              <p:tags r:id="rId50"/>
            </p:custDataLst>
          </p:nvPr>
        </p:nvGrpSpPr>
        <p:grpSpPr>
          <a:xfrm>
            <a:off x="774196" y="3985403"/>
            <a:ext cx="4422703" cy="366424"/>
            <a:chOff x="750498" y="3985403"/>
            <a:chExt cx="4287329" cy="366424"/>
          </a:xfrm>
        </p:grpSpPr>
        <p:cxnSp>
          <p:nvCxnSpPr>
            <p:cNvPr id="80" name="Straight Connector 79"/>
            <p:cNvCxnSpPr/>
            <p:nvPr/>
          </p:nvCxnSpPr>
          <p:spPr>
            <a:xfrm>
              <a:off x="750498" y="4166558"/>
              <a:ext cx="3338423" cy="0"/>
            </a:xfrm>
            <a:prstGeom prst="line">
              <a:avLst/>
            </a:prstGeom>
            <a:ln w="15875">
              <a:solidFill>
                <a:schemeClr val="bg2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4" name="Isosceles Triangle 83"/>
            <p:cNvSpPr/>
            <p:nvPr/>
          </p:nvSpPr>
          <p:spPr>
            <a:xfrm rot="16200000">
              <a:off x="4032848" y="4093233"/>
              <a:ext cx="215661" cy="155275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4209691" y="3985403"/>
              <a:ext cx="828136" cy="366424"/>
            </a:xfrm>
            <a:prstGeom prst="rect">
              <a:avLst/>
            </a:prstGeom>
            <a:noFill/>
          </p:spPr>
          <p:txBody>
            <a:bodyPr wrap="square" tIns="90000" bIns="90000" rtlCol="0">
              <a:spAutoFit/>
            </a:bodyPr>
            <a:lstStyle/>
            <a:p>
              <a:pPr algn="ctr"/>
              <a:r>
                <a:rPr lang="en-US" sz="1200" dirty="0" smtClean="0"/>
                <a:t>US = 100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1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6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ox(out)">
                                      <p:cBhvr>
                                        <p:cTn id="2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ct 4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14690" name="think-cell Slide" r:id="rId49" imgW="360" imgH="360" progId="TCLayout.ActiveDocument.1">
              <p:embed/>
            </p:oleObj>
          </a:graphicData>
        </a:graphic>
      </p:graphicFrame>
      <p:sp>
        <p:nvSpPr>
          <p:cNvPr id="48" name="Rectangle 47" hidden="1"/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77B57"/>
                </a:solidFill>
              </a:rPr>
              <a:t>Abundant natural gas in US has led to a large energy cost advantage for domestic manufacturers</a:t>
            </a:r>
            <a:endParaRPr lang="en-US" dirty="0"/>
          </a:p>
        </p:txBody>
      </p:sp>
      <p:sp>
        <p:nvSpPr>
          <p:cNvPr id="4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55615" y="6324604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US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ote: Energy prices based on 2011 averages</a:t>
            </a:r>
          </a:p>
          <a:p>
            <a:pPr>
              <a:lnSpc>
                <a:spcPct val="90000"/>
              </a:lnSpc>
            </a:pPr>
            <a:r>
              <a:rPr lang="en-US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urce: </a:t>
            </a:r>
            <a:r>
              <a:rPr lang="en-US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EA</a:t>
            </a:r>
            <a:r>
              <a:rPr lang="en-US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quarterly energy price and tax statistics; BCG analysis</a:t>
            </a:r>
            <a:endParaRPr lang="en-US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695325" y="2620963"/>
          <a:ext cx="3581426" cy="3190939"/>
        </p:xfrm>
        <a:graphic>
          <a:graphicData uri="http://schemas.openxmlformats.org/presentationml/2006/ole">
            <p:oleObj spid="_x0000_s114691" name="Chart" r:id="rId50" imgW="3581426" imgH="3190939" progId="MSGraph.Chart.8">
              <p:embed followColorScheme="full"/>
            </p:oleObj>
          </a:graphicData>
        </a:graphic>
      </p:graphicFrame>
      <p:sp>
        <p:nvSpPr>
          <p:cNvPr id="8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74662" y="2336802"/>
            <a:ext cx="2862262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b="0" dirty="0" smtClean="0">
                <a:sym typeface="Arial"/>
              </a:rPr>
              <a:t>Natural gas </a:t>
            </a:r>
            <a:r>
              <a:rPr lang="en-US" sz="1400" b="0" smtClean="0">
                <a:sym typeface="Arial"/>
              </a:rPr>
              <a:t>prices (</a:t>
            </a:r>
            <a:r>
              <a:rPr lang="en-US" sz="1400" b="0" dirty="0" smtClean="0">
                <a:solidFill>
                  <a:srgbClr val="000000"/>
                </a:solidFill>
                <a:sym typeface="Arial"/>
              </a:rPr>
              <a:t>i</a:t>
            </a:r>
            <a:r>
              <a:rPr lang="en-US" sz="1400" b="0" smtClean="0">
                <a:solidFill>
                  <a:srgbClr val="000000"/>
                </a:solidFill>
                <a:sym typeface="Arial"/>
              </a:rPr>
              <a:t>ndex</a:t>
            </a:r>
            <a:r>
              <a:rPr lang="en-US" sz="1400" b="0" dirty="0" smtClean="0">
                <a:solidFill>
                  <a:srgbClr val="000000"/>
                </a:solidFill>
                <a:sym typeface="Arial"/>
              </a:rPr>
              <a:t>, US = 100</a:t>
            </a:r>
            <a:r>
              <a:rPr lang="en-US" sz="1400" b="0" dirty="0" smtClean="0">
                <a:sym typeface="Arial"/>
              </a:rPr>
              <a:t>)</a:t>
            </a:r>
          </a:p>
        </p:txBody>
      </p:sp>
      <p:sp>
        <p:nvSpPr>
          <p:cNvPr id="100" name="Text Placeholder 97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74662" y="2625725"/>
            <a:ext cx="252412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4CFA70C-D5ED-48B0-8CE5-549C9E48DB2D}" type="datetime'''''''''''''''4''''''''''''0''0''''''''''''''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400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96" name="Text Placeholder 93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74662" y="3359150"/>
            <a:ext cx="252412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4096B19-921E-4BF1-B24B-31A21B9EFFEE}" type="datetime'''''3''''''''''''''''''''''''''''0''''''0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300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92" name="Text Placeholder 89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74662" y="4092575"/>
            <a:ext cx="252412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36127B7-8132-496F-B11E-12421C79F4ED}" type="datetime'''''''''''''''''''''''''''''''''''''''''''''''2''0''''''0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200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82" name="Text Placeholder 77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74662" y="4826000"/>
            <a:ext cx="252412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A1E53EC-AA3B-4A7F-8066-1EBF32DFB481}" type="datetime'''''''''''''''''''''''''1''''''00''''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42937" y="5559425"/>
            <a:ext cx="84137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3757B8C-06CD-4EFB-8F17-CD1F2584427A}" type="datetime'''''''''''''''''''''''''''''''''''''''''''0''''''''''''''''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200" b="0" noProof="0" dirty="0">
              <a:latin typeface="Arial"/>
              <a:sym typeface="Arial"/>
            </a:endParaRPr>
          </a:p>
        </p:txBody>
      </p:sp>
      <p:sp>
        <p:nvSpPr>
          <p:cNvPr id="73" name="Text Placeholder 71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519487" y="5789612"/>
            <a:ext cx="468312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B63EA27-6C80-45E5-A47C-CE892D4ABA96}" type="datetime'''''''J''''a''p''''''''''a''''''''''''''''''n'' ''''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Japan 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93" name="Text Placeholder 91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597275" y="2908300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C814BC0-8AA4-47F0-8754-3A2AA3BA5C99}" type="datetime'''''''''''3''''''''''''''45''''''''''''''''''''''''''''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45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60" name="Text Placeholder 58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680794" y="5789612"/>
            <a:ext cx="485775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27896D3-A7E1-4CD0-BCE4-5F02F7A8FB07}" type="datetime'''F''''''''''ra''''''''n''''c''''''''''''''''''e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France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64" name="Text Placeholder 6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768600" y="3394075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6DA640A-A484-4187-BDB2-32619678A816}" type="datetime'''''''''''''''''''2''7''''''''''''''''''''''''9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79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56" name="Text Placeholder 51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771913" y="5789612"/>
            <a:ext cx="638175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3FC254D-9593-4ABD-8ED3-310BE04B6CD0}" type="datetime'G''''e''''''rm''''''a''''''''''''''n''''''y''''''''''''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Germany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58" name="Text Placeholder 56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935162" y="3289300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6067347-B83E-4CCA-9D49-37F7DBDF8374}" type="datetime'''''''''''''''''''''''''''''''''''''''''''''''2''94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94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15" name="Text Placeholder 113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146175" y="5789612"/>
            <a:ext cx="223837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EDC0286-94B1-4FE2-820F-6355F03FAA65}" type="datetime'''''U''''''''''''''K''''''''''''''''''''''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UK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17" name="Text Placeholder 115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01725" y="4041775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DF655E1-1D4C-4488-BFC5-8E69C0C94EA8}" type="datetime'''''1''''''''''''''''''''''''''''''''9''''''''''''''1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91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24" name="Rectangle 3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411163" y="1166814"/>
            <a:ext cx="4113212" cy="83099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</a:rPr>
              <a:t>Natural gas prices in other major manufacturing economies are around </a:t>
            </a:r>
          </a:p>
          <a:p>
            <a:pPr algn="ctr"/>
            <a:r>
              <a:rPr lang="en-US" sz="1400" b="1" dirty="0" smtClean="0">
                <a:solidFill>
                  <a:srgbClr val="000000"/>
                </a:solidFill>
              </a:rPr>
              <a:t>2–3.5 times higher than in the US ...</a:t>
            </a:r>
            <a:endParaRPr lang="en-US" sz="1400" b="1" dirty="0"/>
          </a:p>
        </p:txBody>
      </p:sp>
      <p:sp>
        <p:nvSpPr>
          <p:cNvPr id="25" name="Rectangle 5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5337175" y="1382714"/>
            <a:ext cx="4113213" cy="61555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</a:rPr>
              <a:t>... and industrial electricity prices are</a:t>
            </a:r>
          </a:p>
          <a:p>
            <a:pPr algn="ctr"/>
            <a:r>
              <a:rPr lang="en-US" sz="1400" b="1" dirty="0" smtClean="0">
                <a:solidFill>
                  <a:srgbClr val="000000"/>
                </a:solidFill>
              </a:rPr>
              <a:t> around 1.6–3.7 times higher</a:t>
            </a:r>
            <a:endParaRPr lang="en-US" sz="1400" b="1" dirty="0"/>
          </a:p>
        </p:txBody>
      </p:sp>
      <p:graphicFrame>
        <p:nvGraphicFramePr>
          <p:cNvPr id="26" name="Object 25"/>
          <p:cNvGraphicFramePr>
            <a:graphicFrameLocks noChangeAspect="1"/>
          </p:cNvGraphicFramePr>
          <p:nvPr/>
        </p:nvGraphicFramePr>
        <p:xfrm>
          <a:off x="5557837" y="2620963"/>
          <a:ext cx="3581426" cy="3190939"/>
        </p:xfrm>
        <a:graphic>
          <a:graphicData uri="http://schemas.openxmlformats.org/presentationml/2006/ole">
            <p:oleObj spid="_x0000_s114692" name="Chart" r:id="rId51" imgW="3581426" imgH="3190939" progId="MSGraph.Chart.8">
              <p:embed followColorScheme="full"/>
            </p:oleObj>
          </a:graphicData>
        </a:graphic>
      </p:graphicFrame>
      <p:cxnSp>
        <p:nvCxnSpPr>
          <p:cNvPr id="65" name="Straight Connector 64"/>
          <p:cNvCxnSpPr/>
          <p:nvPr>
            <p:custDataLst>
              <p:tags r:id="rId21"/>
            </p:custDataLst>
          </p:nvPr>
        </p:nvCxnSpPr>
        <p:spPr bwMode="gray">
          <a:xfrm flipH="1">
            <a:off x="5710237" y="4668837"/>
            <a:ext cx="3324225" cy="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ight Arrow 126"/>
          <p:cNvSpPr/>
          <p:nvPr>
            <p:custDataLst>
              <p:tags r:id="rId22"/>
            </p:custDataLst>
          </p:nvPr>
        </p:nvSpPr>
        <p:spPr bwMode="auto">
          <a:xfrm rot="10800000">
            <a:off x="9086850" y="4592637"/>
            <a:ext cx="128587" cy="152400"/>
          </a:xfrm>
          <a:prstGeom prst="rightArrow">
            <a:avLst>
              <a:gd name="adj1" fmla="val 100000"/>
              <a:gd name="adj2" fmla="val 84545"/>
            </a:avLst>
          </a:prstGeom>
          <a:solidFill>
            <a:srgbClr val="80808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0" name="Text Placeholder 6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337176" y="2336802"/>
            <a:ext cx="3894137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b="0" dirty="0" smtClean="0">
                <a:sym typeface="Arial"/>
              </a:rPr>
              <a:t>2011 Industrial electricity prices (</a:t>
            </a:r>
            <a:r>
              <a:rPr lang="en-US" sz="1400" b="0" dirty="0" smtClean="0">
                <a:solidFill>
                  <a:srgbClr val="000000"/>
                </a:solidFill>
                <a:sym typeface="Arial"/>
              </a:rPr>
              <a:t>index, US = 100</a:t>
            </a:r>
            <a:r>
              <a:rPr lang="en-US" sz="1400" b="0" dirty="0" smtClean="0">
                <a:sym typeface="Arial"/>
              </a:rPr>
              <a:t>)</a:t>
            </a:r>
          </a:p>
        </p:txBody>
      </p:sp>
      <p:sp>
        <p:nvSpPr>
          <p:cNvPr id="112" name="Text Placeholder 110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337175" y="2625725"/>
            <a:ext cx="252412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A37D598-FB4A-4DBC-9ADA-2AE847B63983}" type="datetime'''''''''''''''''''''''''''3''''''''''''''0''0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300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19" name="Text Placeholder 117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337175" y="3606800"/>
            <a:ext cx="252412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8481A0D-DB02-40DA-882E-C0C50159215A}" type="datetime'''''''''''''''''''''''''''''''''''''''''''2''''''''0''''0''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200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10" name="Text Placeholder 106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5337175" y="4578350"/>
            <a:ext cx="252412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EB54C8A-B530-40F6-82A8-B7F03E421C10}" type="datetime'''''''1''''''''''''''''''''''''''''''''''0''''0''''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36" name="Text Placeholder 8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505450" y="5559425"/>
            <a:ext cx="84137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C045013-1B0C-420A-8B13-DB25F5FFAC12}" type="datetime'''''''''''0''''''''''''''''''''''''''''''''''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126" name="Text Placeholder 124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9264650" y="4486276"/>
            <a:ext cx="342900" cy="365125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0" dirty="0" smtClean="0">
                <a:sym typeface="Arial"/>
              </a:rPr>
              <a:t>US =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0" dirty="0" smtClean="0">
                <a:sym typeface="Arial"/>
              </a:rPr>
              <a:t> 100</a:t>
            </a:r>
            <a:endParaRPr lang="en-US" sz="1200" b="0" dirty="0">
              <a:sym typeface="Arial"/>
            </a:endParaRPr>
          </a:p>
        </p:txBody>
      </p:sp>
      <p:sp>
        <p:nvSpPr>
          <p:cNvPr id="83" name="Text Placeholder 80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8402637" y="5789612"/>
            <a:ext cx="425450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168F745-C18C-4A09-B814-C5E026F59689}" type="datetime'''''''''''''''''''''''''J''''ap''''''''''''''a''''''''''n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Japan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86" name="Text Placeholder 84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459787" y="2984500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95BDDBA-C64B-4760-AC6B-FF2097A4FABE}" type="datetime'''''''''''25''''1''''''''''''''''''''''''''''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51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76" name="Text Placeholder 73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675562" y="5789612"/>
            <a:ext cx="223837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191481C-4642-423A-8B5F-F3272146E4F4}" type="datetime'''''''''''''''''''''''''''''''''U''''''''''K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UK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80" name="Text Placeholder 77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631112" y="3679825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9F5244B-1A2D-4D9E-A7CD-1A85DECDB4E4}" type="datetime'''''''''''1''''''''''''''''''8''''''''0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80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710362" y="5789612"/>
            <a:ext cx="485775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C9B9818-C94A-44C2-AB62-DB1F78B05EDF}" type="datetime'''''''''F''''''''''r''''a''n''''''''''''''''''''ce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France</a:t>
            </a:fld>
            <a:endParaRPr lang="en-US" sz="1200" b="0" noProof="0" dirty="0">
              <a:latin typeface="Arial"/>
              <a:sym typeface="Arial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797675" y="3908425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45C9BC1-C0FB-4B44-B2D8-CD13A04A5EA5}" type="datetime'''''1''''5''''''''''''''''''''6''''''''''''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56</a:t>
            </a:fld>
            <a:endParaRPr lang="en-US" sz="1200" b="0" noProof="0" dirty="0">
              <a:latin typeface="Arial"/>
              <a:sym typeface="Arial"/>
            </a:endParaRPr>
          </a:p>
        </p:txBody>
      </p:sp>
      <p:sp>
        <p:nvSpPr>
          <p:cNvPr id="44" name="Text Placeholder 389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780087" y="5789612"/>
            <a:ext cx="681037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26D2911-7990-4322-BDAE-841F47719445}" type="datetime'''G''''erm''''''''''''''a''''''''n''''y'''' 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Germany 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45" name="Text Placeholder 441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964237" y="3413125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61CE8C1-74E3-4035-B74A-0A4462876549}" type="datetime'''''''''''''''''''''''''''2''''''''0''''''''''''''7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7</a:t>
            </a:fld>
            <a:endParaRPr lang="en-US" sz="1200" b="0" dirty="0">
              <a:latin typeface="Arial"/>
              <a:sym typeface="Arial"/>
            </a:endParaRPr>
          </a:p>
        </p:txBody>
      </p:sp>
      <p:grpSp>
        <p:nvGrpSpPr>
          <p:cNvPr id="46" name="Group 45"/>
          <p:cNvGrpSpPr/>
          <p:nvPr>
            <p:custDataLst>
              <p:tags r:id="rId37"/>
            </p:custDataLst>
          </p:nvPr>
        </p:nvGrpSpPr>
        <p:grpSpPr>
          <a:xfrm>
            <a:off x="4791808" y="1207698"/>
            <a:ext cx="5114192" cy="5287993"/>
            <a:chOff x="4641011" y="1207698"/>
            <a:chExt cx="4960189" cy="5287993"/>
          </a:xfrm>
        </p:grpSpPr>
        <p:sp>
          <p:nvSpPr>
            <p:cNvPr id="47" name="Rectangle 46"/>
            <p:cNvSpPr/>
            <p:nvPr/>
          </p:nvSpPr>
          <p:spPr>
            <a:xfrm>
              <a:off x="4994694" y="1207698"/>
              <a:ext cx="4606506" cy="528799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4641011" y="5883215"/>
              <a:ext cx="845389" cy="61247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oup 50"/>
          <p:cNvGrpSpPr/>
          <p:nvPr>
            <p:custDataLst>
              <p:tags r:id="rId38"/>
            </p:custDataLst>
          </p:nvPr>
        </p:nvGrpSpPr>
        <p:grpSpPr>
          <a:xfrm>
            <a:off x="1654630" y="3242724"/>
            <a:ext cx="1665513" cy="2914489"/>
            <a:chOff x="846306" y="3233393"/>
            <a:chExt cx="1478605" cy="2914489"/>
          </a:xfrm>
        </p:grpSpPr>
        <p:sp>
          <p:nvSpPr>
            <p:cNvPr id="52" name="Rectangle 51"/>
            <p:cNvSpPr/>
            <p:nvPr>
              <p:custDataLst>
                <p:tags r:id="rId46"/>
              </p:custDataLst>
            </p:nvPr>
          </p:nvSpPr>
          <p:spPr>
            <a:xfrm>
              <a:off x="846306" y="3233393"/>
              <a:ext cx="1478605" cy="239300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53" name="Rectangle 52"/>
            <p:cNvSpPr/>
            <p:nvPr>
              <p:custDataLst>
                <p:tags r:id="rId47"/>
              </p:custDataLst>
            </p:nvPr>
          </p:nvSpPr>
          <p:spPr>
            <a:xfrm>
              <a:off x="846306" y="5739320"/>
              <a:ext cx="1478605" cy="40856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oup 53"/>
          <p:cNvGrpSpPr/>
          <p:nvPr>
            <p:custDataLst>
              <p:tags r:id="rId39"/>
            </p:custDataLst>
          </p:nvPr>
        </p:nvGrpSpPr>
        <p:grpSpPr>
          <a:xfrm>
            <a:off x="930878" y="3246534"/>
            <a:ext cx="756407" cy="2910679"/>
            <a:chOff x="846306" y="3237203"/>
            <a:chExt cx="1478605" cy="2910679"/>
          </a:xfrm>
        </p:grpSpPr>
        <p:sp>
          <p:nvSpPr>
            <p:cNvPr id="55" name="Rectangle 54"/>
            <p:cNvSpPr/>
            <p:nvPr>
              <p:custDataLst>
                <p:tags r:id="rId44"/>
              </p:custDataLst>
            </p:nvPr>
          </p:nvSpPr>
          <p:spPr>
            <a:xfrm>
              <a:off x="846306" y="3237203"/>
              <a:ext cx="1478605" cy="239300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57" name="Rectangle 56"/>
            <p:cNvSpPr/>
            <p:nvPr>
              <p:custDataLst>
                <p:tags r:id="rId45"/>
              </p:custDataLst>
            </p:nvPr>
          </p:nvSpPr>
          <p:spPr>
            <a:xfrm>
              <a:off x="846306" y="5739320"/>
              <a:ext cx="1478605" cy="40856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59" name="Group 58"/>
          <p:cNvGrpSpPr/>
          <p:nvPr>
            <p:custDataLst>
              <p:tags r:id="rId40"/>
            </p:custDataLst>
          </p:nvPr>
        </p:nvGrpSpPr>
        <p:grpSpPr>
          <a:xfrm>
            <a:off x="3341914" y="2947088"/>
            <a:ext cx="903515" cy="3210126"/>
            <a:chOff x="846306" y="3290203"/>
            <a:chExt cx="1478605" cy="2857679"/>
          </a:xfrm>
        </p:grpSpPr>
        <p:sp>
          <p:nvSpPr>
            <p:cNvPr id="61" name="Rectangle 60"/>
            <p:cNvSpPr/>
            <p:nvPr>
              <p:custDataLst>
                <p:tags r:id="rId42"/>
              </p:custDataLst>
            </p:nvPr>
          </p:nvSpPr>
          <p:spPr>
            <a:xfrm>
              <a:off x="846306" y="3290203"/>
              <a:ext cx="1478605" cy="239300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62" name="Rectangle 61"/>
            <p:cNvSpPr/>
            <p:nvPr>
              <p:custDataLst>
                <p:tags r:id="rId43"/>
              </p:custDataLst>
            </p:nvPr>
          </p:nvSpPr>
          <p:spPr>
            <a:xfrm>
              <a:off x="846306" y="5739320"/>
              <a:ext cx="1478605" cy="40856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0" name="Group 70"/>
          <p:cNvGrpSpPr/>
          <p:nvPr>
            <p:custDataLst>
              <p:tags r:id="rId41"/>
            </p:custDataLst>
          </p:nvPr>
        </p:nvGrpSpPr>
        <p:grpSpPr>
          <a:xfrm>
            <a:off x="837686" y="4723957"/>
            <a:ext cx="4384390" cy="366424"/>
            <a:chOff x="750498" y="3985403"/>
            <a:chExt cx="4329939" cy="366424"/>
          </a:xfrm>
        </p:grpSpPr>
        <p:cxnSp>
          <p:nvCxnSpPr>
            <p:cNvPr id="72" name="Straight Connector 71"/>
            <p:cNvCxnSpPr/>
            <p:nvPr/>
          </p:nvCxnSpPr>
          <p:spPr>
            <a:xfrm>
              <a:off x="750498" y="4166558"/>
              <a:ext cx="3338423" cy="0"/>
            </a:xfrm>
            <a:prstGeom prst="line">
              <a:avLst/>
            </a:prstGeom>
            <a:ln w="15875">
              <a:solidFill>
                <a:schemeClr val="bg2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Isosceles Triangle 73"/>
            <p:cNvSpPr/>
            <p:nvPr/>
          </p:nvSpPr>
          <p:spPr>
            <a:xfrm rot="16200000">
              <a:off x="4032848" y="4093233"/>
              <a:ext cx="215661" cy="155275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193664" y="3985403"/>
              <a:ext cx="886773" cy="366424"/>
            </a:xfrm>
            <a:prstGeom prst="rect">
              <a:avLst/>
            </a:prstGeom>
            <a:noFill/>
          </p:spPr>
          <p:txBody>
            <a:bodyPr wrap="square" tIns="90000" bIns="90000" rtlCol="0">
              <a:spAutoFit/>
            </a:bodyPr>
            <a:lstStyle/>
            <a:p>
              <a:pPr algn="ctr"/>
              <a:r>
                <a:rPr lang="en-US" sz="1200" dirty="0" smtClean="0"/>
                <a:t>US = 100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6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ox(out)">
                                      <p:cBhvr>
                                        <p:cTn id="2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" name="Object 7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15714" name="think-cell Slide" r:id="rId111" imgW="360" imgH="360" progId="TCLayout.ActiveDocument.1">
              <p:embed/>
            </p:oleObj>
          </a:graphicData>
        </a:graphic>
      </p:graphicFrame>
      <p:sp>
        <p:nvSpPr>
          <p:cNvPr id="77" name="Rectangle 76" hidden="1"/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graphicFrame>
        <p:nvGraphicFramePr>
          <p:cNvPr id="64" name="Object 63"/>
          <p:cNvGraphicFramePr>
            <a:graphicFrameLocks noChangeAspect="1"/>
          </p:cNvGraphicFramePr>
          <p:nvPr/>
        </p:nvGraphicFramePr>
        <p:xfrm>
          <a:off x="1022350" y="2065338"/>
          <a:ext cx="7581967" cy="3171757"/>
        </p:xfrm>
        <a:graphic>
          <a:graphicData uri="http://schemas.openxmlformats.org/presentationml/2006/ole">
            <p:oleObj spid="_x0000_s115715" name="Chart" r:id="rId112" imgW="7581967" imgH="3171757" progId="MSGraph.Chart.8">
              <p:embed followColorScheme="full"/>
            </p:oleObj>
          </a:graphicData>
        </a:graphic>
      </p:graphicFrame>
      <p:cxnSp>
        <p:nvCxnSpPr>
          <p:cNvPr id="161" name="Straight Connector 160"/>
          <p:cNvCxnSpPr/>
          <p:nvPr>
            <p:custDataLst>
              <p:tags r:id="rId3"/>
            </p:custDataLst>
          </p:nvPr>
        </p:nvCxnSpPr>
        <p:spPr bwMode="gray">
          <a:xfrm>
            <a:off x="1123950" y="3751262"/>
            <a:ext cx="50800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/>
          <p:cNvCxnSpPr/>
          <p:nvPr>
            <p:custDataLst>
              <p:tags r:id="rId4"/>
            </p:custDataLst>
          </p:nvPr>
        </p:nvCxnSpPr>
        <p:spPr bwMode="gray">
          <a:xfrm>
            <a:off x="1123950" y="2160587"/>
            <a:ext cx="50800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/>
          <p:nvPr>
            <p:custDataLst>
              <p:tags r:id="rId5"/>
            </p:custDataLst>
          </p:nvPr>
        </p:nvCxnSpPr>
        <p:spPr bwMode="gray">
          <a:xfrm>
            <a:off x="1123950" y="2951162"/>
            <a:ext cx="50800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>
            <p:custDataLst>
              <p:tags r:id="rId6"/>
            </p:custDataLst>
          </p:nvPr>
        </p:nvCxnSpPr>
        <p:spPr bwMode="gray">
          <a:xfrm>
            <a:off x="1123950" y="4541837"/>
            <a:ext cx="50800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>
            <p:custDataLst>
              <p:tags r:id="rId7"/>
            </p:custDataLst>
          </p:nvPr>
        </p:nvCxnSpPr>
        <p:spPr bwMode="gray">
          <a:xfrm>
            <a:off x="1123950" y="5084762"/>
            <a:ext cx="50800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49" name="Freeform 148"/>
          <p:cNvSpPr/>
          <p:nvPr>
            <p:custDataLst>
              <p:tags r:id="rId8"/>
            </p:custDataLst>
          </p:nvPr>
        </p:nvSpPr>
        <p:spPr bwMode="auto">
          <a:xfrm>
            <a:off x="5521325" y="4805362"/>
            <a:ext cx="731838" cy="254001"/>
          </a:xfrm>
          <a:custGeom>
            <a:avLst/>
            <a:gdLst/>
            <a:ahLst/>
            <a:cxnLst/>
            <a:rect l="0" t="0" r="0" b="0"/>
            <a:pathLst>
              <a:path w="731838" h="254001">
                <a:moveTo>
                  <a:pt x="0" y="196850"/>
                </a:moveTo>
                <a:lnTo>
                  <a:pt x="731837" y="0"/>
                </a:lnTo>
                <a:lnTo>
                  <a:pt x="731837" y="57150"/>
                </a:lnTo>
                <a:lnTo>
                  <a:pt x="0" y="254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156" name="Freeform 155"/>
          <p:cNvSpPr/>
          <p:nvPr>
            <p:custDataLst>
              <p:tags r:id="rId9"/>
            </p:custDataLst>
          </p:nvPr>
        </p:nvSpPr>
        <p:spPr bwMode="auto">
          <a:xfrm>
            <a:off x="7615237" y="4805362"/>
            <a:ext cx="731839" cy="254001"/>
          </a:xfrm>
          <a:custGeom>
            <a:avLst/>
            <a:gdLst/>
            <a:ahLst/>
            <a:cxnLst/>
            <a:rect l="0" t="0" r="0" b="0"/>
            <a:pathLst>
              <a:path w="731839" h="254001">
                <a:moveTo>
                  <a:pt x="0" y="196850"/>
                </a:moveTo>
                <a:lnTo>
                  <a:pt x="731838" y="0"/>
                </a:lnTo>
                <a:lnTo>
                  <a:pt x="731838" y="57150"/>
                </a:lnTo>
                <a:lnTo>
                  <a:pt x="0" y="254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153" name="Freeform 152"/>
          <p:cNvSpPr/>
          <p:nvPr>
            <p:custDataLst>
              <p:tags r:id="rId10"/>
            </p:custDataLst>
          </p:nvPr>
        </p:nvSpPr>
        <p:spPr bwMode="auto">
          <a:xfrm>
            <a:off x="6569075" y="4806950"/>
            <a:ext cx="730251" cy="252413"/>
          </a:xfrm>
          <a:custGeom>
            <a:avLst/>
            <a:gdLst/>
            <a:ahLst/>
            <a:cxnLst/>
            <a:rect l="0" t="0" r="0" b="0"/>
            <a:pathLst>
              <a:path w="730251" h="252413">
                <a:moveTo>
                  <a:pt x="0" y="195262"/>
                </a:moveTo>
                <a:lnTo>
                  <a:pt x="730250" y="0"/>
                </a:lnTo>
                <a:lnTo>
                  <a:pt x="730250" y="57150"/>
                </a:lnTo>
                <a:lnTo>
                  <a:pt x="0" y="252412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140" name="Freeform 139"/>
          <p:cNvSpPr/>
          <p:nvPr>
            <p:custDataLst>
              <p:tags r:id="rId11"/>
            </p:custDataLst>
          </p:nvPr>
        </p:nvSpPr>
        <p:spPr bwMode="auto">
          <a:xfrm>
            <a:off x="4473575" y="4805362"/>
            <a:ext cx="731838" cy="254001"/>
          </a:xfrm>
          <a:custGeom>
            <a:avLst/>
            <a:gdLst/>
            <a:ahLst/>
            <a:cxnLst/>
            <a:rect l="0" t="0" r="0" b="0"/>
            <a:pathLst>
              <a:path w="731838" h="254001">
                <a:moveTo>
                  <a:pt x="0" y="196850"/>
                </a:moveTo>
                <a:lnTo>
                  <a:pt x="731837" y="0"/>
                </a:lnTo>
                <a:lnTo>
                  <a:pt x="731837" y="57150"/>
                </a:lnTo>
                <a:lnTo>
                  <a:pt x="0" y="254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136" name="Freeform 135"/>
          <p:cNvSpPr/>
          <p:nvPr>
            <p:custDataLst>
              <p:tags r:id="rId12"/>
            </p:custDataLst>
          </p:nvPr>
        </p:nvSpPr>
        <p:spPr bwMode="auto">
          <a:xfrm>
            <a:off x="3425825" y="4805362"/>
            <a:ext cx="731838" cy="254001"/>
          </a:xfrm>
          <a:custGeom>
            <a:avLst/>
            <a:gdLst/>
            <a:ahLst/>
            <a:cxnLst/>
            <a:rect l="0" t="0" r="0" b="0"/>
            <a:pathLst>
              <a:path w="731838" h="254001">
                <a:moveTo>
                  <a:pt x="0" y="196850"/>
                </a:moveTo>
                <a:lnTo>
                  <a:pt x="731837" y="0"/>
                </a:lnTo>
                <a:lnTo>
                  <a:pt x="731837" y="57150"/>
                </a:lnTo>
                <a:lnTo>
                  <a:pt x="0" y="254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132" name="Freeform 131"/>
          <p:cNvSpPr/>
          <p:nvPr>
            <p:custDataLst>
              <p:tags r:id="rId13"/>
            </p:custDataLst>
          </p:nvPr>
        </p:nvSpPr>
        <p:spPr bwMode="auto">
          <a:xfrm>
            <a:off x="2379662" y="4806950"/>
            <a:ext cx="730251" cy="252413"/>
          </a:xfrm>
          <a:custGeom>
            <a:avLst/>
            <a:gdLst/>
            <a:ahLst/>
            <a:cxnLst/>
            <a:rect l="0" t="0" r="0" b="0"/>
            <a:pathLst>
              <a:path w="730251" h="252413">
                <a:moveTo>
                  <a:pt x="0" y="195262"/>
                </a:moveTo>
                <a:lnTo>
                  <a:pt x="730250" y="0"/>
                </a:lnTo>
                <a:lnTo>
                  <a:pt x="730250" y="57150"/>
                </a:lnTo>
                <a:lnTo>
                  <a:pt x="0" y="252412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129" name="Freeform 128"/>
          <p:cNvSpPr/>
          <p:nvPr>
            <p:custDataLst>
              <p:tags r:id="rId14"/>
            </p:custDataLst>
          </p:nvPr>
        </p:nvSpPr>
        <p:spPr bwMode="auto">
          <a:xfrm>
            <a:off x="1331912" y="4805362"/>
            <a:ext cx="731839" cy="254001"/>
          </a:xfrm>
          <a:custGeom>
            <a:avLst/>
            <a:gdLst/>
            <a:ahLst/>
            <a:cxnLst/>
            <a:rect l="0" t="0" r="0" b="0"/>
            <a:pathLst>
              <a:path w="731839" h="254001">
                <a:moveTo>
                  <a:pt x="0" y="196850"/>
                </a:moveTo>
                <a:lnTo>
                  <a:pt x="731838" y="0"/>
                </a:lnTo>
                <a:lnTo>
                  <a:pt x="731838" y="57150"/>
                </a:lnTo>
                <a:lnTo>
                  <a:pt x="0" y="254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125" name="Freeform 124"/>
          <p:cNvSpPr/>
          <p:nvPr>
            <p:custDataLst>
              <p:tags r:id="rId15"/>
            </p:custDataLst>
          </p:nvPr>
        </p:nvSpPr>
        <p:spPr bwMode="auto">
          <a:xfrm>
            <a:off x="1101725" y="4884737"/>
            <a:ext cx="146051" cy="95251"/>
          </a:xfrm>
          <a:custGeom>
            <a:avLst/>
            <a:gdLst/>
            <a:ahLst/>
            <a:cxnLst/>
            <a:rect l="0" t="0" r="0" b="0"/>
            <a:pathLst>
              <a:path w="146051" h="95251">
                <a:moveTo>
                  <a:pt x="0" y="38100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525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5" name="Freeform 154"/>
          <p:cNvSpPr/>
          <p:nvPr>
            <p:custDataLst>
              <p:tags r:id="rId16"/>
            </p:custDataLst>
          </p:nvPr>
        </p:nvSpPr>
        <p:spPr bwMode="auto">
          <a:xfrm>
            <a:off x="7615237" y="4862512"/>
            <a:ext cx="731839" cy="196851"/>
          </a:xfrm>
          <a:custGeom>
            <a:avLst/>
            <a:gdLst/>
            <a:ahLst/>
            <a:cxnLst/>
            <a:rect l="0" t="0" r="0" b="0"/>
            <a:pathLst>
              <a:path w="731839" h="196851">
                <a:moveTo>
                  <a:pt x="0" y="196850"/>
                </a:moveTo>
                <a:lnTo>
                  <a:pt x="731838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4" name="Freeform 153"/>
          <p:cNvSpPr/>
          <p:nvPr>
            <p:custDataLst>
              <p:tags r:id="rId17"/>
            </p:custDataLst>
          </p:nvPr>
        </p:nvSpPr>
        <p:spPr bwMode="auto">
          <a:xfrm>
            <a:off x="7615237" y="4805362"/>
            <a:ext cx="731839" cy="196851"/>
          </a:xfrm>
          <a:custGeom>
            <a:avLst/>
            <a:gdLst/>
            <a:ahLst/>
            <a:cxnLst/>
            <a:rect l="0" t="0" r="0" b="0"/>
            <a:pathLst>
              <a:path w="731839" h="196851">
                <a:moveTo>
                  <a:pt x="0" y="196850"/>
                </a:moveTo>
                <a:lnTo>
                  <a:pt x="731838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2" name="Freeform 151"/>
          <p:cNvSpPr/>
          <p:nvPr>
            <p:custDataLst>
              <p:tags r:id="rId18"/>
            </p:custDataLst>
          </p:nvPr>
        </p:nvSpPr>
        <p:spPr bwMode="auto">
          <a:xfrm>
            <a:off x="6569075" y="4864100"/>
            <a:ext cx="730251" cy="195263"/>
          </a:xfrm>
          <a:custGeom>
            <a:avLst/>
            <a:gdLst/>
            <a:ahLst/>
            <a:cxnLst/>
            <a:rect l="0" t="0" r="0" b="0"/>
            <a:pathLst>
              <a:path w="730251" h="195263">
                <a:moveTo>
                  <a:pt x="0" y="195262"/>
                </a:moveTo>
                <a:lnTo>
                  <a:pt x="7302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0" name="Freeform 149"/>
          <p:cNvSpPr/>
          <p:nvPr>
            <p:custDataLst>
              <p:tags r:id="rId19"/>
            </p:custDataLst>
          </p:nvPr>
        </p:nvSpPr>
        <p:spPr bwMode="auto">
          <a:xfrm>
            <a:off x="6569075" y="4806950"/>
            <a:ext cx="730251" cy="195263"/>
          </a:xfrm>
          <a:custGeom>
            <a:avLst/>
            <a:gdLst/>
            <a:ahLst/>
            <a:cxnLst/>
            <a:rect l="0" t="0" r="0" b="0"/>
            <a:pathLst>
              <a:path w="730251" h="195263">
                <a:moveTo>
                  <a:pt x="0" y="195262"/>
                </a:moveTo>
                <a:lnTo>
                  <a:pt x="7302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Freeform 141"/>
          <p:cNvSpPr/>
          <p:nvPr>
            <p:custDataLst>
              <p:tags r:id="rId20"/>
            </p:custDataLst>
          </p:nvPr>
        </p:nvSpPr>
        <p:spPr bwMode="auto">
          <a:xfrm>
            <a:off x="5521325" y="4862512"/>
            <a:ext cx="731838" cy="196851"/>
          </a:xfrm>
          <a:custGeom>
            <a:avLst/>
            <a:gdLst/>
            <a:ahLst/>
            <a:cxnLst/>
            <a:rect l="0" t="0" r="0" b="0"/>
            <a:pathLst>
              <a:path w="731838" h="196851">
                <a:moveTo>
                  <a:pt x="0" y="196850"/>
                </a:moveTo>
                <a:lnTo>
                  <a:pt x="731837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eform 140"/>
          <p:cNvSpPr/>
          <p:nvPr>
            <p:custDataLst>
              <p:tags r:id="rId21"/>
            </p:custDataLst>
          </p:nvPr>
        </p:nvSpPr>
        <p:spPr bwMode="auto">
          <a:xfrm>
            <a:off x="5521325" y="4805362"/>
            <a:ext cx="731838" cy="196851"/>
          </a:xfrm>
          <a:custGeom>
            <a:avLst/>
            <a:gdLst/>
            <a:ahLst/>
            <a:cxnLst/>
            <a:rect l="0" t="0" r="0" b="0"/>
            <a:pathLst>
              <a:path w="731838" h="196851">
                <a:moveTo>
                  <a:pt x="0" y="196850"/>
                </a:moveTo>
                <a:lnTo>
                  <a:pt x="731837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9" name="Freeform 138"/>
          <p:cNvSpPr/>
          <p:nvPr>
            <p:custDataLst>
              <p:tags r:id="rId22"/>
            </p:custDataLst>
          </p:nvPr>
        </p:nvSpPr>
        <p:spPr bwMode="auto">
          <a:xfrm>
            <a:off x="4473575" y="4862512"/>
            <a:ext cx="731838" cy="196851"/>
          </a:xfrm>
          <a:custGeom>
            <a:avLst/>
            <a:gdLst/>
            <a:ahLst/>
            <a:cxnLst/>
            <a:rect l="0" t="0" r="0" b="0"/>
            <a:pathLst>
              <a:path w="731838" h="196851">
                <a:moveTo>
                  <a:pt x="0" y="196850"/>
                </a:moveTo>
                <a:lnTo>
                  <a:pt x="731837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Freeform 136"/>
          <p:cNvSpPr/>
          <p:nvPr>
            <p:custDataLst>
              <p:tags r:id="rId23"/>
            </p:custDataLst>
          </p:nvPr>
        </p:nvSpPr>
        <p:spPr bwMode="auto">
          <a:xfrm>
            <a:off x="4473575" y="4805362"/>
            <a:ext cx="731838" cy="196851"/>
          </a:xfrm>
          <a:custGeom>
            <a:avLst/>
            <a:gdLst/>
            <a:ahLst/>
            <a:cxnLst/>
            <a:rect l="0" t="0" r="0" b="0"/>
            <a:pathLst>
              <a:path w="731838" h="196851">
                <a:moveTo>
                  <a:pt x="0" y="196850"/>
                </a:moveTo>
                <a:lnTo>
                  <a:pt x="731837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Freeform 133"/>
          <p:cNvSpPr/>
          <p:nvPr>
            <p:custDataLst>
              <p:tags r:id="rId24"/>
            </p:custDataLst>
          </p:nvPr>
        </p:nvSpPr>
        <p:spPr bwMode="auto">
          <a:xfrm>
            <a:off x="3425825" y="4862512"/>
            <a:ext cx="731838" cy="196851"/>
          </a:xfrm>
          <a:custGeom>
            <a:avLst/>
            <a:gdLst/>
            <a:ahLst/>
            <a:cxnLst/>
            <a:rect l="0" t="0" r="0" b="0"/>
            <a:pathLst>
              <a:path w="731838" h="196851">
                <a:moveTo>
                  <a:pt x="0" y="196850"/>
                </a:moveTo>
                <a:lnTo>
                  <a:pt x="731837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Freeform 132"/>
          <p:cNvSpPr/>
          <p:nvPr>
            <p:custDataLst>
              <p:tags r:id="rId25"/>
            </p:custDataLst>
          </p:nvPr>
        </p:nvSpPr>
        <p:spPr bwMode="auto">
          <a:xfrm>
            <a:off x="3425825" y="4805362"/>
            <a:ext cx="731838" cy="196851"/>
          </a:xfrm>
          <a:custGeom>
            <a:avLst/>
            <a:gdLst/>
            <a:ahLst/>
            <a:cxnLst/>
            <a:rect l="0" t="0" r="0" b="0"/>
            <a:pathLst>
              <a:path w="731838" h="196851">
                <a:moveTo>
                  <a:pt x="0" y="196850"/>
                </a:moveTo>
                <a:lnTo>
                  <a:pt x="731837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Freeform 130"/>
          <p:cNvSpPr/>
          <p:nvPr>
            <p:custDataLst>
              <p:tags r:id="rId26"/>
            </p:custDataLst>
          </p:nvPr>
        </p:nvSpPr>
        <p:spPr bwMode="auto">
          <a:xfrm>
            <a:off x="2379662" y="4864100"/>
            <a:ext cx="730251" cy="195263"/>
          </a:xfrm>
          <a:custGeom>
            <a:avLst/>
            <a:gdLst/>
            <a:ahLst/>
            <a:cxnLst/>
            <a:rect l="0" t="0" r="0" b="0"/>
            <a:pathLst>
              <a:path w="730251" h="195263">
                <a:moveTo>
                  <a:pt x="0" y="195262"/>
                </a:moveTo>
                <a:lnTo>
                  <a:pt x="7302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Freeform 129"/>
          <p:cNvSpPr/>
          <p:nvPr>
            <p:custDataLst>
              <p:tags r:id="rId27"/>
            </p:custDataLst>
          </p:nvPr>
        </p:nvSpPr>
        <p:spPr bwMode="auto">
          <a:xfrm>
            <a:off x="2379662" y="4806950"/>
            <a:ext cx="730251" cy="195263"/>
          </a:xfrm>
          <a:custGeom>
            <a:avLst/>
            <a:gdLst/>
            <a:ahLst/>
            <a:cxnLst/>
            <a:rect l="0" t="0" r="0" b="0"/>
            <a:pathLst>
              <a:path w="730251" h="195263">
                <a:moveTo>
                  <a:pt x="0" y="195262"/>
                </a:moveTo>
                <a:lnTo>
                  <a:pt x="7302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Freeform 126"/>
          <p:cNvSpPr/>
          <p:nvPr>
            <p:custDataLst>
              <p:tags r:id="rId28"/>
            </p:custDataLst>
          </p:nvPr>
        </p:nvSpPr>
        <p:spPr bwMode="auto">
          <a:xfrm>
            <a:off x="1331912" y="4862512"/>
            <a:ext cx="731839" cy="196851"/>
          </a:xfrm>
          <a:custGeom>
            <a:avLst/>
            <a:gdLst/>
            <a:ahLst/>
            <a:cxnLst/>
            <a:rect l="0" t="0" r="0" b="0"/>
            <a:pathLst>
              <a:path w="731839" h="196851">
                <a:moveTo>
                  <a:pt x="0" y="196850"/>
                </a:moveTo>
                <a:lnTo>
                  <a:pt x="731838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6" name="Freeform 125"/>
          <p:cNvSpPr/>
          <p:nvPr>
            <p:custDataLst>
              <p:tags r:id="rId29"/>
            </p:custDataLst>
          </p:nvPr>
        </p:nvSpPr>
        <p:spPr bwMode="auto">
          <a:xfrm>
            <a:off x="1331912" y="4805362"/>
            <a:ext cx="731839" cy="196851"/>
          </a:xfrm>
          <a:custGeom>
            <a:avLst/>
            <a:gdLst/>
            <a:ahLst/>
            <a:cxnLst/>
            <a:rect l="0" t="0" r="0" b="0"/>
            <a:pathLst>
              <a:path w="731839" h="196851">
                <a:moveTo>
                  <a:pt x="0" y="196850"/>
                </a:moveTo>
                <a:lnTo>
                  <a:pt x="731838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Freeform 123"/>
          <p:cNvSpPr/>
          <p:nvPr>
            <p:custDataLst>
              <p:tags r:id="rId30"/>
            </p:custDataLst>
          </p:nvPr>
        </p:nvSpPr>
        <p:spPr bwMode="auto">
          <a:xfrm>
            <a:off x="1101725" y="4941887"/>
            <a:ext cx="146051" cy="38101"/>
          </a:xfrm>
          <a:custGeom>
            <a:avLst/>
            <a:gdLst/>
            <a:ahLst/>
            <a:cxnLst/>
            <a:rect l="0" t="0" r="0" b="0"/>
            <a:pathLst>
              <a:path w="146051" h="38101">
                <a:moveTo>
                  <a:pt x="0" y="38100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Freeform 119"/>
          <p:cNvSpPr/>
          <p:nvPr>
            <p:custDataLst>
              <p:tags r:id="rId31"/>
            </p:custDataLst>
          </p:nvPr>
        </p:nvSpPr>
        <p:spPr bwMode="auto">
          <a:xfrm>
            <a:off x="1101725" y="4884737"/>
            <a:ext cx="146051" cy="38101"/>
          </a:xfrm>
          <a:custGeom>
            <a:avLst/>
            <a:gdLst/>
            <a:ahLst/>
            <a:cxnLst/>
            <a:rect l="0" t="0" r="0" b="0"/>
            <a:pathLst>
              <a:path w="146051" h="38101">
                <a:moveTo>
                  <a:pt x="0" y="38100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Text Placeholder 119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598612" y="4687887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60EB8F9-E67F-403B-B857-DA139286826B}" type="datetime'''''''''''''''7''''''''''''''''''''''''''8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8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99" name="Text Placeholder 197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797050" y="4456112"/>
            <a:ext cx="120650" cy="152400"/>
          </a:xfrm>
          <a:prstGeom prst="rect">
            <a:avLst/>
          </a:prstGeom>
          <a:solidFill>
            <a:schemeClr val="accent2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BDF782C-6052-4F34-B830-20F3ED0ACA1E}" type="datetime'''''''''''''''''''''''''''''''1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71" name="Text Placeholder 169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598612" y="4056062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F889971-F8F1-4CC9-BC0B-EE3A142E6711}" type="datetime'''''''''''''''''''''''''''''1''''9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58" name="Text Placeholder 156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827837" y="4703762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D33E125-EABF-4CD6-A16D-AC1C047B6929}" type="datetime'''''''''''''''''''''''''7''''''''''''''''''''''''''7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7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23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801688" y="1811337"/>
            <a:ext cx="2471737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0" dirty="0" smtClean="0">
                <a:latin typeface="Arial"/>
                <a:sym typeface="Arial"/>
              </a:rPr>
              <a:t>Manufacturing cost index (US = 100)</a:t>
            </a:r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235" name="Text Placeholder 233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801687" y="2070100"/>
            <a:ext cx="252412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CD76CE6-F39D-45FF-845A-13506755E67A}" type="datetime'1''4''''''''''''''''''''''''''0''''''''''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140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233" name="Text Placeholder 231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801687" y="2860675"/>
            <a:ext cx="252412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84F2E5D-A514-4D10-B2AA-C23FE7AE998B}" type="datetime'''''''''''''''''''''''''1''2''''0''''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120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38" name="Text Placeholder 43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801687" y="3660775"/>
            <a:ext cx="252412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B5F571A-2C34-4008-9FA6-FED25F112FE7}" type="datetime'''''''''''''''''''1''''''''''''''''''''''''00''''''''''''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292" name="Text Placeholder 290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885825" y="4451350"/>
            <a:ext cx="168275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FE1AC6D-E42B-43A9-B7DC-1D0AA41137CD}" type="datetime'''''''''''''''8''''''''''''''''''0''''''''''''''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80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216" name="Text Placeholder 214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468437" y="4518025"/>
            <a:ext cx="120650" cy="152400"/>
          </a:xfrm>
          <a:prstGeom prst="rect">
            <a:avLst/>
          </a:prstGeom>
          <a:solidFill>
            <a:schemeClr val="folHlink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8EE4380-FD9D-4178-9776-4FEB1C1AFCE3}" type="datetime'''2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28" name="Text Placeholder 61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739062" y="5224462"/>
            <a:ext cx="465137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857009C-43DC-4D80-8CA9-4C0C4E6275C2}" type="datetime'''''''''''''''''''''''C''''''''''''''h''''''''i''na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China</a:t>
            </a:fld>
            <a:r>
              <a:rPr lang="en-US" sz="1200" b="0" baseline="30000" smtClean="0"/>
              <a:t>2</a:t>
            </a:r>
            <a:r>
              <a:rPr lang="en-US" sz="1200" b="0" smtClean="0"/>
              <a:t> </a:t>
            </a:r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135" name="Text Placeholder 65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7856537" y="3800475"/>
            <a:ext cx="228600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4D4B73A-F46D-44BA-A27A-7E12E6A94517}" type="datetime'''''''''9''''''''''''''''''''''''''''3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93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86" name="Text Placeholder 184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7875587" y="4856162"/>
            <a:ext cx="190500" cy="152400"/>
          </a:xfrm>
          <a:prstGeom prst="rect">
            <a:avLst/>
          </a:prstGeom>
          <a:solidFill>
            <a:srgbClr val="E2E2E2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7FE6494-8ABE-4ADF-BC19-D82AE1BC8852}" type="datetime'''''''''''7''4''''''''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4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28" name="Text Placeholder 226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7745412" y="4641850"/>
            <a:ext cx="12065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355C874-7155-4127-9E64-EE3C24746F2C}" type="datetime'''''''''''3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211" name="Text Placeholder 209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8074025" y="4541837"/>
            <a:ext cx="120650" cy="152400"/>
          </a:xfrm>
          <a:prstGeom prst="rect">
            <a:avLst/>
          </a:prstGeom>
          <a:solidFill>
            <a:schemeClr val="accent2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9752DB9-2ABD-43EC-A08D-4512415E27E0}" type="datetime'''''''2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90" name="Text Placeholder 188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7875587" y="4217987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FB427D6-5052-40E8-BE15-2EE534E81D12}" type="datetime'''''''''1''''4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05" name="Text Placeholder 203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777037" y="5224462"/>
            <a:ext cx="292100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30C7DE6-2580-4A15-A84E-FC765A0992F8}" type="datetime'''''''''''''''''''''''''''I''''''''ta''''''l''y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Italy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218" name="Text Placeholder 216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6767512" y="2628900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DC86167-80E6-4E95-AAD2-724DE2C481D2}" type="datetime'1''''''''''''''''''''''''''''''''''''''''''''''''''''''2''3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23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68" name="Text Placeholder 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969962" y="4994275"/>
            <a:ext cx="84137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DCB2B0A-5006-4473-864F-BEC56931BC9B}" type="datetime'''''''''''''''''''''''''''''''''''''''''''''''''''0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220" name="Text Placeholder 218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6862762" y="4508500"/>
            <a:ext cx="12065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21D5840-1E3F-4DF5-B000-BD15E8DA328D}" type="datetime'''''''''4''''''''''''''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22" name="Text Placeholder 220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6862762" y="4346575"/>
            <a:ext cx="12065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C7FC8CD-D2ED-4AA3-B0C1-27CE0B361231}" type="datetime'''''''''''''''''''''4''''''''''''''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24" name="Text Placeholder 222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6827837" y="3513137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65A1A95-602F-4A0E-BF5C-35E9ACBE3040}" type="datetime'''''''''''''3''''''''8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8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71" name="Text Placeholder 31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5662612" y="5224462"/>
            <a:ext cx="425450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F6BC2BE-7AE2-4501-9F8E-04E42DD65859}" type="datetime'''''''''''''''''J''''''''''''''''''''''''apa''n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Japan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72" name="Text Placeholder 171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5719762" y="2714625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02FA123-F521-43A5-8E47-9FE1921DAB41}" type="datetime'''1''''''''''''''''''''''''2''''''''''''''''''''''''1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21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270" name="Text Placeholder 268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3694112" y="4702175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306A120-02C9-4A2F-8248-F80EC6F59502}" type="datetime'''7''''''''''''''''''''''''''''''''''''7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7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84" name="Text Placeholder 282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3729037" y="4475162"/>
            <a:ext cx="12065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4477E50-88B8-4EDD-9F23-72719BA0C6B5}" type="datetime'''''''''''''''''''''''''''''''''''''''''''''''''''6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82" name="Text Placeholder 280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3729037" y="4313237"/>
            <a:ext cx="120650" cy="152400"/>
          </a:xfrm>
          <a:prstGeom prst="rect">
            <a:avLst/>
          </a:prstGeom>
          <a:solidFill>
            <a:schemeClr val="accent2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450CB72-5DD2-41FC-87EA-AA615D1E3D29}" type="datetime'''''''''''''''''''''''''''''''''2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80" name="Text Placeholder 278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3694112" y="3675062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9DA1FB5-7BC6-4F11-9F97-381E304BDE27}" type="datetime'''''''''''''''''''''''3''''0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53" name="Text Placeholder 251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2436812" y="5224462"/>
            <a:ext cx="611187" cy="365125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096EAB1-6AE8-42DD-982C-FAABD95B5DF3}" type="datetime'Un''i''t''''e''''d'' ''K''''''''''''''''''i''''''n''g''d''om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United Kingdom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257" name="Text Placeholder 255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2586037" y="3238500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432D856-46C4-481F-9BCF-622D5809AB09}" type="datetime'1''''''''''''''''''''''''0''''''''''''''''''''''''8''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08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255" name="Text Placeholder 253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2646362" y="4673600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44FE73A-2D7C-4EF1-AAF7-D039EC200411}" type="datetime'''80''''''''''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80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63" name="Text Placeholder 261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2681287" y="4389437"/>
            <a:ext cx="12065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118B9A8-EAAB-4B7D-AE95-47DEABC9CB37}" type="datetime'''''''''''''''5''''''''''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61" name="Text Placeholder 259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2681287" y="4256087"/>
            <a:ext cx="120650" cy="152400"/>
          </a:xfrm>
          <a:prstGeom prst="rect">
            <a:avLst/>
          </a:prstGeom>
          <a:solidFill>
            <a:schemeClr val="accent2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6C11262-1172-4B66-A73A-F6387A798A8F}" type="datetime'''''''''''''''''''''''''''''''''''2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59" name="Text Placeholder 257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2646362" y="3794125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0ED4352-015B-49B9-B02B-14661530FFF2}" type="datetime'''''''''''2''''''''1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19" name="Text Placeholder 2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1554162" y="5224462"/>
            <a:ext cx="280987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200" b="0" dirty="0" smtClean="0"/>
              <a:t>US</a:t>
            </a:r>
            <a:r>
              <a:rPr lang="en-US" sz="1200" b="0" baseline="30000" dirty="0" smtClean="0"/>
              <a:t>1</a:t>
            </a:r>
            <a:r>
              <a:rPr lang="en-US" sz="1200" b="0" dirty="0" smtClean="0"/>
              <a:t> </a:t>
            </a:r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121" name="Text Placeholder 47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1538287" y="3543300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61D935D-DE6C-4164-BA6B-44E4C2B9EB3D}" type="datetime'''''''''''''''1''''''''''''''''''''''0''0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183" name="Text Placeholder 181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5780087" y="4703762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737376D-CC4B-48C7-8033-39F105105A73}" type="datetime'''''''''''''''''''''''''''''''''''7''''''7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7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26" name="Text Placeholder 224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5815012" y="4489450"/>
            <a:ext cx="12065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F1420AD-2726-483F-840A-C74748799779}" type="datetime'''''''''''''''''''''''''''''''''''''''''''''''5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09" name="Text Placeholder 207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5815012" y="4332287"/>
            <a:ext cx="120650" cy="152400"/>
          </a:xfrm>
          <a:prstGeom prst="rect">
            <a:avLst/>
          </a:prstGeom>
          <a:solidFill>
            <a:schemeClr val="accent2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3CD643D-F4F0-42EE-BE86-899DD3B48E76}" type="datetime'''''''''''''''''''''''''''''''''''''''''''''3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87" name="Text Placeholder 185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5780087" y="3560762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02F1A77-7261-4109-A4D3-7F2CFC27AE1C}" type="datetime'''''''''''''''''''''''''''''''''3''''''''''''6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6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72" name="Text Placeholder 270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4589462" y="5224462"/>
            <a:ext cx="485775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D73C840-7142-437B-B473-BB3E6B6DBDC3}" type="datetime'''''''F''''r''''''''''an''''''''''c''''''''''e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France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278" name="Text Placeholder 276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4676775" y="2952750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B775CAD-C27D-40D4-9B3C-F201669882CC}" type="datetime'''''1''''''''''''''''''''''''1''''''''''''''5''''''''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15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274" name="Text Placeholder 272"/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4737100" y="4678362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C68DD59-4637-44E6-957D-7915EFC3F118}" type="datetime'''''''''''''''''''''7''''''''''8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8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90" name="Text Placeholder 288"/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4772025" y="4413250"/>
            <a:ext cx="12065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BC7F556-A7E9-4078-A871-7BDA1CCC620A}" type="datetime'''''''''''7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88" name="Text Placeholder 286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4772025" y="4246562"/>
            <a:ext cx="120650" cy="152400"/>
          </a:xfrm>
          <a:prstGeom prst="rect">
            <a:avLst/>
          </a:prstGeom>
          <a:solidFill>
            <a:schemeClr val="accent2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AB6562F-9C98-4452-8B40-DCB3D2E63F3C}" type="datetime'2''''''''''''''''''''''''''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86" name="Text Placeholder 284"/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4737100" y="3646487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48FA772-0724-4E77-B409-E309BF7019DF}" type="datetime'''''''''''''''''''''''''''2''''''8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68" name="Text Placeholder 266"/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3470275" y="5224462"/>
            <a:ext cx="638175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BD892F8-B408-4D57-A04D-78AC49F12C0A}" type="datetime'''''Ge''''''''''r''''''''''m''''''''an''''''y''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Germany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276" name="Text Placeholder 274"/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3633787" y="2952750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8AD4F43-27D1-4225-BEB8-0D0861971C5A}" type="datetime'''''''''1''''''''''''''''''1''''5''''''''''''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15</a:t>
            </a:fld>
            <a:endParaRPr lang="en-US" sz="1200" b="0">
              <a:latin typeface="Arial"/>
              <a:sym typeface="Arial"/>
            </a:endParaRPr>
          </a:p>
        </p:txBody>
      </p:sp>
      <p:grpSp>
        <p:nvGrpSpPr>
          <p:cNvPr id="88" name="Group 315"/>
          <p:cNvGrpSpPr/>
          <p:nvPr>
            <p:custDataLst>
              <p:tags r:id="rId80"/>
            </p:custDataLst>
          </p:nvPr>
        </p:nvGrpSpPr>
        <p:grpSpPr>
          <a:xfrm>
            <a:off x="1284288" y="2139351"/>
            <a:ext cx="954087" cy="3398808"/>
            <a:chOff x="1155940" y="2139351"/>
            <a:chExt cx="4623758" cy="3398808"/>
          </a:xfrm>
        </p:grpSpPr>
        <p:sp>
          <p:nvSpPr>
            <p:cNvPr id="89" name="Rectangle 88"/>
            <p:cNvSpPr/>
            <p:nvPr>
              <p:custDataLst>
                <p:tags r:id="rId108"/>
              </p:custDataLst>
            </p:nvPr>
          </p:nvSpPr>
          <p:spPr>
            <a:xfrm>
              <a:off x="1155940" y="2139351"/>
              <a:ext cx="4623758" cy="293298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0" name="Rectangle 89"/>
            <p:cNvSpPr/>
            <p:nvPr>
              <p:custDataLst>
                <p:tags r:id="rId109"/>
              </p:custDataLst>
            </p:nvPr>
          </p:nvSpPr>
          <p:spPr>
            <a:xfrm>
              <a:off x="1155940" y="5210355"/>
              <a:ext cx="4623758" cy="327804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75" name="Group 274"/>
          <p:cNvGrpSpPr/>
          <p:nvPr>
            <p:custDataLst>
              <p:tags r:id="rId81"/>
            </p:custDataLst>
          </p:nvPr>
        </p:nvGrpSpPr>
        <p:grpSpPr>
          <a:xfrm>
            <a:off x="2208212" y="2139351"/>
            <a:ext cx="1144588" cy="3451824"/>
            <a:chOff x="2208212" y="2139351"/>
            <a:chExt cx="1144588" cy="3451824"/>
          </a:xfrm>
        </p:grpSpPr>
        <p:sp>
          <p:nvSpPr>
            <p:cNvPr id="92" name="Rectangle 91"/>
            <p:cNvSpPr/>
            <p:nvPr>
              <p:custDataLst>
                <p:tags r:id="rId106"/>
              </p:custDataLst>
            </p:nvPr>
          </p:nvSpPr>
          <p:spPr>
            <a:xfrm>
              <a:off x="2297193" y="2139351"/>
              <a:ext cx="966625" cy="293298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3" name="Rectangle 92"/>
            <p:cNvSpPr/>
            <p:nvPr>
              <p:custDataLst>
                <p:tags r:id="rId107"/>
              </p:custDataLst>
            </p:nvPr>
          </p:nvSpPr>
          <p:spPr>
            <a:xfrm>
              <a:off x="2208212" y="5210355"/>
              <a:ext cx="1144588" cy="38082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67" name="Group 266"/>
          <p:cNvGrpSpPr/>
          <p:nvPr>
            <p:custDataLst>
              <p:tags r:id="rId82"/>
            </p:custDataLst>
          </p:nvPr>
        </p:nvGrpSpPr>
        <p:grpSpPr>
          <a:xfrm>
            <a:off x="3390899" y="2139351"/>
            <a:ext cx="1952625" cy="3398808"/>
            <a:chOff x="3295650" y="2139351"/>
            <a:chExt cx="1537575" cy="3398808"/>
          </a:xfrm>
        </p:grpSpPr>
        <p:sp>
          <p:nvSpPr>
            <p:cNvPr id="99" name="Rectangle 98"/>
            <p:cNvSpPr/>
            <p:nvPr>
              <p:custDataLst>
                <p:tags r:id="rId104"/>
              </p:custDataLst>
            </p:nvPr>
          </p:nvSpPr>
          <p:spPr>
            <a:xfrm>
              <a:off x="3295650" y="2139351"/>
              <a:ext cx="1537575" cy="293298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0" name="Rectangle 99"/>
            <p:cNvSpPr/>
            <p:nvPr>
              <p:custDataLst>
                <p:tags r:id="rId105"/>
              </p:custDataLst>
            </p:nvPr>
          </p:nvSpPr>
          <p:spPr>
            <a:xfrm>
              <a:off x="3295650" y="5210355"/>
              <a:ext cx="1537575" cy="327804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69" name="Group 268"/>
          <p:cNvGrpSpPr/>
          <p:nvPr>
            <p:custDataLst>
              <p:tags r:id="rId83"/>
            </p:custDataLst>
          </p:nvPr>
        </p:nvGrpSpPr>
        <p:grpSpPr>
          <a:xfrm>
            <a:off x="5453775" y="2139351"/>
            <a:ext cx="927975" cy="3398808"/>
            <a:chOff x="5148975" y="2139351"/>
            <a:chExt cx="1537575" cy="3398808"/>
          </a:xfrm>
        </p:grpSpPr>
        <p:sp>
          <p:nvSpPr>
            <p:cNvPr id="97" name="Rectangle 96"/>
            <p:cNvSpPr/>
            <p:nvPr>
              <p:custDataLst>
                <p:tags r:id="rId102"/>
              </p:custDataLst>
            </p:nvPr>
          </p:nvSpPr>
          <p:spPr>
            <a:xfrm>
              <a:off x="5148975" y="2139351"/>
              <a:ext cx="1537575" cy="293298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8" name="Rectangle 97"/>
            <p:cNvSpPr/>
            <p:nvPr>
              <p:custDataLst>
                <p:tags r:id="rId103"/>
              </p:custDataLst>
            </p:nvPr>
          </p:nvSpPr>
          <p:spPr>
            <a:xfrm>
              <a:off x="5148975" y="5210355"/>
              <a:ext cx="1537575" cy="327804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77" name="Group 276"/>
          <p:cNvGrpSpPr/>
          <p:nvPr>
            <p:custDataLst>
              <p:tags r:id="rId84"/>
            </p:custDataLst>
          </p:nvPr>
        </p:nvGrpSpPr>
        <p:grpSpPr>
          <a:xfrm>
            <a:off x="6296793" y="2148228"/>
            <a:ext cx="1110344" cy="3398808"/>
            <a:chOff x="6456589" y="2139351"/>
            <a:chExt cx="1110344" cy="3398808"/>
          </a:xfrm>
        </p:grpSpPr>
        <p:sp>
          <p:nvSpPr>
            <p:cNvPr id="102" name="Rectangle 101"/>
            <p:cNvSpPr/>
            <p:nvPr>
              <p:custDataLst>
                <p:tags r:id="rId100"/>
              </p:custDataLst>
            </p:nvPr>
          </p:nvSpPr>
          <p:spPr>
            <a:xfrm>
              <a:off x="6542908" y="2139351"/>
              <a:ext cx="937706" cy="293298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3" name="Rectangle 102"/>
            <p:cNvSpPr/>
            <p:nvPr>
              <p:custDataLst>
                <p:tags r:id="rId101"/>
              </p:custDataLst>
            </p:nvPr>
          </p:nvSpPr>
          <p:spPr>
            <a:xfrm>
              <a:off x="6456589" y="5210355"/>
              <a:ext cx="1110344" cy="327804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04" name="Group 112"/>
          <p:cNvGrpSpPr/>
          <p:nvPr>
            <p:custDataLst>
              <p:tags r:id="rId85"/>
            </p:custDataLst>
          </p:nvPr>
        </p:nvGrpSpPr>
        <p:grpSpPr>
          <a:xfrm>
            <a:off x="7496175" y="2139351"/>
            <a:ext cx="1136195" cy="3398808"/>
            <a:chOff x="730309" y="2139351"/>
            <a:chExt cx="5475025" cy="3398808"/>
          </a:xfrm>
        </p:grpSpPr>
        <p:sp>
          <p:nvSpPr>
            <p:cNvPr id="105" name="Rectangle 104"/>
            <p:cNvSpPr/>
            <p:nvPr>
              <p:custDataLst>
                <p:tags r:id="rId98"/>
              </p:custDataLst>
            </p:nvPr>
          </p:nvSpPr>
          <p:spPr>
            <a:xfrm>
              <a:off x="1155940" y="2139351"/>
              <a:ext cx="4623758" cy="293298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6" name="Rectangle 105"/>
            <p:cNvSpPr/>
            <p:nvPr>
              <p:custDataLst>
                <p:tags r:id="rId99"/>
              </p:custDataLst>
            </p:nvPr>
          </p:nvSpPr>
          <p:spPr>
            <a:xfrm>
              <a:off x="730309" y="5210355"/>
              <a:ext cx="5475025" cy="327804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  <p:custDataLst>
              <p:tags r:id="rId86"/>
            </p:custDataLst>
          </p:nvPr>
        </p:nvSpPr>
        <p:spPr/>
        <p:txBody>
          <a:bodyPr/>
          <a:lstStyle/>
          <a:p>
            <a:r>
              <a:rPr lang="en-US" dirty="0" smtClean="0"/>
              <a:t>Labor and energy cost advantages will position the US </a:t>
            </a:r>
            <a:br>
              <a:rPr lang="en-US" dirty="0" smtClean="0"/>
            </a:br>
            <a:r>
              <a:rPr lang="en-US" dirty="0" smtClean="0"/>
              <a:t>as one of the developed world's lowest-cost countries</a:t>
            </a:r>
            <a:endParaRPr lang="en-US" dirty="0"/>
          </a:p>
        </p:txBody>
      </p:sp>
      <p:sp>
        <p:nvSpPr>
          <p:cNvPr id="61" name="Rectangle 2"/>
          <p:cNvSpPr>
            <a:spLocks noChangeArrowheads="1"/>
          </p:cNvSpPr>
          <p:nvPr>
            <p:custDataLst>
              <p:tags r:id="rId87"/>
            </p:custDataLst>
          </p:nvPr>
        </p:nvSpPr>
        <p:spPr bwMode="gray">
          <a:xfrm>
            <a:off x="493714" y="1177925"/>
            <a:ext cx="8762999" cy="40011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400" b="1" dirty="0" smtClean="0"/>
              <a:t>Major exporting nation average manufacturing cost structures relative to US (2015 projections)</a:t>
            </a:r>
          </a:p>
        </p:txBody>
      </p:sp>
      <p:sp>
        <p:nvSpPr>
          <p:cNvPr id="70" name="Rectangle 3"/>
          <p:cNvSpPr>
            <a:spLocks noChangeArrowheads="1"/>
          </p:cNvSpPr>
          <p:nvPr>
            <p:custDataLst>
              <p:tags r:id="rId88"/>
            </p:custDataLst>
          </p:nvPr>
        </p:nvSpPr>
        <p:spPr bwMode="gray">
          <a:xfrm>
            <a:off x="455614" y="6082748"/>
            <a:ext cx="8994775" cy="57046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000000"/>
                </a:solidFill>
              </a:rPr>
              <a:t>1. US figures represent costs in a set of </a:t>
            </a:r>
            <a:r>
              <a:rPr lang="en-US" sz="800" dirty="0" smtClean="0"/>
              <a:t>select southern states </a:t>
            </a:r>
            <a:r>
              <a:rPr lang="en-US" sz="800" dirty="0" smtClean="0">
                <a:solidFill>
                  <a:srgbClr val="000000"/>
                </a:solidFill>
              </a:rPr>
              <a:t>as defined in prior publications   2. Chinese figures represent Yangtze River Delta region </a:t>
            </a: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000000"/>
                </a:solidFill>
              </a:rPr>
              <a:t>Note: No difference assumed in "other" costs (e.g., raw materials inputs, machine and tool depreciation, etc); differences in values is a function of the industry mix of each export country; cost structures calculated as a </a:t>
            </a:r>
            <a:r>
              <a:rPr lang="en-US" sz="800" dirty="0" smtClean="0"/>
              <a:t>weighted average across all industries</a:t>
            </a:r>
            <a:endParaRPr lang="en-US" sz="800" dirty="0" smtClean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000000"/>
                </a:solidFill>
              </a:rPr>
              <a:t>Source: US Economic Census; </a:t>
            </a:r>
            <a:r>
              <a:rPr lang="en-US" sz="800" dirty="0" err="1" smtClean="0">
                <a:solidFill>
                  <a:srgbClr val="000000"/>
                </a:solidFill>
              </a:rPr>
              <a:t>BLS</a:t>
            </a:r>
            <a:r>
              <a:rPr lang="en-US" sz="800" dirty="0" smtClean="0">
                <a:solidFill>
                  <a:srgbClr val="000000"/>
                </a:solidFill>
              </a:rPr>
              <a:t>; BEA; </a:t>
            </a:r>
            <a:r>
              <a:rPr lang="en-US" sz="800" dirty="0" err="1" smtClean="0">
                <a:solidFill>
                  <a:srgbClr val="000000"/>
                </a:solidFill>
              </a:rPr>
              <a:t>ILO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45" name="Rectangle 144"/>
          <p:cNvSpPr/>
          <p:nvPr>
            <p:custDataLst>
              <p:tags r:id="rId89"/>
            </p:custDataLst>
          </p:nvPr>
        </p:nvSpPr>
        <p:spPr bwMode="gray">
          <a:xfrm>
            <a:off x="6810375" y="5684839"/>
            <a:ext cx="214312" cy="160337"/>
          </a:xfrm>
          <a:prstGeom prst="rect">
            <a:avLst/>
          </a:prstGeom>
          <a:solidFill>
            <a:srgbClr val="E2E2E2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29" name="Rectangle 228"/>
          <p:cNvSpPr/>
          <p:nvPr>
            <p:custDataLst>
              <p:tags r:id="rId90"/>
            </p:custDataLst>
          </p:nvPr>
        </p:nvSpPr>
        <p:spPr bwMode="gray">
          <a:xfrm>
            <a:off x="5667375" y="5684837"/>
            <a:ext cx="214312" cy="160338"/>
          </a:xfrm>
          <a:prstGeom prst="rect">
            <a:avLst/>
          </a:prstGeom>
          <a:solidFill>
            <a:schemeClr val="folHlink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12" name="Rectangle 211"/>
          <p:cNvSpPr/>
          <p:nvPr>
            <p:custDataLst>
              <p:tags r:id="rId91"/>
            </p:custDataLst>
          </p:nvPr>
        </p:nvSpPr>
        <p:spPr bwMode="gray">
          <a:xfrm>
            <a:off x="4649787" y="5684837"/>
            <a:ext cx="214312" cy="160338"/>
          </a:xfrm>
          <a:prstGeom prst="rect">
            <a:avLst/>
          </a:prstGeom>
          <a:solidFill>
            <a:schemeClr val="accent2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95" name="Rectangle 194"/>
          <p:cNvSpPr/>
          <p:nvPr>
            <p:custDataLst>
              <p:tags r:id="rId92"/>
            </p:custDataLst>
          </p:nvPr>
        </p:nvSpPr>
        <p:spPr bwMode="gray">
          <a:xfrm>
            <a:off x="2359025" y="5684837"/>
            <a:ext cx="214312" cy="160338"/>
          </a:xfrm>
          <a:prstGeom prst="rect">
            <a:avLst/>
          </a:prstGeom>
          <a:solidFill>
            <a:srgbClr val="79A2B3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51" name="Text Placeholder 180"/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7075487" y="5680075"/>
            <a:ext cx="381000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655ACBA-7D81-4C4B-B703-1E137A552F10}" type="datetime'O''''t''''''h''''''''''''''''''e''''r'''''''''''''''''''''''">
              <a:rPr lang="en-US" sz="1200" b="0" smtClean="0"/>
              <a:pPr>
                <a:spcBef>
                  <a:spcPct val="0"/>
                </a:spcBef>
                <a:spcAft>
                  <a:spcPct val="0"/>
                </a:spcAft>
              </a:pPr>
              <a:t>Other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214" name="Text Placeholder 212"/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5932488" y="5680075"/>
            <a:ext cx="776287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DD4493B-1B34-4597-AE84-29667438508C}" type="datetime'N''''a''''''''''''''''tur''''''''''''a''''''l'' g''''a''s'">
              <a:rPr lang="en-US" sz="1200" b="0" smtClean="0"/>
              <a:pPr>
                <a:spcBef>
                  <a:spcPct val="0"/>
                </a:spcBef>
                <a:spcAft>
                  <a:spcPct val="0"/>
                </a:spcAft>
              </a:pPr>
              <a:t>Natural gas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197" name="Text Placeholder 195"/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4914900" y="5680075"/>
            <a:ext cx="650875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6BEB3F1-5D69-4795-8532-5DE9CADB5F8B}" type="datetime'''''''''''''''''El''''''ect''''r''''''''''''ici''''''ty'''''">
              <a:rPr lang="en-US" sz="1200" b="0" smtClean="0"/>
              <a:pPr>
                <a:spcBef>
                  <a:spcPct val="0"/>
                </a:spcBef>
                <a:spcAft>
                  <a:spcPct val="0"/>
                </a:spcAft>
              </a:pPr>
              <a:t>Electricity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69" name="Text Placeholder 166"/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2624137" y="5680075"/>
            <a:ext cx="1924050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0" dirty="0" smtClean="0"/>
              <a:t>Labor (productivity-adjusted)</a:t>
            </a:r>
            <a:endParaRPr lang="en-US" sz="1200" b="0" dirty="0">
              <a:latin typeface="Arial"/>
              <a:sym typeface="Arial"/>
            </a:endParaRPr>
          </a:p>
        </p:txBody>
      </p:sp>
      <p:grpSp>
        <p:nvGrpSpPr>
          <p:cNvPr id="10" name="Group 331"/>
          <p:cNvGrpSpPr/>
          <p:nvPr>
            <p:custDataLst>
              <p:tags r:id="rId97"/>
            </p:custDataLst>
          </p:nvPr>
        </p:nvGrpSpPr>
        <p:grpSpPr>
          <a:xfrm>
            <a:off x="1183540" y="3571335"/>
            <a:ext cx="8516150" cy="366424"/>
            <a:chOff x="1147313" y="3571335"/>
            <a:chExt cx="8255480" cy="366424"/>
          </a:xfrm>
        </p:grpSpPr>
        <p:cxnSp>
          <p:nvCxnSpPr>
            <p:cNvPr id="328" name="Straight Connector 327"/>
            <p:cNvCxnSpPr/>
            <p:nvPr/>
          </p:nvCxnSpPr>
          <p:spPr>
            <a:xfrm>
              <a:off x="1147313" y="3752490"/>
              <a:ext cx="7263442" cy="0"/>
            </a:xfrm>
            <a:prstGeom prst="line">
              <a:avLst/>
            </a:prstGeom>
            <a:ln w="15875">
              <a:solidFill>
                <a:schemeClr val="bg2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9" name="Isosceles Triangle 328"/>
            <p:cNvSpPr/>
            <p:nvPr/>
          </p:nvSpPr>
          <p:spPr>
            <a:xfrm rot="16200000">
              <a:off x="8397814" y="3679165"/>
              <a:ext cx="215661" cy="155275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30" name="TextBox 329"/>
            <p:cNvSpPr txBox="1"/>
            <p:nvPr/>
          </p:nvSpPr>
          <p:spPr>
            <a:xfrm>
              <a:off x="8574657" y="3571335"/>
              <a:ext cx="828136" cy="366424"/>
            </a:xfrm>
            <a:prstGeom prst="rect">
              <a:avLst/>
            </a:prstGeom>
            <a:noFill/>
          </p:spPr>
          <p:txBody>
            <a:bodyPr wrap="square" tIns="90000" bIns="90000" rtlCol="0">
              <a:spAutoFit/>
            </a:bodyPr>
            <a:lstStyle/>
            <a:p>
              <a:pPr algn="ctr"/>
              <a:r>
                <a:rPr lang="en-US" sz="1200" dirty="0" smtClean="0"/>
                <a:t>US = 100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2000"/>
                                        <p:tgtEl>
                                          <p:spTgt spid="27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2000"/>
                                        <p:tgtEl>
                                          <p:spTgt spid="26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2000"/>
                                        <p:tgtEl>
                                          <p:spTgt spid="2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2000"/>
                                        <p:tgtEl>
                                          <p:spTgt spid="27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2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/>
        </p:nvGraphicFramePr>
        <p:xfrm>
          <a:off x="0" y="0"/>
          <a:ext cx="163763" cy="158750"/>
        </p:xfrm>
        <a:graphic>
          <a:graphicData uri="http://schemas.openxmlformats.org/presentationml/2006/ole">
            <p:oleObj spid="_x0000_s186370" name="think-cell Slide" r:id="rId32" imgW="360" imgH="360" progId="TCLayout.ActiveDocument.1">
              <p:embed/>
            </p:oleObj>
          </a:graphicData>
        </a:graphic>
      </p:graphicFrame>
      <p:sp>
        <p:nvSpPr>
          <p:cNvPr id="20" name="Rectangle 19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63763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36" name="Rectangle 135"/>
          <p:cNvSpPr/>
          <p:nvPr>
            <p:custDataLst>
              <p:tags r:id="rId3"/>
            </p:custDataLst>
          </p:nvPr>
        </p:nvSpPr>
        <p:spPr>
          <a:xfrm>
            <a:off x="8117712" y="2238843"/>
            <a:ext cx="1162310" cy="297133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graphicFrame>
        <p:nvGraphicFramePr>
          <p:cNvPr id="80" name="Object 3"/>
          <p:cNvGraphicFramePr>
            <a:graphicFrameLocks noChangeAspect="1"/>
          </p:cNvGraphicFramePr>
          <p:nvPr/>
        </p:nvGraphicFramePr>
        <p:xfrm>
          <a:off x="1531938" y="1958975"/>
          <a:ext cx="6943689" cy="3286171"/>
        </p:xfrm>
        <a:graphic>
          <a:graphicData uri="http://schemas.openxmlformats.org/presentationml/2006/ole">
            <p:oleObj spid="_x0000_s186371" name="Chart" r:id="rId33" imgW="6943689" imgH="3286171" progId="MSGraph.Chart.8">
              <p:embed followColorScheme="full"/>
            </p:oleObj>
          </a:graphicData>
        </a:graphic>
      </p:graphicFrame>
      <p:sp>
        <p:nvSpPr>
          <p:cNvPr id="101" name="Text Placeholder 179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992812" y="5219700"/>
            <a:ext cx="2794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ADA6EFC-36E0-4047-BAF3-1F2FA20848DE}" type="datetime'2''''''''''''0''''''''''''''1''''''''0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83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23987" y="3502025"/>
            <a:ext cx="1397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9B321F7-BA39-4254-9B8B-AB269B26134F}" type="datetime'''''''''''''''''''''''''''''2''''''''''''''''''''''''0'''''''">
              <a:rPr lang="en-US" sz="10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82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423987" y="4264025"/>
            <a:ext cx="1397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601076E-166E-428F-B4F9-AA54D3C9EC3D}" type="datetime'''''''''''''''''''''''1''''''0'''''">
              <a:rPr lang="en-US" sz="10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134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763962" y="5219700"/>
            <a:ext cx="2794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C6D1226-6769-4777-9DBA-F46926A149A1}" type="datetime'''2''''''''''''0''''''0''''''''''''''''''''''5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5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99" name="Text Placeholder 91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493837" y="5026025"/>
            <a:ext cx="6985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9C0CB21-B3CD-4639-89A1-69CCFCD1D9EA}" type="datetime'''''''''''''''''''''''''''''''''''''''''''''''''''''0'''">
              <a:rPr lang="en-US" sz="1000" b="0" smtClean="0">
                <a:cs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000" b="0" dirty="0">
              <a:latin typeface="Arial"/>
              <a:cs typeface="Arial"/>
              <a:sym typeface="Arial"/>
            </a:endParaRPr>
          </a:p>
        </p:txBody>
      </p:sp>
      <p:sp>
        <p:nvSpPr>
          <p:cNvPr id="135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230708" y="5219700"/>
            <a:ext cx="2794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ACEF0B3-8735-4796-87AF-A110859E0258}" type="datetime'''''''''''''''''''2''''''''''''''''''''''''''''01''''5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86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423987" y="1978025"/>
            <a:ext cx="1397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82321EC-B2BF-4238-BB2B-1327A3A178B0}" type="datetime'''''''''''''''''''4''''0'''''''''''''''''''''''''''''">
              <a:rPr lang="en-US" sz="10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40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84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423987" y="2740025"/>
            <a:ext cx="1397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886A325-65ED-4A2E-A711-1695E45E80ED}" type="datetime'''''''''''''''''''''''''3''''''''''''0'''''''''''">
              <a:rPr lang="en-US" sz="10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96" name="Text Placeholder 6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423987" y="1731963"/>
            <a:ext cx="2322512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noAutofit/>
          </a:bodyPr>
          <a:lstStyle/>
          <a:p>
            <a:r>
              <a:rPr lang="en-US" sz="1200" dirty="0" smtClean="0">
                <a:sym typeface="Arial" charset="0"/>
              </a:rPr>
              <a:t>Production worker wages</a:t>
            </a:r>
            <a:r>
              <a:rPr lang="en-US" sz="1200" b="0" dirty="0" smtClean="0">
                <a:sym typeface="Arial" charset="0"/>
              </a:rPr>
              <a:t> (</a:t>
            </a:r>
            <a:r>
              <a:rPr lang="en-US" sz="1200" dirty="0" smtClean="0">
                <a:sym typeface="Arial" charset="0"/>
              </a:rPr>
              <a:t>€</a:t>
            </a:r>
            <a:r>
              <a:rPr lang="en-US" sz="1200" b="0" dirty="0" smtClean="0">
                <a:sym typeface="Arial" charset="0"/>
              </a:rPr>
              <a:t>/hour</a:t>
            </a:r>
            <a:r>
              <a:rPr lang="en-US" sz="1200" b="0" dirty="0">
                <a:sym typeface="Arial" charset="0"/>
              </a:rPr>
              <a:t>) </a:t>
            </a:r>
          </a:p>
        </p:txBody>
      </p:sp>
      <p:sp>
        <p:nvSpPr>
          <p:cNvPr id="103" name="Text Placeholder 159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525587" y="5219700"/>
            <a:ext cx="2794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B26AF69-4629-42F4-AC97-D13AED2EC44C}" type="datetime'''20''0''0''''''''''''''''''''''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0</a:t>
            </a:fld>
            <a:endParaRPr lang="en-US" sz="1000" b="0" dirty="0">
              <a:latin typeface="Arial"/>
              <a:sym typeface="Arial"/>
            </a:endParaRPr>
          </a:p>
        </p:txBody>
      </p:sp>
      <p:sp useBgFill="1">
        <p:nvSpPr>
          <p:cNvPr id="89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222521" y="3462337"/>
            <a:ext cx="29527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3A01A34-B7F7-45FB-99F3-7F7825893292}" type="datetime'''1''''''''''''''''''''''''''8''''''''''''''''''''''''''.5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8.5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88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222521" y="2690812"/>
            <a:ext cx="29527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C67480E-0EAC-48E7-8048-46860881FB0F}" type="datetime'2''8''''''''''''''''''''''''''''''''''''.''''''''''''''''6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8.6</a:t>
            </a:fld>
            <a:endParaRPr lang="en-US" sz="1000" b="0" dirty="0">
              <a:latin typeface="Arial"/>
              <a:sym typeface="Arial"/>
            </a:endParaRPr>
          </a:p>
        </p:txBody>
      </p:sp>
      <p:sp useBgFill="1">
        <p:nvSpPr>
          <p:cNvPr id="91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984875" y="3681412"/>
            <a:ext cx="29527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6D54595-79C1-4964-ACB7-4E77F9C8F72D}" type="datetime'''''''''''''''''''1''''''''5.6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5.6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90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984875" y="3005137"/>
            <a:ext cx="29527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04035BC-416C-43BD-8CA5-1A983B9073E5}" type="datetime'''''''''''''''2''4''.''''''5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4.5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56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756025" y="3776662"/>
            <a:ext cx="29527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48C1B3F-6C32-4ED7-915D-89EE3E854D87}" type="datetime'''1''4''''''''''''''''''''''''''.4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4.4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92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756025" y="3433762"/>
            <a:ext cx="29527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F19B077-B6E8-4F7D-8C87-AADD95382301}" type="datetime'''1''''''''''8''''.''''''''''''''''''''''''''9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8.9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94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696582" y="3567112"/>
            <a:ext cx="29527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BC57F72-8C0D-4E40-958A-E73BB0A1BF3C}" type="datetime'17.1''''''''''''''''''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7.1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85" name="BCG_FootNote_Box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76249" y="6333390"/>
            <a:ext cx="8959295" cy="3286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000000"/>
                </a:solidFill>
              </a:rPr>
              <a:t>Note: </a:t>
            </a:r>
            <a:r>
              <a:rPr lang="en-GB" sz="800" dirty="0" smtClean="0">
                <a:solidFill>
                  <a:srgbClr val="000000"/>
                </a:solidFill>
              </a:rPr>
              <a:t>Fully loaded wages from </a:t>
            </a:r>
            <a:r>
              <a:rPr lang="en-GB" sz="800" dirty="0" err="1" smtClean="0">
                <a:solidFill>
                  <a:srgbClr val="000000"/>
                </a:solidFill>
              </a:rPr>
              <a:t>EIU</a:t>
            </a:r>
            <a:r>
              <a:rPr lang="en-GB" sz="800" dirty="0" smtClean="0">
                <a:solidFill>
                  <a:srgbClr val="000000"/>
                </a:solidFill>
              </a:rPr>
              <a:t>, US wages are average for Southern states</a:t>
            </a:r>
            <a:endParaRPr lang="en-US" sz="800" dirty="0" smtClean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000000"/>
                </a:solidFill>
              </a:rPr>
              <a:t>Source: </a:t>
            </a:r>
            <a:r>
              <a:rPr lang="en-US" sz="800" dirty="0" err="1" smtClean="0">
                <a:solidFill>
                  <a:srgbClr val="000000"/>
                </a:solidFill>
              </a:rPr>
              <a:t>ILO</a:t>
            </a:r>
            <a:r>
              <a:rPr lang="en-US" sz="800" dirty="0" smtClean="0">
                <a:solidFill>
                  <a:srgbClr val="000000"/>
                </a:solidFill>
              </a:rPr>
              <a:t>, </a:t>
            </a:r>
            <a:r>
              <a:rPr lang="en-US" sz="800" dirty="0" err="1" smtClean="0">
                <a:solidFill>
                  <a:srgbClr val="000000"/>
                </a:solidFill>
              </a:rPr>
              <a:t>EIU</a:t>
            </a:r>
            <a:r>
              <a:rPr lang="en-US" sz="800" dirty="0" smtClean="0">
                <a:solidFill>
                  <a:srgbClr val="000000"/>
                </a:solidFill>
              </a:rPr>
              <a:t>; BCG analysis</a:t>
            </a:r>
            <a:endParaRPr lang="en-US" sz="800" dirty="0">
              <a:solidFill>
                <a:srgbClr val="000000"/>
              </a:solidFill>
            </a:endParaRPr>
          </a:p>
        </p:txBody>
      </p:sp>
      <p:grpSp>
        <p:nvGrpSpPr>
          <p:cNvPr id="2" name="Group 168"/>
          <p:cNvGrpSpPr/>
          <p:nvPr>
            <p:custDataLst>
              <p:tags r:id="rId22"/>
            </p:custDataLst>
          </p:nvPr>
        </p:nvGrpSpPr>
        <p:grpSpPr>
          <a:xfrm>
            <a:off x="7456250" y="5708306"/>
            <a:ext cx="55540" cy="259602"/>
            <a:chOff x="807060" y="5543550"/>
            <a:chExt cx="53840" cy="259602"/>
          </a:xfrm>
        </p:grpSpPr>
        <p:sp>
          <p:nvSpPr>
            <p:cNvPr id="170" name="Rectangle 169"/>
            <p:cNvSpPr/>
            <p:nvPr>
              <p:custDataLst>
                <p:tags r:id="rId29"/>
              </p:custDataLst>
            </p:nvPr>
          </p:nvSpPr>
          <p:spPr>
            <a:xfrm>
              <a:off x="812936" y="5543550"/>
              <a:ext cx="45719" cy="47625"/>
            </a:xfrm>
            <a:prstGeom prst="rect">
              <a:avLst/>
            </a:prstGeom>
            <a:solidFill>
              <a:srgbClr val="3D6E81"/>
            </a:solidFill>
            <a:ln w="9525">
              <a:solidFill>
                <a:srgbClr val="3D6E8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71" name="Oval 170"/>
            <p:cNvSpPr/>
            <p:nvPr>
              <p:custDataLst>
                <p:tags r:id="rId30"/>
              </p:custDataLst>
            </p:nvPr>
          </p:nvSpPr>
          <p:spPr>
            <a:xfrm>
              <a:off x="807060" y="5753158"/>
              <a:ext cx="53840" cy="4999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</p:grpSp>
      <p:cxnSp>
        <p:nvCxnSpPr>
          <p:cNvPr id="33" name="Straight Connector 32"/>
          <p:cNvCxnSpPr/>
          <p:nvPr>
            <p:custDataLst>
              <p:tags r:id="rId23"/>
            </p:custDataLst>
          </p:nvPr>
        </p:nvCxnSpPr>
        <p:spPr bwMode="gray">
          <a:xfrm>
            <a:off x="7366000" y="5729287"/>
            <a:ext cx="219075" cy="0"/>
          </a:xfrm>
          <a:prstGeom prst="line">
            <a:avLst/>
          </a:prstGeom>
          <a:ln w="19050">
            <a:solidFill>
              <a:srgbClr val="3D6E8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>
            <p:custDataLst>
              <p:tags r:id="rId24"/>
            </p:custDataLst>
          </p:nvPr>
        </p:nvCxnSpPr>
        <p:spPr bwMode="gray">
          <a:xfrm>
            <a:off x="7366000" y="5932487"/>
            <a:ext cx="2190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635875" y="5862637"/>
            <a:ext cx="176212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FCDDA59-45A3-4ED8-B372-47F8EA154E49}" type="datetime'''US'''''''''''''''">
              <a:rPr lang="en-US" sz="1000" b="0" smtClean="0"/>
              <a:pPr>
                <a:spcBef>
                  <a:spcPct val="0"/>
                </a:spcBef>
                <a:spcAft>
                  <a:spcPct val="0"/>
                </a:spcAft>
              </a:pPr>
              <a:t>US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17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635875" y="5659437"/>
            <a:ext cx="231775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C0CFD80-D686-4D48-9C65-DC841F50675F}" type="datetime'I''''''''''''t''''''''''''a''''l''''''''''''''y'''''''''''">
              <a:rPr lang="en-US" sz="1000" b="0" smtClean="0"/>
              <a:pPr>
                <a:spcBef>
                  <a:spcPct val="0"/>
                </a:spcBef>
                <a:spcAft>
                  <a:spcPct val="0"/>
                </a:spcAft>
              </a:pPr>
              <a:t>Italy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58" name="TextBox 57"/>
          <p:cNvSpPr txBox="1"/>
          <p:nvPr>
            <p:custDataLst>
              <p:tags r:id="rId27"/>
            </p:custDataLst>
          </p:nvPr>
        </p:nvSpPr>
        <p:spPr>
          <a:xfrm>
            <a:off x="5622356" y="4164853"/>
            <a:ext cx="525677" cy="335646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 algn="ctr"/>
            <a:r>
              <a:rPr lang="en-US" sz="1000" dirty="0" smtClean="0">
                <a:latin typeface="Arial" pitchFamily="34" charset="0"/>
                <a:cs typeface="Arial" pitchFamily="34" charset="0"/>
              </a:rPr>
              <a:t>16.0</a:t>
            </a:r>
          </a:p>
        </p:txBody>
      </p:sp>
      <p:sp>
        <p:nvSpPr>
          <p:cNvPr id="63" name="Title 62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/>
        <p:txBody>
          <a:bodyPr/>
          <a:lstStyle/>
          <a:p>
            <a:r>
              <a:rPr lang="en-US" dirty="0" smtClean="0"/>
              <a:t>Productivity-adjusted wages are ~54% higher for Italy than U.S. in 2015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European and Japanese companies looking to produce in and even export from the US</a:t>
            </a:r>
            <a:endParaRPr lang="en-US" dirty="0"/>
          </a:p>
        </p:txBody>
      </p:sp>
      <p:pic>
        <p:nvPicPr>
          <p:cNvPr id="8" name="Picture 2" descr="http://www.inautonews.com/wp-content/plugins/yet-another-photoblog/cache/toyota_headquarters.aqzvfyoqdhk4scssgc0skkc80.a5fuq7lrqzkgc0ccw4ss08gso.th.jpeg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5239774" y="2382248"/>
            <a:ext cx="4234426" cy="2638374"/>
          </a:xfrm>
          <a:prstGeom prst="rect">
            <a:avLst/>
          </a:prstGeom>
          <a:noFill/>
        </p:spPr>
      </p:pic>
      <p:pic>
        <p:nvPicPr>
          <p:cNvPr id="9" name="Picture 2" descr="http://www.dmcinfo.com/Portals/0/Siemens-logo1.jpg"/>
          <p:cNvPicPr>
            <a:picLocks noChangeAspect="1" noChangeArrowheads="1"/>
          </p:cNvPicPr>
          <p:nvPr/>
        </p:nvPicPr>
        <p:blipFill>
          <a:blip r:embed="rId3" cstate="screen"/>
          <a:srcRect t="12617"/>
          <a:stretch>
            <a:fillRect/>
          </a:stretch>
        </p:blipFill>
        <p:spPr bwMode="auto">
          <a:xfrm>
            <a:off x="471488" y="2373669"/>
            <a:ext cx="4206163" cy="2655531"/>
          </a:xfrm>
          <a:prstGeom prst="rect">
            <a:avLst/>
          </a:prstGeom>
          <a:noFill/>
        </p:spPr>
      </p:pic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European aviation industry is capitalizing </a:t>
            </a:r>
            <a:br>
              <a:rPr lang="en-US" dirty="0" smtClean="0"/>
            </a:br>
            <a:r>
              <a:rPr lang="en-US" dirty="0" smtClean="0"/>
              <a:t>on the value of US manufacturing</a:t>
            </a:r>
            <a:endParaRPr lang="en-US" dirty="0"/>
          </a:p>
        </p:txBody>
      </p:sp>
      <p:pic>
        <p:nvPicPr>
          <p:cNvPr id="4" name="Picture 3" descr="A320.jpg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6747" t="24191" r="6619" b="24241"/>
          <a:stretch>
            <a:fillRect/>
          </a:stretch>
        </p:blipFill>
        <p:spPr>
          <a:xfrm>
            <a:off x="400445" y="2838091"/>
            <a:ext cx="4657458" cy="1785668"/>
          </a:xfrm>
          <a:prstGeom prst="rect">
            <a:avLst/>
          </a:prstGeom>
        </p:spPr>
      </p:pic>
      <p:pic>
        <p:nvPicPr>
          <p:cNvPr id="6" name="Picture 2" descr="http://i.dailymail.co.uk/i/pix/2009/02/09/article-0-0038A5AC00000258-921_468x368.jp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633509" y="2167477"/>
            <a:ext cx="3734827" cy="284689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2418" name="Object 2" hidden="1"/>
          <p:cNvGraphicFramePr>
            <a:graphicFrameLocks noChangeAspect="1"/>
          </p:cNvGraphicFramePr>
          <p:nvPr/>
        </p:nvGraphicFramePr>
        <p:xfrm>
          <a:off x="0" y="0"/>
          <a:ext cx="163763" cy="158750"/>
        </p:xfrm>
        <a:graphic>
          <a:graphicData uri="http://schemas.openxmlformats.org/presentationml/2006/ole">
            <p:oleObj spid="_x0000_s116738" name="think-cell Slide" r:id="rId63" imgW="360" imgH="360" progId="TCLayout.ActiveDocument.1">
              <p:embed/>
            </p:oleObj>
          </a:graphicData>
        </a:graphic>
      </p:graphicFrame>
      <p:sp>
        <p:nvSpPr>
          <p:cNvPr id="11" name="Rectangle 1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63763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anchor="ctr" anchorCtr="0">
            <a:noAutofit/>
          </a:bodyPr>
          <a:lstStyle/>
          <a:p>
            <a:pPr algn="ctr">
              <a:defRPr/>
            </a:pPr>
            <a:endParaRPr lang="en-US" sz="12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572421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de-DE" sz="2300" dirty="0" err="1" smtClean="0"/>
              <a:t>Estimated</a:t>
            </a:r>
            <a:r>
              <a:rPr lang="de-DE" sz="2300" dirty="0" smtClean="0"/>
              <a:t> </a:t>
            </a:r>
            <a:r>
              <a:rPr lang="de-DE" sz="2300" dirty="0" err="1" smtClean="0"/>
              <a:t>reshoring</a:t>
            </a:r>
            <a:r>
              <a:rPr lang="de-DE" sz="2300" dirty="0" smtClean="0"/>
              <a:t> </a:t>
            </a:r>
            <a:r>
              <a:rPr lang="de-DE" sz="2300" dirty="0" err="1" smtClean="0"/>
              <a:t>of</a:t>
            </a:r>
            <a:r>
              <a:rPr lang="de-DE" sz="2300" dirty="0" smtClean="0"/>
              <a:t> </a:t>
            </a:r>
            <a:r>
              <a:rPr lang="de-DE" sz="2300" dirty="0" err="1" smtClean="0"/>
              <a:t>tipping-point</a:t>
            </a:r>
            <a:r>
              <a:rPr lang="de-DE" sz="2300" dirty="0" smtClean="0"/>
              <a:t> </a:t>
            </a:r>
            <a:r>
              <a:rPr lang="de-DE" sz="2300" dirty="0" err="1" smtClean="0"/>
              <a:t>industries</a:t>
            </a:r>
            <a:r>
              <a:rPr lang="de-DE" sz="2300" dirty="0" smtClean="0"/>
              <a:t> and </a:t>
            </a:r>
            <a:r>
              <a:rPr lang="de-DE" sz="2300" dirty="0" err="1" smtClean="0"/>
              <a:t>increased</a:t>
            </a:r>
            <a:r>
              <a:rPr lang="de-DE" sz="2300" dirty="0" smtClean="0"/>
              <a:t> </a:t>
            </a:r>
            <a:r>
              <a:rPr lang="de-DE" sz="2300" dirty="0" err="1" smtClean="0"/>
              <a:t>exports</a:t>
            </a:r>
            <a:r>
              <a:rPr lang="de-DE" sz="2300" dirty="0" smtClean="0"/>
              <a:t> will </a:t>
            </a:r>
            <a:r>
              <a:rPr lang="de-DE" sz="2300" dirty="0" err="1" smtClean="0"/>
              <a:t>result</a:t>
            </a:r>
            <a:r>
              <a:rPr lang="de-DE" sz="2300" dirty="0" smtClean="0"/>
              <a:t> in $100-150 </a:t>
            </a:r>
            <a:r>
              <a:rPr lang="de-DE" sz="2300" dirty="0" err="1" smtClean="0"/>
              <a:t>billion</a:t>
            </a:r>
            <a:r>
              <a:rPr lang="de-DE" sz="2300" dirty="0" smtClean="0"/>
              <a:t> </a:t>
            </a:r>
            <a:r>
              <a:rPr lang="de-DE" sz="2300" dirty="0" err="1" smtClean="0"/>
              <a:t>of</a:t>
            </a:r>
            <a:r>
              <a:rPr lang="de-DE" sz="2300" dirty="0" smtClean="0"/>
              <a:t> </a:t>
            </a:r>
            <a:r>
              <a:rPr lang="de-DE" sz="2300" dirty="0" err="1" smtClean="0"/>
              <a:t>incremental</a:t>
            </a:r>
            <a:r>
              <a:rPr lang="de-DE" sz="2300" dirty="0" smtClean="0"/>
              <a:t> </a:t>
            </a:r>
            <a:r>
              <a:rPr lang="de-DE" sz="2300" dirty="0" err="1" smtClean="0"/>
              <a:t>production</a:t>
            </a:r>
            <a:endParaRPr lang="en-US" sz="2300" dirty="0" smtClean="0"/>
          </a:p>
        </p:txBody>
      </p:sp>
      <p:sp>
        <p:nvSpPr>
          <p:cNvPr id="572422" name="BCG_FootNote_Box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76550" y="6334126"/>
            <a:ext cx="8959451" cy="3286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>
              <a:lnSpc>
                <a:spcPct val="90000"/>
              </a:lnSpc>
            </a:pPr>
            <a:r>
              <a:rPr lang="en-US" sz="800" dirty="0">
                <a:solidFill>
                  <a:srgbClr val="000000"/>
                </a:solidFill>
              </a:rPr>
              <a:t>1</a:t>
            </a:r>
            <a:r>
              <a:rPr lang="en-US" sz="800" dirty="0" smtClean="0">
                <a:solidFill>
                  <a:srgbClr val="000000"/>
                </a:solidFill>
              </a:rPr>
              <a:t>. Bars </a:t>
            </a:r>
            <a:r>
              <a:rPr lang="en-US" sz="800" dirty="0">
                <a:solidFill>
                  <a:srgbClr val="000000"/>
                </a:solidFill>
              </a:rPr>
              <a:t>on graph reflect midpoint of range</a:t>
            </a:r>
          </a:p>
          <a:p>
            <a:pPr eaLnBrk="0" hangingPunct="0">
              <a:lnSpc>
                <a:spcPct val="90000"/>
              </a:lnSpc>
            </a:pPr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lang="en-US" sz="800" dirty="0" err="1" smtClean="0">
                <a:solidFill>
                  <a:srgbClr val="000000"/>
                </a:solidFill>
              </a:rPr>
              <a:t>BLS</a:t>
            </a:r>
            <a:r>
              <a:rPr lang="en-US" sz="800" dirty="0" smtClean="0">
                <a:solidFill>
                  <a:srgbClr val="000000"/>
                </a:solidFill>
              </a:rPr>
              <a:t>; BEA; </a:t>
            </a:r>
            <a:r>
              <a:rPr lang="en-US" sz="800" dirty="0">
                <a:solidFill>
                  <a:srgbClr val="000000"/>
                </a:solidFill>
              </a:rPr>
              <a:t>CIA </a:t>
            </a:r>
            <a:r>
              <a:rPr lang="en-US" sz="800" dirty="0" smtClean="0">
                <a:solidFill>
                  <a:srgbClr val="000000"/>
                </a:solidFill>
              </a:rPr>
              <a:t>World </a:t>
            </a:r>
            <a:r>
              <a:rPr lang="en-US" sz="800" dirty="0" err="1" smtClean="0">
                <a:solidFill>
                  <a:srgbClr val="000000"/>
                </a:solidFill>
              </a:rPr>
              <a:t>Factbook</a:t>
            </a:r>
            <a:r>
              <a:rPr lang="en-US" sz="800" dirty="0" smtClean="0">
                <a:solidFill>
                  <a:srgbClr val="000000"/>
                </a:solidFill>
              </a:rPr>
              <a:t>; </a:t>
            </a:r>
            <a:r>
              <a:rPr lang="en-US" sz="800" dirty="0">
                <a:solidFill>
                  <a:srgbClr val="000000"/>
                </a:solidFill>
              </a:rPr>
              <a:t>BCG analysis</a:t>
            </a:r>
          </a:p>
        </p:txBody>
      </p:sp>
      <p:sp>
        <p:nvSpPr>
          <p:cNvPr id="31" name="Rectangle 10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559021" y="5088041"/>
            <a:ext cx="902332" cy="627063"/>
          </a:xfrm>
          <a:prstGeom prst="rect">
            <a:avLst/>
          </a:prstGeom>
          <a:solidFill>
            <a:schemeClr val="accent2"/>
          </a:solidFill>
          <a:ln w="9525">
            <a:solidFill>
              <a:srgbClr val="B2B2B2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2" name="Line 17"/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>
            <a:off x="1283899" y="2675041"/>
            <a:ext cx="1638" cy="3040063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3" name="Line 18"/>
          <p:cNvSpPr>
            <a:spLocks noChangeShapeType="1"/>
          </p:cNvSpPr>
          <p:nvPr>
            <p:custDataLst>
              <p:tags r:id="rId7"/>
            </p:custDataLst>
          </p:nvPr>
        </p:nvSpPr>
        <p:spPr bwMode="gray">
          <a:xfrm>
            <a:off x="1244596" y="5715103"/>
            <a:ext cx="39303" cy="1588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4" name="Line 19"/>
          <p:cNvSpPr>
            <a:spLocks noChangeShapeType="1"/>
          </p:cNvSpPr>
          <p:nvPr>
            <p:custDataLst>
              <p:tags r:id="rId8"/>
            </p:custDataLst>
          </p:nvPr>
        </p:nvSpPr>
        <p:spPr bwMode="gray">
          <a:xfrm>
            <a:off x="1244596" y="4954690"/>
            <a:ext cx="39303" cy="1588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" name="Line 20"/>
          <p:cNvSpPr>
            <a:spLocks noChangeShapeType="1"/>
          </p:cNvSpPr>
          <p:nvPr>
            <p:custDataLst>
              <p:tags r:id="rId9"/>
            </p:custDataLst>
          </p:nvPr>
        </p:nvSpPr>
        <p:spPr bwMode="gray">
          <a:xfrm>
            <a:off x="1244596" y="4194278"/>
            <a:ext cx="39303" cy="1588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6" name="Line 21"/>
          <p:cNvSpPr>
            <a:spLocks noChangeShapeType="1"/>
          </p:cNvSpPr>
          <p:nvPr>
            <p:custDataLst>
              <p:tags r:id="rId10"/>
            </p:custDataLst>
          </p:nvPr>
        </p:nvSpPr>
        <p:spPr bwMode="gray">
          <a:xfrm>
            <a:off x="1244596" y="3435453"/>
            <a:ext cx="39303" cy="1588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7" name="Line 22"/>
          <p:cNvSpPr>
            <a:spLocks noChangeShapeType="1"/>
          </p:cNvSpPr>
          <p:nvPr>
            <p:custDataLst>
              <p:tags r:id="rId11"/>
            </p:custDataLst>
          </p:nvPr>
        </p:nvSpPr>
        <p:spPr bwMode="gray">
          <a:xfrm>
            <a:off x="1244596" y="2675040"/>
            <a:ext cx="39303" cy="1588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8" name="Line 23"/>
          <p:cNvSpPr>
            <a:spLocks noChangeShapeType="1"/>
          </p:cNvSpPr>
          <p:nvPr>
            <p:custDataLst>
              <p:tags r:id="rId12"/>
            </p:custDataLst>
          </p:nvPr>
        </p:nvSpPr>
        <p:spPr bwMode="gray">
          <a:xfrm>
            <a:off x="1283899" y="5715103"/>
            <a:ext cx="7271059" cy="1588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9" name="Line 24"/>
          <p:cNvSpPr>
            <a:spLocks noChangeShapeType="1"/>
          </p:cNvSpPr>
          <p:nvPr>
            <p:custDataLst>
              <p:tags r:id="rId13"/>
            </p:custDataLst>
          </p:nvPr>
        </p:nvSpPr>
        <p:spPr bwMode="gray">
          <a:xfrm flipV="1">
            <a:off x="1283899" y="5715103"/>
            <a:ext cx="1638" cy="46038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0" name="Rectangle 31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83298" y="2368653"/>
            <a:ext cx="100508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Millions of jobs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Rectangle 33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1111949" y="2605190"/>
            <a:ext cx="7053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4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ectangle 34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1111949" y="3367190"/>
            <a:ext cx="7053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3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35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1111949" y="4129190"/>
            <a:ext cx="7053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2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tangle 3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1111949" y="4891190"/>
            <a:ext cx="7053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1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Rectangle 37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1111949" y="5653190"/>
            <a:ext cx="7053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0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Rectangle 38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8925989" y="4572411"/>
            <a:ext cx="40075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Direct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Rectangle 39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8925989" y="4302638"/>
            <a:ext cx="50334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Indirect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Freeform 9"/>
          <p:cNvSpPr>
            <a:spLocks noEditPoints="1"/>
          </p:cNvSpPr>
          <p:nvPr>
            <p:custDataLst>
              <p:tags r:id="rId22"/>
            </p:custDataLst>
          </p:nvPr>
        </p:nvSpPr>
        <p:spPr bwMode="gray">
          <a:xfrm>
            <a:off x="6835451" y="3622779"/>
            <a:ext cx="520765" cy="95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4" y="0"/>
              </a:cxn>
              <a:cxn ang="0">
                <a:pos x="24" y="6"/>
              </a:cxn>
              <a:cxn ang="0">
                <a:pos x="0" y="6"/>
              </a:cxn>
              <a:cxn ang="0">
                <a:pos x="0" y="0"/>
              </a:cxn>
              <a:cxn ang="0">
                <a:pos x="42" y="0"/>
              </a:cxn>
              <a:cxn ang="0">
                <a:pos x="66" y="0"/>
              </a:cxn>
              <a:cxn ang="0">
                <a:pos x="66" y="6"/>
              </a:cxn>
              <a:cxn ang="0">
                <a:pos x="42" y="6"/>
              </a:cxn>
              <a:cxn ang="0">
                <a:pos x="42" y="0"/>
              </a:cxn>
              <a:cxn ang="0">
                <a:pos x="84" y="0"/>
              </a:cxn>
              <a:cxn ang="0">
                <a:pos x="108" y="0"/>
              </a:cxn>
              <a:cxn ang="0">
                <a:pos x="108" y="6"/>
              </a:cxn>
              <a:cxn ang="0">
                <a:pos x="84" y="6"/>
              </a:cxn>
              <a:cxn ang="0">
                <a:pos x="84" y="0"/>
              </a:cxn>
              <a:cxn ang="0">
                <a:pos x="126" y="0"/>
              </a:cxn>
              <a:cxn ang="0">
                <a:pos x="150" y="0"/>
              </a:cxn>
              <a:cxn ang="0">
                <a:pos x="150" y="6"/>
              </a:cxn>
              <a:cxn ang="0">
                <a:pos x="126" y="6"/>
              </a:cxn>
              <a:cxn ang="0">
                <a:pos x="126" y="0"/>
              </a:cxn>
              <a:cxn ang="0">
                <a:pos x="168" y="0"/>
              </a:cxn>
              <a:cxn ang="0">
                <a:pos x="192" y="0"/>
              </a:cxn>
              <a:cxn ang="0">
                <a:pos x="192" y="6"/>
              </a:cxn>
              <a:cxn ang="0">
                <a:pos x="168" y="6"/>
              </a:cxn>
              <a:cxn ang="0">
                <a:pos x="168" y="0"/>
              </a:cxn>
              <a:cxn ang="0">
                <a:pos x="210" y="0"/>
              </a:cxn>
              <a:cxn ang="0">
                <a:pos x="234" y="0"/>
              </a:cxn>
              <a:cxn ang="0">
                <a:pos x="234" y="6"/>
              </a:cxn>
              <a:cxn ang="0">
                <a:pos x="210" y="6"/>
              </a:cxn>
              <a:cxn ang="0">
                <a:pos x="210" y="0"/>
              </a:cxn>
              <a:cxn ang="0">
                <a:pos x="252" y="0"/>
              </a:cxn>
              <a:cxn ang="0">
                <a:pos x="276" y="0"/>
              </a:cxn>
              <a:cxn ang="0">
                <a:pos x="276" y="6"/>
              </a:cxn>
              <a:cxn ang="0">
                <a:pos x="252" y="6"/>
              </a:cxn>
              <a:cxn ang="0">
                <a:pos x="252" y="0"/>
              </a:cxn>
              <a:cxn ang="0">
                <a:pos x="294" y="0"/>
              </a:cxn>
              <a:cxn ang="0">
                <a:pos x="318" y="0"/>
              </a:cxn>
              <a:cxn ang="0">
                <a:pos x="318" y="6"/>
              </a:cxn>
              <a:cxn ang="0">
                <a:pos x="294" y="6"/>
              </a:cxn>
              <a:cxn ang="0">
                <a:pos x="294" y="0"/>
              </a:cxn>
            </a:cxnLst>
            <a:rect l="0" t="0" r="r" b="b"/>
            <a:pathLst>
              <a:path w="318" h="6">
                <a:moveTo>
                  <a:pt x="0" y="0"/>
                </a:moveTo>
                <a:lnTo>
                  <a:pt x="24" y="0"/>
                </a:lnTo>
                <a:lnTo>
                  <a:pt x="24" y="6"/>
                </a:lnTo>
                <a:lnTo>
                  <a:pt x="0" y="6"/>
                </a:lnTo>
                <a:lnTo>
                  <a:pt x="0" y="0"/>
                </a:lnTo>
                <a:close/>
                <a:moveTo>
                  <a:pt x="42" y="0"/>
                </a:moveTo>
                <a:lnTo>
                  <a:pt x="66" y="0"/>
                </a:lnTo>
                <a:lnTo>
                  <a:pt x="66" y="6"/>
                </a:lnTo>
                <a:lnTo>
                  <a:pt x="42" y="6"/>
                </a:lnTo>
                <a:lnTo>
                  <a:pt x="42" y="0"/>
                </a:lnTo>
                <a:close/>
                <a:moveTo>
                  <a:pt x="84" y="0"/>
                </a:moveTo>
                <a:lnTo>
                  <a:pt x="108" y="0"/>
                </a:lnTo>
                <a:lnTo>
                  <a:pt x="108" y="6"/>
                </a:lnTo>
                <a:lnTo>
                  <a:pt x="84" y="6"/>
                </a:lnTo>
                <a:lnTo>
                  <a:pt x="84" y="0"/>
                </a:lnTo>
                <a:close/>
                <a:moveTo>
                  <a:pt x="126" y="0"/>
                </a:moveTo>
                <a:lnTo>
                  <a:pt x="150" y="0"/>
                </a:lnTo>
                <a:lnTo>
                  <a:pt x="150" y="6"/>
                </a:lnTo>
                <a:lnTo>
                  <a:pt x="126" y="6"/>
                </a:lnTo>
                <a:lnTo>
                  <a:pt x="126" y="0"/>
                </a:lnTo>
                <a:close/>
                <a:moveTo>
                  <a:pt x="168" y="0"/>
                </a:moveTo>
                <a:lnTo>
                  <a:pt x="192" y="0"/>
                </a:lnTo>
                <a:lnTo>
                  <a:pt x="192" y="6"/>
                </a:lnTo>
                <a:lnTo>
                  <a:pt x="168" y="6"/>
                </a:lnTo>
                <a:lnTo>
                  <a:pt x="168" y="0"/>
                </a:lnTo>
                <a:close/>
                <a:moveTo>
                  <a:pt x="210" y="0"/>
                </a:moveTo>
                <a:lnTo>
                  <a:pt x="234" y="0"/>
                </a:lnTo>
                <a:lnTo>
                  <a:pt x="234" y="6"/>
                </a:lnTo>
                <a:lnTo>
                  <a:pt x="210" y="6"/>
                </a:lnTo>
                <a:lnTo>
                  <a:pt x="210" y="0"/>
                </a:lnTo>
                <a:close/>
                <a:moveTo>
                  <a:pt x="252" y="0"/>
                </a:moveTo>
                <a:lnTo>
                  <a:pt x="276" y="0"/>
                </a:lnTo>
                <a:lnTo>
                  <a:pt x="276" y="6"/>
                </a:lnTo>
                <a:lnTo>
                  <a:pt x="252" y="6"/>
                </a:lnTo>
                <a:lnTo>
                  <a:pt x="252" y="0"/>
                </a:lnTo>
                <a:close/>
                <a:moveTo>
                  <a:pt x="294" y="0"/>
                </a:moveTo>
                <a:lnTo>
                  <a:pt x="318" y="0"/>
                </a:lnTo>
                <a:lnTo>
                  <a:pt x="318" y="6"/>
                </a:lnTo>
                <a:lnTo>
                  <a:pt x="294" y="6"/>
                </a:lnTo>
                <a:lnTo>
                  <a:pt x="294" y="0"/>
                </a:lnTo>
                <a:close/>
              </a:path>
            </a:pathLst>
          </a:custGeom>
          <a:solidFill>
            <a:srgbClr val="808080"/>
          </a:solidFill>
          <a:ln w="0" cap="flat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0" name="Rectangle 14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7377505" y="5172179"/>
            <a:ext cx="903970" cy="542925"/>
          </a:xfrm>
          <a:prstGeom prst="rect">
            <a:avLst/>
          </a:prstGeom>
          <a:solidFill>
            <a:srgbClr val="5BAD82"/>
          </a:solidFill>
          <a:ln w="9525">
            <a:solidFill>
              <a:srgbClr val="80808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1" name="Rectangle 16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7377505" y="3624366"/>
            <a:ext cx="903970" cy="1547813"/>
          </a:xfrm>
          <a:prstGeom prst="rect">
            <a:avLst/>
          </a:prstGeom>
          <a:solidFill>
            <a:schemeClr val="accent2"/>
          </a:solidFill>
          <a:ln w="9525">
            <a:solidFill>
              <a:srgbClr val="B2B2B2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2" name="Line 29"/>
          <p:cNvSpPr>
            <a:spLocks noChangeShapeType="1"/>
          </p:cNvSpPr>
          <p:nvPr>
            <p:custDataLst>
              <p:tags r:id="rId25"/>
            </p:custDataLst>
          </p:nvPr>
        </p:nvSpPr>
        <p:spPr bwMode="gray">
          <a:xfrm flipV="1">
            <a:off x="8554958" y="5715103"/>
            <a:ext cx="1638" cy="46038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3" name="Rectangle 40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7454474" y="5840515"/>
            <a:ext cx="75180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Jobs to US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Rectangle 41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7614961" y="3303690"/>
            <a:ext cx="40235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2,300K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Rectangle 42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8027563" y="3303690"/>
            <a:ext cx="7053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–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Rectangle 43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7614961" y="3456090"/>
            <a:ext cx="40235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3,200K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Freeform 6"/>
          <p:cNvSpPr>
            <a:spLocks noEditPoints="1"/>
          </p:cNvSpPr>
          <p:nvPr>
            <p:custDataLst>
              <p:tags r:id="rId30"/>
            </p:custDataLst>
          </p:nvPr>
        </p:nvSpPr>
        <p:spPr bwMode="gray">
          <a:xfrm>
            <a:off x="5381239" y="3289404"/>
            <a:ext cx="520765" cy="95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4" y="0"/>
              </a:cxn>
              <a:cxn ang="0">
                <a:pos x="24" y="6"/>
              </a:cxn>
              <a:cxn ang="0">
                <a:pos x="0" y="6"/>
              </a:cxn>
              <a:cxn ang="0">
                <a:pos x="0" y="0"/>
              </a:cxn>
              <a:cxn ang="0">
                <a:pos x="42" y="0"/>
              </a:cxn>
              <a:cxn ang="0">
                <a:pos x="66" y="0"/>
              </a:cxn>
              <a:cxn ang="0">
                <a:pos x="66" y="6"/>
              </a:cxn>
              <a:cxn ang="0">
                <a:pos x="42" y="6"/>
              </a:cxn>
              <a:cxn ang="0">
                <a:pos x="42" y="0"/>
              </a:cxn>
              <a:cxn ang="0">
                <a:pos x="84" y="0"/>
              </a:cxn>
              <a:cxn ang="0">
                <a:pos x="108" y="0"/>
              </a:cxn>
              <a:cxn ang="0">
                <a:pos x="108" y="6"/>
              </a:cxn>
              <a:cxn ang="0">
                <a:pos x="84" y="6"/>
              </a:cxn>
              <a:cxn ang="0">
                <a:pos x="84" y="0"/>
              </a:cxn>
              <a:cxn ang="0">
                <a:pos x="126" y="0"/>
              </a:cxn>
              <a:cxn ang="0">
                <a:pos x="150" y="0"/>
              </a:cxn>
              <a:cxn ang="0">
                <a:pos x="150" y="6"/>
              </a:cxn>
              <a:cxn ang="0">
                <a:pos x="126" y="6"/>
              </a:cxn>
              <a:cxn ang="0">
                <a:pos x="126" y="0"/>
              </a:cxn>
              <a:cxn ang="0">
                <a:pos x="168" y="0"/>
              </a:cxn>
              <a:cxn ang="0">
                <a:pos x="192" y="0"/>
              </a:cxn>
              <a:cxn ang="0">
                <a:pos x="192" y="6"/>
              </a:cxn>
              <a:cxn ang="0">
                <a:pos x="168" y="6"/>
              </a:cxn>
              <a:cxn ang="0">
                <a:pos x="168" y="0"/>
              </a:cxn>
              <a:cxn ang="0">
                <a:pos x="210" y="0"/>
              </a:cxn>
              <a:cxn ang="0">
                <a:pos x="234" y="0"/>
              </a:cxn>
              <a:cxn ang="0">
                <a:pos x="234" y="6"/>
              </a:cxn>
              <a:cxn ang="0">
                <a:pos x="210" y="6"/>
              </a:cxn>
              <a:cxn ang="0">
                <a:pos x="210" y="0"/>
              </a:cxn>
              <a:cxn ang="0">
                <a:pos x="252" y="0"/>
              </a:cxn>
              <a:cxn ang="0">
                <a:pos x="276" y="0"/>
              </a:cxn>
              <a:cxn ang="0">
                <a:pos x="276" y="6"/>
              </a:cxn>
              <a:cxn ang="0">
                <a:pos x="252" y="6"/>
              </a:cxn>
              <a:cxn ang="0">
                <a:pos x="252" y="0"/>
              </a:cxn>
              <a:cxn ang="0">
                <a:pos x="294" y="0"/>
              </a:cxn>
              <a:cxn ang="0">
                <a:pos x="318" y="0"/>
              </a:cxn>
              <a:cxn ang="0">
                <a:pos x="318" y="6"/>
              </a:cxn>
              <a:cxn ang="0">
                <a:pos x="294" y="6"/>
              </a:cxn>
              <a:cxn ang="0">
                <a:pos x="294" y="0"/>
              </a:cxn>
            </a:cxnLst>
            <a:rect l="0" t="0" r="r" b="b"/>
            <a:pathLst>
              <a:path w="318" h="6">
                <a:moveTo>
                  <a:pt x="0" y="0"/>
                </a:moveTo>
                <a:lnTo>
                  <a:pt x="24" y="0"/>
                </a:lnTo>
                <a:lnTo>
                  <a:pt x="24" y="6"/>
                </a:lnTo>
                <a:lnTo>
                  <a:pt x="0" y="6"/>
                </a:lnTo>
                <a:lnTo>
                  <a:pt x="0" y="0"/>
                </a:lnTo>
                <a:close/>
                <a:moveTo>
                  <a:pt x="42" y="0"/>
                </a:moveTo>
                <a:lnTo>
                  <a:pt x="66" y="0"/>
                </a:lnTo>
                <a:lnTo>
                  <a:pt x="66" y="6"/>
                </a:lnTo>
                <a:lnTo>
                  <a:pt x="42" y="6"/>
                </a:lnTo>
                <a:lnTo>
                  <a:pt x="42" y="0"/>
                </a:lnTo>
                <a:close/>
                <a:moveTo>
                  <a:pt x="84" y="0"/>
                </a:moveTo>
                <a:lnTo>
                  <a:pt x="108" y="0"/>
                </a:lnTo>
                <a:lnTo>
                  <a:pt x="108" y="6"/>
                </a:lnTo>
                <a:lnTo>
                  <a:pt x="84" y="6"/>
                </a:lnTo>
                <a:lnTo>
                  <a:pt x="84" y="0"/>
                </a:lnTo>
                <a:close/>
                <a:moveTo>
                  <a:pt x="126" y="0"/>
                </a:moveTo>
                <a:lnTo>
                  <a:pt x="150" y="0"/>
                </a:lnTo>
                <a:lnTo>
                  <a:pt x="150" y="6"/>
                </a:lnTo>
                <a:lnTo>
                  <a:pt x="126" y="6"/>
                </a:lnTo>
                <a:lnTo>
                  <a:pt x="126" y="0"/>
                </a:lnTo>
                <a:close/>
                <a:moveTo>
                  <a:pt x="168" y="0"/>
                </a:moveTo>
                <a:lnTo>
                  <a:pt x="192" y="0"/>
                </a:lnTo>
                <a:lnTo>
                  <a:pt x="192" y="6"/>
                </a:lnTo>
                <a:lnTo>
                  <a:pt x="168" y="6"/>
                </a:lnTo>
                <a:lnTo>
                  <a:pt x="168" y="0"/>
                </a:lnTo>
                <a:close/>
                <a:moveTo>
                  <a:pt x="210" y="0"/>
                </a:moveTo>
                <a:lnTo>
                  <a:pt x="234" y="0"/>
                </a:lnTo>
                <a:lnTo>
                  <a:pt x="234" y="6"/>
                </a:lnTo>
                <a:lnTo>
                  <a:pt x="210" y="6"/>
                </a:lnTo>
                <a:lnTo>
                  <a:pt x="210" y="0"/>
                </a:lnTo>
                <a:close/>
                <a:moveTo>
                  <a:pt x="252" y="0"/>
                </a:moveTo>
                <a:lnTo>
                  <a:pt x="276" y="0"/>
                </a:lnTo>
                <a:lnTo>
                  <a:pt x="276" y="6"/>
                </a:lnTo>
                <a:lnTo>
                  <a:pt x="252" y="6"/>
                </a:lnTo>
                <a:lnTo>
                  <a:pt x="252" y="0"/>
                </a:lnTo>
                <a:close/>
                <a:moveTo>
                  <a:pt x="294" y="0"/>
                </a:moveTo>
                <a:lnTo>
                  <a:pt x="318" y="0"/>
                </a:lnTo>
                <a:lnTo>
                  <a:pt x="318" y="6"/>
                </a:lnTo>
                <a:lnTo>
                  <a:pt x="294" y="6"/>
                </a:lnTo>
                <a:lnTo>
                  <a:pt x="294" y="0"/>
                </a:lnTo>
                <a:close/>
              </a:path>
            </a:pathLst>
          </a:custGeom>
          <a:solidFill>
            <a:srgbClr val="808080"/>
          </a:solidFill>
          <a:ln w="0" cap="flat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9" name="Rectangle 13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5924931" y="3292578"/>
            <a:ext cx="903970" cy="331788"/>
          </a:xfrm>
          <a:prstGeom prst="rect">
            <a:avLst/>
          </a:prstGeom>
          <a:solidFill>
            <a:srgbClr val="CEA09D"/>
          </a:solidFill>
          <a:ln w="9525">
            <a:solidFill>
              <a:srgbClr val="80808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0" name="Line 28"/>
          <p:cNvSpPr>
            <a:spLocks noChangeShapeType="1"/>
          </p:cNvSpPr>
          <p:nvPr>
            <p:custDataLst>
              <p:tags r:id="rId32"/>
            </p:custDataLst>
          </p:nvPr>
        </p:nvSpPr>
        <p:spPr bwMode="gray">
          <a:xfrm flipV="1">
            <a:off x="7102384" y="5715103"/>
            <a:ext cx="1638" cy="46038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1" name="Rectangle 44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5870890" y="5840515"/>
            <a:ext cx="102431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Jobs to Mexico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Rectangle 45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6224617" y="2970315"/>
            <a:ext cx="29655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200K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Rectangle 46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6529439" y="2970315"/>
            <a:ext cx="7275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–</a:t>
            </a:r>
            <a:endParaRPr lang="en-US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Rectangle 47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6224617" y="3122715"/>
            <a:ext cx="29655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700K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Freeform 7"/>
          <p:cNvSpPr>
            <a:spLocks noEditPoints="1"/>
          </p:cNvSpPr>
          <p:nvPr>
            <p:custDataLst>
              <p:tags r:id="rId37"/>
            </p:custDataLst>
          </p:nvPr>
        </p:nvSpPr>
        <p:spPr bwMode="gray">
          <a:xfrm>
            <a:off x="3917202" y="3289404"/>
            <a:ext cx="520765" cy="95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4" y="0"/>
              </a:cxn>
              <a:cxn ang="0">
                <a:pos x="24" y="6"/>
              </a:cxn>
              <a:cxn ang="0">
                <a:pos x="0" y="6"/>
              </a:cxn>
              <a:cxn ang="0">
                <a:pos x="0" y="0"/>
              </a:cxn>
              <a:cxn ang="0">
                <a:pos x="42" y="0"/>
              </a:cxn>
              <a:cxn ang="0">
                <a:pos x="66" y="0"/>
              </a:cxn>
              <a:cxn ang="0">
                <a:pos x="66" y="6"/>
              </a:cxn>
              <a:cxn ang="0">
                <a:pos x="42" y="6"/>
              </a:cxn>
              <a:cxn ang="0">
                <a:pos x="42" y="0"/>
              </a:cxn>
              <a:cxn ang="0">
                <a:pos x="84" y="0"/>
              </a:cxn>
              <a:cxn ang="0">
                <a:pos x="108" y="0"/>
              </a:cxn>
              <a:cxn ang="0">
                <a:pos x="108" y="6"/>
              </a:cxn>
              <a:cxn ang="0">
                <a:pos x="84" y="6"/>
              </a:cxn>
              <a:cxn ang="0">
                <a:pos x="84" y="0"/>
              </a:cxn>
              <a:cxn ang="0">
                <a:pos x="126" y="0"/>
              </a:cxn>
              <a:cxn ang="0">
                <a:pos x="150" y="0"/>
              </a:cxn>
              <a:cxn ang="0">
                <a:pos x="150" y="6"/>
              </a:cxn>
              <a:cxn ang="0">
                <a:pos x="126" y="6"/>
              </a:cxn>
              <a:cxn ang="0">
                <a:pos x="126" y="0"/>
              </a:cxn>
              <a:cxn ang="0">
                <a:pos x="168" y="0"/>
              </a:cxn>
              <a:cxn ang="0">
                <a:pos x="192" y="0"/>
              </a:cxn>
              <a:cxn ang="0">
                <a:pos x="192" y="6"/>
              </a:cxn>
              <a:cxn ang="0">
                <a:pos x="168" y="6"/>
              </a:cxn>
              <a:cxn ang="0">
                <a:pos x="168" y="0"/>
              </a:cxn>
              <a:cxn ang="0">
                <a:pos x="210" y="0"/>
              </a:cxn>
              <a:cxn ang="0">
                <a:pos x="234" y="0"/>
              </a:cxn>
              <a:cxn ang="0">
                <a:pos x="234" y="6"/>
              </a:cxn>
              <a:cxn ang="0">
                <a:pos x="210" y="6"/>
              </a:cxn>
              <a:cxn ang="0">
                <a:pos x="210" y="0"/>
              </a:cxn>
              <a:cxn ang="0">
                <a:pos x="252" y="0"/>
              </a:cxn>
              <a:cxn ang="0">
                <a:pos x="276" y="0"/>
              </a:cxn>
              <a:cxn ang="0">
                <a:pos x="276" y="6"/>
              </a:cxn>
              <a:cxn ang="0">
                <a:pos x="252" y="6"/>
              </a:cxn>
              <a:cxn ang="0">
                <a:pos x="252" y="0"/>
              </a:cxn>
              <a:cxn ang="0">
                <a:pos x="294" y="0"/>
              </a:cxn>
              <a:cxn ang="0">
                <a:pos x="318" y="0"/>
              </a:cxn>
              <a:cxn ang="0">
                <a:pos x="318" y="6"/>
              </a:cxn>
              <a:cxn ang="0">
                <a:pos x="294" y="6"/>
              </a:cxn>
              <a:cxn ang="0">
                <a:pos x="294" y="0"/>
              </a:cxn>
            </a:cxnLst>
            <a:rect l="0" t="0" r="r" b="b"/>
            <a:pathLst>
              <a:path w="318" h="6">
                <a:moveTo>
                  <a:pt x="0" y="0"/>
                </a:moveTo>
                <a:lnTo>
                  <a:pt x="24" y="0"/>
                </a:lnTo>
                <a:lnTo>
                  <a:pt x="24" y="6"/>
                </a:lnTo>
                <a:lnTo>
                  <a:pt x="0" y="6"/>
                </a:lnTo>
                <a:lnTo>
                  <a:pt x="0" y="0"/>
                </a:lnTo>
                <a:close/>
                <a:moveTo>
                  <a:pt x="42" y="0"/>
                </a:moveTo>
                <a:lnTo>
                  <a:pt x="66" y="0"/>
                </a:lnTo>
                <a:lnTo>
                  <a:pt x="66" y="6"/>
                </a:lnTo>
                <a:lnTo>
                  <a:pt x="42" y="6"/>
                </a:lnTo>
                <a:lnTo>
                  <a:pt x="42" y="0"/>
                </a:lnTo>
                <a:close/>
                <a:moveTo>
                  <a:pt x="84" y="0"/>
                </a:moveTo>
                <a:lnTo>
                  <a:pt x="108" y="0"/>
                </a:lnTo>
                <a:lnTo>
                  <a:pt x="108" y="6"/>
                </a:lnTo>
                <a:lnTo>
                  <a:pt x="84" y="6"/>
                </a:lnTo>
                <a:lnTo>
                  <a:pt x="84" y="0"/>
                </a:lnTo>
                <a:close/>
                <a:moveTo>
                  <a:pt x="126" y="0"/>
                </a:moveTo>
                <a:lnTo>
                  <a:pt x="150" y="0"/>
                </a:lnTo>
                <a:lnTo>
                  <a:pt x="150" y="6"/>
                </a:lnTo>
                <a:lnTo>
                  <a:pt x="126" y="6"/>
                </a:lnTo>
                <a:lnTo>
                  <a:pt x="126" y="0"/>
                </a:lnTo>
                <a:close/>
                <a:moveTo>
                  <a:pt x="168" y="0"/>
                </a:moveTo>
                <a:lnTo>
                  <a:pt x="192" y="0"/>
                </a:lnTo>
                <a:lnTo>
                  <a:pt x="192" y="6"/>
                </a:lnTo>
                <a:lnTo>
                  <a:pt x="168" y="6"/>
                </a:lnTo>
                <a:lnTo>
                  <a:pt x="168" y="0"/>
                </a:lnTo>
                <a:close/>
                <a:moveTo>
                  <a:pt x="210" y="0"/>
                </a:moveTo>
                <a:lnTo>
                  <a:pt x="234" y="0"/>
                </a:lnTo>
                <a:lnTo>
                  <a:pt x="234" y="6"/>
                </a:lnTo>
                <a:lnTo>
                  <a:pt x="210" y="6"/>
                </a:lnTo>
                <a:lnTo>
                  <a:pt x="210" y="0"/>
                </a:lnTo>
                <a:close/>
                <a:moveTo>
                  <a:pt x="252" y="0"/>
                </a:moveTo>
                <a:lnTo>
                  <a:pt x="276" y="0"/>
                </a:lnTo>
                <a:lnTo>
                  <a:pt x="276" y="6"/>
                </a:lnTo>
                <a:lnTo>
                  <a:pt x="252" y="6"/>
                </a:lnTo>
                <a:lnTo>
                  <a:pt x="252" y="0"/>
                </a:lnTo>
                <a:close/>
                <a:moveTo>
                  <a:pt x="294" y="0"/>
                </a:moveTo>
                <a:lnTo>
                  <a:pt x="318" y="0"/>
                </a:lnTo>
                <a:lnTo>
                  <a:pt x="318" y="6"/>
                </a:lnTo>
                <a:lnTo>
                  <a:pt x="294" y="6"/>
                </a:lnTo>
                <a:lnTo>
                  <a:pt x="294" y="0"/>
                </a:lnTo>
                <a:close/>
              </a:path>
            </a:pathLst>
          </a:custGeom>
          <a:solidFill>
            <a:srgbClr val="808080"/>
          </a:solidFill>
          <a:ln w="0" cap="flat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7" name="Rectangle 12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4462532" y="5088041"/>
            <a:ext cx="913795" cy="627063"/>
          </a:xfrm>
          <a:prstGeom prst="rect">
            <a:avLst/>
          </a:prstGeom>
          <a:solidFill>
            <a:srgbClr val="5BAD82"/>
          </a:solidFill>
          <a:ln w="9525">
            <a:solidFill>
              <a:srgbClr val="80808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8" name="Rectangle 15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4462532" y="3292579"/>
            <a:ext cx="913795" cy="1795463"/>
          </a:xfrm>
          <a:prstGeom prst="rect">
            <a:avLst/>
          </a:prstGeom>
          <a:solidFill>
            <a:schemeClr val="accent2"/>
          </a:solidFill>
          <a:ln w="9525">
            <a:solidFill>
              <a:srgbClr val="B2B2B2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9" name="Line 27"/>
          <p:cNvSpPr>
            <a:spLocks noChangeShapeType="1"/>
          </p:cNvSpPr>
          <p:nvPr>
            <p:custDataLst>
              <p:tags r:id="rId40"/>
            </p:custDataLst>
          </p:nvPr>
        </p:nvSpPr>
        <p:spPr bwMode="gray">
          <a:xfrm flipV="1">
            <a:off x="5651448" y="5715103"/>
            <a:ext cx="1638" cy="46038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0" name="Rectangle 48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4770405" y="5840515"/>
            <a:ext cx="32438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Total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1" name="Rectangle 49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4701625" y="2970315"/>
            <a:ext cx="40235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2,500K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Rectangle 50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5114290" y="2970315"/>
            <a:ext cx="7053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–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Rectangle 51"/>
          <p:cNvSpPr>
            <a:spLocks noChangeArrowheads="1"/>
          </p:cNvSpPr>
          <p:nvPr>
            <p:custDataLst>
              <p:tags r:id="rId44"/>
            </p:custDataLst>
          </p:nvPr>
        </p:nvSpPr>
        <p:spPr bwMode="gray">
          <a:xfrm>
            <a:off x="4701625" y="3122715"/>
            <a:ext cx="40235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3,900K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Rectangle 56"/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1804664" y="5840515"/>
            <a:ext cx="40075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Direct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Rectangle 57"/>
          <p:cNvSpPr>
            <a:spLocks noChangeArrowheads="1"/>
          </p:cNvSpPr>
          <p:nvPr>
            <p:custDataLst>
              <p:tags r:id="rId46"/>
            </p:custDataLst>
          </p:nvPr>
        </p:nvSpPr>
        <p:spPr bwMode="gray">
          <a:xfrm>
            <a:off x="1866894" y="4770540"/>
            <a:ext cx="29655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600K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Rectangle 58"/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2162342" y="4770540"/>
            <a:ext cx="7053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–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7" name="Rectangle 59"/>
          <p:cNvSpPr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1812853" y="4922940"/>
            <a:ext cx="40235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1,000K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Rectangle 77"/>
          <p:cNvSpPr/>
          <p:nvPr>
            <p:custDataLst>
              <p:tags r:id="rId49"/>
            </p:custDataLst>
          </p:nvPr>
        </p:nvSpPr>
        <p:spPr bwMode="gray">
          <a:xfrm>
            <a:off x="8582062" y="4305300"/>
            <a:ext cx="231962" cy="159774"/>
          </a:xfrm>
          <a:prstGeom prst="rect">
            <a:avLst/>
          </a:prstGeom>
          <a:solidFill>
            <a:schemeClr val="accent2"/>
          </a:solidFill>
          <a:ln w="9525">
            <a:solidFill>
              <a:srgbClr val="B2B2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79" name="Rectangle 78"/>
          <p:cNvSpPr/>
          <p:nvPr>
            <p:custDataLst>
              <p:tags r:id="rId50"/>
            </p:custDataLst>
          </p:nvPr>
        </p:nvSpPr>
        <p:spPr bwMode="gray">
          <a:xfrm>
            <a:off x="8579922" y="4569542"/>
            <a:ext cx="231962" cy="159774"/>
          </a:xfrm>
          <a:prstGeom prst="rect">
            <a:avLst/>
          </a:prstGeom>
          <a:solidFill>
            <a:schemeClr val="hlink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85" name="TextBox 123"/>
          <p:cNvSpPr txBox="1">
            <a:spLocks noChangeArrowheads="1"/>
          </p:cNvSpPr>
          <p:nvPr>
            <p:custDataLst>
              <p:tags r:id="rId51"/>
            </p:custDataLst>
          </p:nvPr>
        </p:nvSpPr>
        <p:spPr bwMode="gray">
          <a:xfrm>
            <a:off x="1266955" y="1633539"/>
            <a:ext cx="738569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0000" bIns="90000">
            <a:spAutoFit/>
          </a:bodyPr>
          <a:lstStyle/>
          <a:p>
            <a:pPr algn="ctr"/>
            <a:r>
              <a:rPr lang="en-US" sz="1400" b="1" dirty="0"/>
              <a:t>Jobs created from repatriation of Chinese imports and increased US exports</a:t>
            </a:r>
          </a:p>
        </p:txBody>
      </p:sp>
      <p:sp>
        <p:nvSpPr>
          <p:cNvPr id="89" name="Freeform 8"/>
          <p:cNvSpPr>
            <a:spLocks noEditPoints="1"/>
          </p:cNvSpPr>
          <p:nvPr>
            <p:custDataLst>
              <p:tags r:id="rId52"/>
            </p:custDataLst>
          </p:nvPr>
        </p:nvSpPr>
        <p:spPr bwMode="gray">
          <a:xfrm>
            <a:off x="2462990" y="5089629"/>
            <a:ext cx="520765" cy="95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4" y="0"/>
              </a:cxn>
              <a:cxn ang="0">
                <a:pos x="24" y="6"/>
              </a:cxn>
              <a:cxn ang="0">
                <a:pos x="0" y="6"/>
              </a:cxn>
              <a:cxn ang="0">
                <a:pos x="0" y="0"/>
              </a:cxn>
              <a:cxn ang="0">
                <a:pos x="42" y="0"/>
              </a:cxn>
              <a:cxn ang="0">
                <a:pos x="66" y="0"/>
              </a:cxn>
              <a:cxn ang="0">
                <a:pos x="66" y="6"/>
              </a:cxn>
              <a:cxn ang="0">
                <a:pos x="42" y="6"/>
              </a:cxn>
              <a:cxn ang="0">
                <a:pos x="42" y="0"/>
              </a:cxn>
              <a:cxn ang="0">
                <a:pos x="84" y="0"/>
              </a:cxn>
              <a:cxn ang="0">
                <a:pos x="108" y="0"/>
              </a:cxn>
              <a:cxn ang="0">
                <a:pos x="108" y="6"/>
              </a:cxn>
              <a:cxn ang="0">
                <a:pos x="84" y="6"/>
              </a:cxn>
              <a:cxn ang="0">
                <a:pos x="84" y="0"/>
              </a:cxn>
              <a:cxn ang="0">
                <a:pos x="126" y="0"/>
              </a:cxn>
              <a:cxn ang="0">
                <a:pos x="150" y="0"/>
              </a:cxn>
              <a:cxn ang="0">
                <a:pos x="150" y="6"/>
              </a:cxn>
              <a:cxn ang="0">
                <a:pos x="126" y="6"/>
              </a:cxn>
              <a:cxn ang="0">
                <a:pos x="126" y="0"/>
              </a:cxn>
              <a:cxn ang="0">
                <a:pos x="168" y="0"/>
              </a:cxn>
              <a:cxn ang="0">
                <a:pos x="192" y="0"/>
              </a:cxn>
              <a:cxn ang="0">
                <a:pos x="192" y="6"/>
              </a:cxn>
              <a:cxn ang="0">
                <a:pos x="168" y="6"/>
              </a:cxn>
              <a:cxn ang="0">
                <a:pos x="168" y="0"/>
              </a:cxn>
              <a:cxn ang="0">
                <a:pos x="210" y="0"/>
              </a:cxn>
              <a:cxn ang="0">
                <a:pos x="234" y="0"/>
              </a:cxn>
              <a:cxn ang="0">
                <a:pos x="234" y="6"/>
              </a:cxn>
              <a:cxn ang="0">
                <a:pos x="210" y="6"/>
              </a:cxn>
              <a:cxn ang="0">
                <a:pos x="210" y="0"/>
              </a:cxn>
              <a:cxn ang="0">
                <a:pos x="252" y="0"/>
              </a:cxn>
              <a:cxn ang="0">
                <a:pos x="276" y="0"/>
              </a:cxn>
              <a:cxn ang="0">
                <a:pos x="276" y="6"/>
              </a:cxn>
              <a:cxn ang="0">
                <a:pos x="252" y="6"/>
              </a:cxn>
              <a:cxn ang="0">
                <a:pos x="252" y="0"/>
              </a:cxn>
              <a:cxn ang="0">
                <a:pos x="294" y="0"/>
              </a:cxn>
              <a:cxn ang="0">
                <a:pos x="318" y="0"/>
              </a:cxn>
              <a:cxn ang="0">
                <a:pos x="318" y="6"/>
              </a:cxn>
              <a:cxn ang="0">
                <a:pos x="294" y="6"/>
              </a:cxn>
              <a:cxn ang="0">
                <a:pos x="294" y="0"/>
              </a:cxn>
            </a:cxnLst>
            <a:rect l="0" t="0" r="r" b="b"/>
            <a:pathLst>
              <a:path w="318" h="6">
                <a:moveTo>
                  <a:pt x="0" y="0"/>
                </a:moveTo>
                <a:lnTo>
                  <a:pt x="24" y="0"/>
                </a:lnTo>
                <a:lnTo>
                  <a:pt x="24" y="6"/>
                </a:lnTo>
                <a:lnTo>
                  <a:pt x="0" y="6"/>
                </a:lnTo>
                <a:lnTo>
                  <a:pt x="0" y="0"/>
                </a:lnTo>
                <a:close/>
                <a:moveTo>
                  <a:pt x="42" y="0"/>
                </a:moveTo>
                <a:lnTo>
                  <a:pt x="66" y="0"/>
                </a:lnTo>
                <a:lnTo>
                  <a:pt x="66" y="6"/>
                </a:lnTo>
                <a:lnTo>
                  <a:pt x="42" y="6"/>
                </a:lnTo>
                <a:lnTo>
                  <a:pt x="42" y="0"/>
                </a:lnTo>
                <a:close/>
                <a:moveTo>
                  <a:pt x="84" y="0"/>
                </a:moveTo>
                <a:lnTo>
                  <a:pt x="108" y="0"/>
                </a:lnTo>
                <a:lnTo>
                  <a:pt x="108" y="6"/>
                </a:lnTo>
                <a:lnTo>
                  <a:pt x="84" y="6"/>
                </a:lnTo>
                <a:lnTo>
                  <a:pt x="84" y="0"/>
                </a:lnTo>
                <a:close/>
                <a:moveTo>
                  <a:pt x="126" y="0"/>
                </a:moveTo>
                <a:lnTo>
                  <a:pt x="150" y="0"/>
                </a:lnTo>
                <a:lnTo>
                  <a:pt x="150" y="6"/>
                </a:lnTo>
                <a:lnTo>
                  <a:pt x="126" y="6"/>
                </a:lnTo>
                <a:lnTo>
                  <a:pt x="126" y="0"/>
                </a:lnTo>
                <a:close/>
                <a:moveTo>
                  <a:pt x="168" y="0"/>
                </a:moveTo>
                <a:lnTo>
                  <a:pt x="192" y="0"/>
                </a:lnTo>
                <a:lnTo>
                  <a:pt x="192" y="6"/>
                </a:lnTo>
                <a:lnTo>
                  <a:pt x="168" y="6"/>
                </a:lnTo>
                <a:lnTo>
                  <a:pt x="168" y="0"/>
                </a:lnTo>
                <a:close/>
                <a:moveTo>
                  <a:pt x="210" y="0"/>
                </a:moveTo>
                <a:lnTo>
                  <a:pt x="234" y="0"/>
                </a:lnTo>
                <a:lnTo>
                  <a:pt x="234" y="6"/>
                </a:lnTo>
                <a:lnTo>
                  <a:pt x="210" y="6"/>
                </a:lnTo>
                <a:lnTo>
                  <a:pt x="210" y="0"/>
                </a:lnTo>
                <a:close/>
                <a:moveTo>
                  <a:pt x="252" y="0"/>
                </a:moveTo>
                <a:lnTo>
                  <a:pt x="276" y="0"/>
                </a:lnTo>
                <a:lnTo>
                  <a:pt x="276" y="6"/>
                </a:lnTo>
                <a:lnTo>
                  <a:pt x="252" y="6"/>
                </a:lnTo>
                <a:lnTo>
                  <a:pt x="252" y="0"/>
                </a:lnTo>
                <a:close/>
                <a:moveTo>
                  <a:pt x="294" y="0"/>
                </a:moveTo>
                <a:lnTo>
                  <a:pt x="318" y="0"/>
                </a:lnTo>
                <a:lnTo>
                  <a:pt x="318" y="6"/>
                </a:lnTo>
                <a:lnTo>
                  <a:pt x="294" y="6"/>
                </a:lnTo>
                <a:lnTo>
                  <a:pt x="294" y="0"/>
                </a:lnTo>
                <a:close/>
              </a:path>
            </a:pathLst>
          </a:custGeom>
          <a:solidFill>
            <a:srgbClr val="808080"/>
          </a:solidFill>
          <a:ln w="0" cap="flat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0" name="Rectangle 11"/>
          <p:cNvSpPr>
            <a:spLocks noChangeArrowheads="1"/>
          </p:cNvSpPr>
          <p:nvPr>
            <p:custDataLst>
              <p:tags r:id="rId53"/>
            </p:custDataLst>
          </p:nvPr>
        </p:nvSpPr>
        <p:spPr bwMode="gray">
          <a:xfrm>
            <a:off x="3011595" y="3292579"/>
            <a:ext cx="902332" cy="1795463"/>
          </a:xfrm>
          <a:prstGeom prst="rect">
            <a:avLst/>
          </a:prstGeom>
          <a:solidFill>
            <a:schemeClr val="accent2"/>
          </a:solidFill>
          <a:ln w="9525">
            <a:solidFill>
              <a:srgbClr val="B2B2B2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1" name="Line 25"/>
          <p:cNvSpPr>
            <a:spLocks noChangeShapeType="1"/>
          </p:cNvSpPr>
          <p:nvPr>
            <p:custDataLst>
              <p:tags r:id="rId54"/>
            </p:custDataLst>
          </p:nvPr>
        </p:nvSpPr>
        <p:spPr bwMode="gray">
          <a:xfrm flipV="1">
            <a:off x="2736474" y="5715103"/>
            <a:ext cx="1638" cy="46038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2" name="Line 26"/>
          <p:cNvSpPr>
            <a:spLocks noChangeShapeType="1"/>
          </p:cNvSpPr>
          <p:nvPr>
            <p:custDataLst>
              <p:tags r:id="rId55"/>
            </p:custDataLst>
          </p:nvPr>
        </p:nvSpPr>
        <p:spPr bwMode="gray">
          <a:xfrm flipV="1">
            <a:off x="4189047" y="5715103"/>
            <a:ext cx="1638" cy="46038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3" name="Rectangle 32"/>
          <p:cNvSpPr>
            <a:spLocks noChangeArrowheads="1"/>
          </p:cNvSpPr>
          <p:nvPr>
            <p:custDataLst>
              <p:tags r:id="rId56"/>
            </p:custDataLst>
          </p:nvPr>
        </p:nvSpPr>
        <p:spPr bwMode="gray">
          <a:xfrm>
            <a:off x="1472279" y="2359129"/>
            <a:ext cx="4571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1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94" name="Rectangle 52"/>
          <p:cNvSpPr>
            <a:spLocks noChangeArrowheads="1"/>
          </p:cNvSpPr>
          <p:nvPr>
            <p:custDataLst>
              <p:tags r:id="rId57"/>
            </p:custDataLst>
          </p:nvPr>
        </p:nvSpPr>
        <p:spPr bwMode="gray">
          <a:xfrm>
            <a:off x="3206472" y="5840515"/>
            <a:ext cx="50334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Indirect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95" name="Rectangle 53"/>
          <p:cNvSpPr>
            <a:spLocks noChangeArrowheads="1"/>
          </p:cNvSpPr>
          <p:nvPr>
            <p:custDataLst>
              <p:tags r:id="rId58"/>
            </p:custDataLst>
          </p:nvPr>
        </p:nvSpPr>
        <p:spPr bwMode="gray">
          <a:xfrm>
            <a:off x="3270340" y="2970315"/>
            <a:ext cx="36708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1800K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96" name="Rectangle 54"/>
          <p:cNvSpPr>
            <a:spLocks noChangeArrowheads="1"/>
          </p:cNvSpPr>
          <p:nvPr>
            <p:custDataLst>
              <p:tags r:id="rId59"/>
            </p:custDataLst>
          </p:nvPr>
        </p:nvSpPr>
        <p:spPr bwMode="gray">
          <a:xfrm>
            <a:off x="3646175" y="2970315"/>
            <a:ext cx="7053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–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97" name="Rectangle 55"/>
          <p:cNvSpPr>
            <a:spLocks noChangeArrowheads="1"/>
          </p:cNvSpPr>
          <p:nvPr>
            <p:custDataLst>
              <p:tags r:id="rId60"/>
            </p:custDataLst>
          </p:nvPr>
        </p:nvSpPr>
        <p:spPr bwMode="gray">
          <a:xfrm>
            <a:off x="3250688" y="3122715"/>
            <a:ext cx="40235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2,800K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Rounded Rectangular Callout 87"/>
          <p:cNvSpPr/>
          <p:nvPr>
            <p:custDataLst>
              <p:tags r:id="rId61"/>
            </p:custDataLst>
          </p:nvPr>
        </p:nvSpPr>
        <p:spPr bwMode="gray">
          <a:xfrm>
            <a:off x="1381203" y="2908837"/>
            <a:ext cx="1511820" cy="764088"/>
          </a:xfrm>
          <a:prstGeom prst="wedgeRoundRectCallout">
            <a:avLst>
              <a:gd name="adj1" fmla="val 54099"/>
              <a:gd name="adj2" fmla="val 90584"/>
              <a:gd name="adj3" fmla="val 16667"/>
            </a:avLst>
          </a:prstGeom>
          <a:solidFill>
            <a:srgbClr val="F9DFB5"/>
          </a:solidFill>
          <a:ln w="9525">
            <a:solidFill>
              <a:srgbClr val="F9DFB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0000" rIns="0" bIns="90000" rtlCol="0" anchor="ctr" anchorCtr="0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1 new US mfg. job creates ~ 3 non-mfg. jobs</a:t>
            </a: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pPr eaLnBrk="1" hangingPunct="1"/>
            <a:r>
              <a:rPr lang="en-US" smtClean="0"/>
              <a:t>Physical map of the world</a:t>
            </a:r>
          </a:p>
        </p:txBody>
      </p:sp>
      <p:pic>
        <p:nvPicPr>
          <p:cNvPr id="14339" name="Picture 7" descr="1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gray">
          <a:xfrm>
            <a:off x="466725" y="2032000"/>
            <a:ext cx="9001125" cy="443024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http://dgreatwallofchina.com/Great-Wall-of-China-Pictures.jpg"/>
          <p:cNvPicPr>
            <a:picLocks noChangeAspect="1" noChangeArrowheads="1"/>
          </p:cNvPicPr>
          <p:nvPr/>
        </p:nvPicPr>
        <p:blipFill>
          <a:blip r:embed="rId2" cstate="print"/>
          <a:srcRect t="4729" b="2964"/>
          <a:stretch>
            <a:fillRect/>
          </a:stretch>
        </p:blipFill>
        <p:spPr bwMode="auto">
          <a:xfrm>
            <a:off x="0" y="-1"/>
            <a:ext cx="9906000" cy="6858001"/>
          </a:xfrm>
          <a:prstGeom prst="rect">
            <a:avLst/>
          </a:prstGeom>
          <a:noFill/>
        </p:spPr>
      </p:pic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http://nyctourismsvt.com/wp-content/uploads/new-york-city-statue-of-liberty.jpg"/>
          <p:cNvPicPr>
            <a:picLocks noChangeAspect="1" noChangeArrowheads="1"/>
          </p:cNvPicPr>
          <p:nvPr/>
        </p:nvPicPr>
        <p:blipFill>
          <a:blip r:embed="rId2" cstate="print"/>
          <a:srcRect r="6667" b="3077"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" name="Object 7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17762" name="think-cell Slide" r:id="rId88" imgW="360" imgH="360" progId="TCLayout.ActiveDocument.1">
              <p:embed/>
            </p:oleObj>
          </a:graphicData>
        </a:graphic>
      </p:graphicFrame>
      <p:sp>
        <p:nvSpPr>
          <p:cNvPr id="77" name="Rectangle 76" hidden="1"/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Labor and energy cost advantages will position the US </a:t>
            </a:r>
            <a:br>
              <a:rPr lang="en-US" dirty="0" smtClean="0"/>
            </a:br>
            <a:r>
              <a:rPr lang="en-US" dirty="0" smtClean="0"/>
              <a:t>as one of the developed world's lowest-cost countries</a:t>
            </a:r>
            <a:endParaRPr lang="en-US" dirty="0"/>
          </a:p>
        </p:txBody>
      </p:sp>
      <p:sp>
        <p:nvSpPr>
          <p:cNvPr id="61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93714" y="1177925"/>
            <a:ext cx="8762999" cy="40011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400" b="1" dirty="0" smtClean="0"/>
              <a:t>Major exporting nation average manufacturing cost structures relative to US (2015 projections)</a:t>
            </a:r>
          </a:p>
        </p:txBody>
      </p:sp>
      <p:graphicFrame>
        <p:nvGraphicFramePr>
          <p:cNvPr id="64" name="Object 63"/>
          <p:cNvGraphicFramePr>
            <a:graphicFrameLocks noChangeAspect="1"/>
          </p:cNvGraphicFramePr>
          <p:nvPr/>
        </p:nvGraphicFramePr>
        <p:xfrm>
          <a:off x="1022350" y="2065338"/>
          <a:ext cx="7581967" cy="3171757"/>
        </p:xfrm>
        <a:graphic>
          <a:graphicData uri="http://schemas.openxmlformats.org/presentationml/2006/ole">
            <p:oleObj spid="_x0000_s117763" name="Chart" r:id="rId89" imgW="7581967" imgH="3171757" progId="MSGraph.Chart.8">
              <p:embed followColorScheme="full"/>
            </p:oleObj>
          </a:graphicData>
        </a:graphic>
      </p:graphicFrame>
      <p:cxnSp>
        <p:nvCxnSpPr>
          <p:cNvPr id="112" name="Straight Connector 111"/>
          <p:cNvCxnSpPr/>
          <p:nvPr>
            <p:custDataLst>
              <p:tags r:id="rId5"/>
            </p:custDataLst>
          </p:nvPr>
        </p:nvCxnSpPr>
        <p:spPr bwMode="gray">
          <a:xfrm>
            <a:off x="1123950" y="3732212"/>
            <a:ext cx="50800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>
            <p:custDataLst>
              <p:tags r:id="rId6"/>
            </p:custDataLst>
          </p:nvPr>
        </p:nvCxnSpPr>
        <p:spPr bwMode="gray">
          <a:xfrm>
            <a:off x="1123950" y="2941637"/>
            <a:ext cx="50800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>
            <p:custDataLst>
              <p:tags r:id="rId7"/>
            </p:custDataLst>
          </p:nvPr>
        </p:nvCxnSpPr>
        <p:spPr bwMode="gray">
          <a:xfrm>
            <a:off x="1123950" y="2160587"/>
            <a:ext cx="50800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>
            <p:custDataLst>
              <p:tags r:id="rId8"/>
            </p:custDataLst>
          </p:nvPr>
        </p:nvCxnSpPr>
        <p:spPr bwMode="gray">
          <a:xfrm>
            <a:off x="1123950" y="5084762"/>
            <a:ext cx="50800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>
            <p:custDataLst>
              <p:tags r:id="rId9"/>
            </p:custDataLst>
          </p:nvPr>
        </p:nvCxnSpPr>
        <p:spPr bwMode="gray">
          <a:xfrm>
            <a:off x="1123950" y="4513262"/>
            <a:ext cx="50800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54" name="Freeform 153"/>
          <p:cNvSpPr/>
          <p:nvPr>
            <p:custDataLst>
              <p:tags r:id="rId10"/>
            </p:custDataLst>
          </p:nvPr>
        </p:nvSpPr>
        <p:spPr bwMode="auto">
          <a:xfrm>
            <a:off x="6253162" y="4776787"/>
            <a:ext cx="839789" cy="282576"/>
          </a:xfrm>
          <a:custGeom>
            <a:avLst/>
            <a:gdLst/>
            <a:ahLst/>
            <a:cxnLst/>
            <a:rect l="0" t="0" r="0" b="0"/>
            <a:pathLst>
              <a:path w="839789" h="282576">
                <a:moveTo>
                  <a:pt x="0" y="225425"/>
                </a:moveTo>
                <a:lnTo>
                  <a:pt x="839788" y="0"/>
                </a:lnTo>
                <a:lnTo>
                  <a:pt x="839788" y="57150"/>
                </a:lnTo>
                <a:lnTo>
                  <a:pt x="0" y="282575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150" name="Freeform 149"/>
          <p:cNvSpPr/>
          <p:nvPr>
            <p:custDataLst>
              <p:tags r:id="rId11"/>
            </p:custDataLst>
          </p:nvPr>
        </p:nvSpPr>
        <p:spPr bwMode="auto">
          <a:xfrm>
            <a:off x="5030787" y="4776787"/>
            <a:ext cx="841376" cy="282576"/>
          </a:xfrm>
          <a:custGeom>
            <a:avLst/>
            <a:gdLst/>
            <a:ahLst/>
            <a:cxnLst/>
            <a:rect l="0" t="0" r="0" b="0"/>
            <a:pathLst>
              <a:path w="841376" h="282576">
                <a:moveTo>
                  <a:pt x="0" y="225425"/>
                </a:moveTo>
                <a:lnTo>
                  <a:pt x="841375" y="0"/>
                </a:lnTo>
                <a:lnTo>
                  <a:pt x="841375" y="57150"/>
                </a:lnTo>
                <a:lnTo>
                  <a:pt x="0" y="282575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147" name="Freeform 146"/>
          <p:cNvSpPr/>
          <p:nvPr>
            <p:custDataLst>
              <p:tags r:id="rId12"/>
            </p:custDataLst>
          </p:nvPr>
        </p:nvSpPr>
        <p:spPr bwMode="auto">
          <a:xfrm>
            <a:off x="3808412" y="4776787"/>
            <a:ext cx="841376" cy="282576"/>
          </a:xfrm>
          <a:custGeom>
            <a:avLst/>
            <a:gdLst/>
            <a:ahLst/>
            <a:cxnLst/>
            <a:rect l="0" t="0" r="0" b="0"/>
            <a:pathLst>
              <a:path w="841376" h="282576">
                <a:moveTo>
                  <a:pt x="0" y="225425"/>
                </a:moveTo>
                <a:lnTo>
                  <a:pt x="841375" y="0"/>
                </a:lnTo>
                <a:lnTo>
                  <a:pt x="841375" y="57150"/>
                </a:lnTo>
                <a:lnTo>
                  <a:pt x="0" y="282575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143" name="Freeform 142"/>
          <p:cNvSpPr/>
          <p:nvPr>
            <p:custDataLst>
              <p:tags r:id="rId13"/>
            </p:custDataLst>
          </p:nvPr>
        </p:nvSpPr>
        <p:spPr bwMode="auto">
          <a:xfrm>
            <a:off x="2587625" y="4776787"/>
            <a:ext cx="839788" cy="282576"/>
          </a:xfrm>
          <a:custGeom>
            <a:avLst/>
            <a:gdLst/>
            <a:ahLst/>
            <a:cxnLst/>
            <a:rect l="0" t="0" r="0" b="0"/>
            <a:pathLst>
              <a:path w="839788" h="282576">
                <a:moveTo>
                  <a:pt x="0" y="225425"/>
                </a:moveTo>
                <a:lnTo>
                  <a:pt x="839787" y="0"/>
                </a:lnTo>
                <a:lnTo>
                  <a:pt x="839787" y="57150"/>
                </a:lnTo>
                <a:lnTo>
                  <a:pt x="0" y="282575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87" name="Freeform 86"/>
          <p:cNvSpPr/>
          <p:nvPr>
            <p:custDataLst>
              <p:tags r:id="rId14"/>
            </p:custDataLst>
          </p:nvPr>
        </p:nvSpPr>
        <p:spPr bwMode="auto">
          <a:xfrm>
            <a:off x="1101725" y="4870450"/>
            <a:ext cx="146051" cy="95251"/>
          </a:xfrm>
          <a:custGeom>
            <a:avLst/>
            <a:gdLst/>
            <a:ahLst/>
            <a:cxnLst/>
            <a:rect l="0" t="0" r="0" b="0"/>
            <a:pathLst>
              <a:path w="146051" h="95251">
                <a:moveTo>
                  <a:pt x="0" y="38100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525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139" name="Freeform 138"/>
          <p:cNvSpPr/>
          <p:nvPr>
            <p:custDataLst>
              <p:tags r:id="rId15"/>
            </p:custDataLst>
          </p:nvPr>
        </p:nvSpPr>
        <p:spPr bwMode="auto">
          <a:xfrm>
            <a:off x="1365250" y="4776787"/>
            <a:ext cx="841376" cy="282576"/>
          </a:xfrm>
          <a:custGeom>
            <a:avLst/>
            <a:gdLst/>
            <a:ahLst/>
            <a:cxnLst/>
            <a:rect l="0" t="0" r="0" b="0"/>
            <a:pathLst>
              <a:path w="841376" h="282576">
                <a:moveTo>
                  <a:pt x="0" y="225425"/>
                </a:moveTo>
                <a:lnTo>
                  <a:pt x="841375" y="0"/>
                </a:lnTo>
                <a:lnTo>
                  <a:pt x="841375" y="57150"/>
                </a:lnTo>
                <a:lnTo>
                  <a:pt x="0" y="282575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157" name="Freeform 156"/>
          <p:cNvSpPr/>
          <p:nvPr>
            <p:custDataLst>
              <p:tags r:id="rId16"/>
            </p:custDataLst>
          </p:nvPr>
        </p:nvSpPr>
        <p:spPr bwMode="auto">
          <a:xfrm>
            <a:off x="7473950" y="4776787"/>
            <a:ext cx="841376" cy="282576"/>
          </a:xfrm>
          <a:custGeom>
            <a:avLst/>
            <a:gdLst/>
            <a:ahLst/>
            <a:cxnLst/>
            <a:rect l="0" t="0" r="0" b="0"/>
            <a:pathLst>
              <a:path w="841376" h="282576">
                <a:moveTo>
                  <a:pt x="0" y="225425"/>
                </a:moveTo>
                <a:lnTo>
                  <a:pt x="841375" y="0"/>
                </a:lnTo>
                <a:lnTo>
                  <a:pt x="841375" y="57150"/>
                </a:lnTo>
                <a:lnTo>
                  <a:pt x="0" y="282575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3" name="Freeform 152"/>
          <p:cNvSpPr/>
          <p:nvPr>
            <p:custDataLst>
              <p:tags r:id="rId17"/>
            </p:custDataLst>
          </p:nvPr>
        </p:nvSpPr>
        <p:spPr bwMode="auto">
          <a:xfrm>
            <a:off x="6253162" y="4833937"/>
            <a:ext cx="839789" cy="225426"/>
          </a:xfrm>
          <a:custGeom>
            <a:avLst/>
            <a:gdLst/>
            <a:ahLst/>
            <a:cxnLst/>
            <a:rect l="0" t="0" r="0" b="0"/>
            <a:pathLst>
              <a:path w="839789" h="225426">
                <a:moveTo>
                  <a:pt x="0" y="225425"/>
                </a:moveTo>
                <a:lnTo>
                  <a:pt x="839788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Freeform 114"/>
          <p:cNvSpPr/>
          <p:nvPr>
            <p:custDataLst>
              <p:tags r:id="rId18"/>
            </p:custDataLst>
          </p:nvPr>
        </p:nvSpPr>
        <p:spPr bwMode="auto">
          <a:xfrm>
            <a:off x="1365250" y="4776787"/>
            <a:ext cx="841376" cy="225426"/>
          </a:xfrm>
          <a:custGeom>
            <a:avLst/>
            <a:gdLst/>
            <a:ahLst/>
            <a:cxnLst/>
            <a:rect l="0" t="0" r="0" b="0"/>
            <a:pathLst>
              <a:path w="841376" h="225426">
                <a:moveTo>
                  <a:pt x="0" y="225425"/>
                </a:moveTo>
                <a:lnTo>
                  <a:pt x="841375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Freeform 84"/>
          <p:cNvSpPr/>
          <p:nvPr>
            <p:custDataLst>
              <p:tags r:id="rId19"/>
            </p:custDataLst>
          </p:nvPr>
        </p:nvSpPr>
        <p:spPr bwMode="auto">
          <a:xfrm>
            <a:off x="1101725" y="4870450"/>
            <a:ext cx="146051" cy="38101"/>
          </a:xfrm>
          <a:custGeom>
            <a:avLst/>
            <a:gdLst/>
            <a:ahLst/>
            <a:cxnLst/>
            <a:rect l="0" t="0" r="0" b="0"/>
            <a:pathLst>
              <a:path w="146051" h="38101">
                <a:moveTo>
                  <a:pt x="0" y="38100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Freeform 141"/>
          <p:cNvSpPr/>
          <p:nvPr>
            <p:custDataLst>
              <p:tags r:id="rId20"/>
            </p:custDataLst>
          </p:nvPr>
        </p:nvSpPr>
        <p:spPr bwMode="auto">
          <a:xfrm>
            <a:off x="2587625" y="4833937"/>
            <a:ext cx="839788" cy="225426"/>
          </a:xfrm>
          <a:custGeom>
            <a:avLst/>
            <a:gdLst/>
            <a:ahLst/>
            <a:cxnLst/>
            <a:rect l="0" t="0" r="0" b="0"/>
            <a:pathLst>
              <a:path w="839788" h="225426">
                <a:moveTo>
                  <a:pt x="0" y="225425"/>
                </a:moveTo>
                <a:lnTo>
                  <a:pt x="839787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Freeform 136"/>
          <p:cNvSpPr/>
          <p:nvPr>
            <p:custDataLst>
              <p:tags r:id="rId21"/>
            </p:custDataLst>
          </p:nvPr>
        </p:nvSpPr>
        <p:spPr bwMode="auto">
          <a:xfrm>
            <a:off x="1365250" y="4833937"/>
            <a:ext cx="841376" cy="225426"/>
          </a:xfrm>
          <a:custGeom>
            <a:avLst/>
            <a:gdLst/>
            <a:ahLst/>
            <a:cxnLst/>
            <a:rect l="0" t="0" r="0" b="0"/>
            <a:pathLst>
              <a:path w="841376" h="225426">
                <a:moveTo>
                  <a:pt x="0" y="225425"/>
                </a:moveTo>
                <a:lnTo>
                  <a:pt x="841375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6" name="Freeform 145"/>
          <p:cNvSpPr/>
          <p:nvPr>
            <p:custDataLst>
              <p:tags r:id="rId22"/>
            </p:custDataLst>
          </p:nvPr>
        </p:nvSpPr>
        <p:spPr bwMode="auto">
          <a:xfrm>
            <a:off x="3808412" y="4833937"/>
            <a:ext cx="841376" cy="225426"/>
          </a:xfrm>
          <a:custGeom>
            <a:avLst/>
            <a:gdLst/>
            <a:ahLst/>
            <a:cxnLst/>
            <a:rect l="0" t="0" r="0" b="0"/>
            <a:pathLst>
              <a:path w="841376" h="225426">
                <a:moveTo>
                  <a:pt x="0" y="225425"/>
                </a:moveTo>
                <a:lnTo>
                  <a:pt x="841375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8" name="Freeform 147"/>
          <p:cNvSpPr/>
          <p:nvPr>
            <p:custDataLst>
              <p:tags r:id="rId23"/>
            </p:custDataLst>
          </p:nvPr>
        </p:nvSpPr>
        <p:spPr bwMode="auto">
          <a:xfrm>
            <a:off x="5030787" y="4776787"/>
            <a:ext cx="841376" cy="225426"/>
          </a:xfrm>
          <a:custGeom>
            <a:avLst/>
            <a:gdLst/>
            <a:ahLst/>
            <a:cxnLst/>
            <a:rect l="0" t="0" r="0" b="0"/>
            <a:pathLst>
              <a:path w="841376" h="225426">
                <a:moveTo>
                  <a:pt x="0" y="225425"/>
                </a:moveTo>
                <a:lnTo>
                  <a:pt x="841375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4" name="Freeform 143"/>
          <p:cNvSpPr/>
          <p:nvPr>
            <p:custDataLst>
              <p:tags r:id="rId24"/>
            </p:custDataLst>
          </p:nvPr>
        </p:nvSpPr>
        <p:spPr bwMode="auto">
          <a:xfrm>
            <a:off x="3808412" y="4776787"/>
            <a:ext cx="841376" cy="225426"/>
          </a:xfrm>
          <a:custGeom>
            <a:avLst/>
            <a:gdLst/>
            <a:ahLst/>
            <a:cxnLst/>
            <a:rect l="0" t="0" r="0" b="0"/>
            <a:pathLst>
              <a:path w="841376" h="225426">
                <a:moveTo>
                  <a:pt x="0" y="225425"/>
                </a:moveTo>
                <a:lnTo>
                  <a:pt x="841375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2" name="Freeform 151"/>
          <p:cNvSpPr/>
          <p:nvPr>
            <p:custDataLst>
              <p:tags r:id="rId25"/>
            </p:custDataLst>
          </p:nvPr>
        </p:nvSpPr>
        <p:spPr bwMode="auto">
          <a:xfrm>
            <a:off x="6253162" y="4776787"/>
            <a:ext cx="839789" cy="225426"/>
          </a:xfrm>
          <a:custGeom>
            <a:avLst/>
            <a:gdLst/>
            <a:ahLst/>
            <a:cxnLst/>
            <a:rect l="0" t="0" r="0" b="0"/>
            <a:pathLst>
              <a:path w="839789" h="225426">
                <a:moveTo>
                  <a:pt x="0" y="225425"/>
                </a:moveTo>
                <a:lnTo>
                  <a:pt x="839788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eform 140"/>
          <p:cNvSpPr/>
          <p:nvPr>
            <p:custDataLst>
              <p:tags r:id="rId26"/>
            </p:custDataLst>
          </p:nvPr>
        </p:nvSpPr>
        <p:spPr bwMode="auto">
          <a:xfrm>
            <a:off x="2587625" y="4776787"/>
            <a:ext cx="839788" cy="225426"/>
          </a:xfrm>
          <a:custGeom>
            <a:avLst/>
            <a:gdLst/>
            <a:ahLst/>
            <a:cxnLst/>
            <a:rect l="0" t="0" r="0" b="0"/>
            <a:pathLst>
              <a:path w="839788" h="225426">
                <a:moveTo>
                  <a:pt x="0" y="225425"/>
                </a:moveTo>
                <a:lnTo>
                  <a:pt x="839787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9" name="Freeform 148"/>
          <p:cNvSpPr/>
          <p:nvPr>
            <p:custDataLst>
              <p:tags r:id="rId27"/>
            </p:custDataLst>
          </p:nvPr>
        </p:nvSpPr>
        <p:spPr bwMode="auto">
          <a:xfrm>
            <a:off x="5030787" y="4833937"/>
            <a:ext cx="841376" cy="225426"/>
          </a:xfrm>
          <a:custGeom>
            <a:avLst/>
            <a:gdLst/>
            <a:ahLst/>
            <a:cxnLst/>
            <a:rect l="0" t="0" r="0" b="0"/>
            <a:pathLst>
              <a:path w="841376" h="225426">
                <a:moveTo>
                  <a:pt x="0" y="225425"/>
                </a:moveTo>
                <a:lnTo>
                  <a:pt x="841375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Freeform 85"/>
          <p:cNvSpPr/>
          <p:nvPr>
            <p:custDataLst>
              <p:tags r:id="rId28"/>
            </p:custDataLst>
          </p:nvPr>
        </p:nvSpPr>
        <p:spPr bwMode="auto">
          <a:xfrm>
            <a:off x="1101725" y="4927600"/>
            <a:ext cx="146051" cy="38101"/>
          </a:xfrm>
          <a:custGeom>
            <a:avLst/>
            <a:gdLst/>
            <a:ahLst/>
            <a:cxnLst/>
            <a:rect l="0" t="0" r="0" b="0"/>
            <a:pathLst>
              <a:path w="146051" h="38101">
                <a:moveTo>
                  <a:pt x="0" y="38100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5" name="Freeform 154"/>
          <p:cNvSpPr/>
          <p:nvPr>
            <p:custDataLst>
              <p:tags r:id="rId29"/>
            </p:custDataLst>
          </p:nvPr>
        </p:nvSpPr>
        <p:spPr bwMode="auto">
          <a:xfrm>
            <a:off x="7473950" y="4776787"/>
            <a:ext cx="841376" cy="225426"/>
          </a:xfrm>
          <a:custGeom>
            <a:avLst/>
            <a:gdLst/>
            <a:ahLst/>
            <a:cxnLst/>
            <a:rect l="0" t="0" r="0" b="0"/>
            <a:pathLst>
              <a:path w="841376" h="225426">
                <a:moveTo>
                  <a:pt x="0" y="225425"/>
                </a:moveTo>
                <a:lnTo>
                  <a:pt x="841375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6" name="Freeform 155"/>
          <p:cNvSpPr/>
          <p:nvPr>
            <p:custDataLst>
              <p:tags r:id="rId30"/>
            </p:custDataLst>
          </p:nvPr>
        </p:nvSpPr>
        <p:spPr bwMode="auto">
          <a:xfrm>
            <a:off x="7473950" y="4833937"/>
            <a:ext cx="841376" cy="225426"/>
          </a:xfrm>
          <a:custGeom>
            <a:avLst/>
            <a:gdLst/>
            <a:ahLst/>
            <a:cxnLst/>
            <a:rect l="0" t="0" r="0" b="0"/>
            <a:pathLst>
              <a:path w="841376" h="225426">
                <a:moveTo>
                  <a:pt x="0" y="225425"/>
                </a:moveTo>
                <a:lnTo>
                  <a:pt x="841375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9" name="Straight Connector 178"/>
          <p:cNvCxnSpPr/>
          <p:nvPr>
            <p:custDataLst>
              <p:tags r:id="rId31"/>
            </p:custDataLst>
          </p:nvPr>
        </p:nvCxnSpPr>
        <p:spPr bwMode="gray">
          <a:xfrm flipV="1">
            <a:off x="3003550" y="2378075"/>
            <a:ext cx="0" cy="110807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/>
          <p:cNvCxnSpPr/>
          <p:nvPr>
            <p:custDataLst>
              <p:tags r:id="rId32"/>
            </p:custDataLst>
          </p:nvPr>
        </p:nvCxnSpPr>
        <p:spPr bwMode="gray">
          <a:xfrm>
            <a:off x="7889875" y="2378075"/>
            <a:ext cx="0" cy="20320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/>
          <p:cNvCxnSpPr/>
          <p:nvPr>
            <p:custDataLst>
              <p:tags r:id="rId33"/>
            </p:custDataLst>
          </p:nvPr>
        </p:nvCxnSpPr>
        <p:spPr bwMode="gray">
          <a:xfrm>
            <a:off x="3003550" y="2378075"/>
            <a:ext cx="488632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Text Placeholder 187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2908300" y="4032250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B182F2E-5988-4387-A722-BFD3E4E80415}" type="datetime'''''''1''''''''''''''''''9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59" name="Text Placeholder 157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581150" y="5224462"/>
            <a:ext cx="407987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2914F52-CC01-4926-B641-E7536CD7D343}" type="datetime'C''h''''''''''''''''''''i''''''''''''''n''''a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China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67" name="Text Placeholder 165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670050" y="3781425"/>
            <a:ext cx="228600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EF65697-0013-4B56-B335-77A92C2E0578}" type="datetime'''9''''''''''''''''''''3''''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93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65" name="Text Placeholder 160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689100" y="4841875"/>
            <a:ext cx="190500" cy="152400"/>
          </a:xfrm>
          <a:prstGeom prst="rect">
            <a:avLst/>
          </a:prstGeom>
          <a:solidFill>
            <a:srgbClr val="E2E2E2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2DB69C3-129F-4D9A-A31A-C5197A4E1AEA}" type="datetime'7''''''''''''''''''4''''''''''''''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4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75" name="Text Placeholder 173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1533525" y="4613275"/>
            <a:ext cx="12065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E9DA374-F1F1-4AFA-B85D-28C8B05CCBB8}" type="datetime'''''3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73" name="Text Placeholder 171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914525" y="4518025"/>
            <a:ext cx="120650" cy="152400"/>
          </a:xfrm>
          <a:prstGeom prst="rect">
            <a:avLst/>
          </a:prstGeom>
          <a:solidFill>
            <a:schemeClr val="accent2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E21EC99-E955-4E0D-804B-E885C00A1315}" type="datetime'''''''''''''''''''2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23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801688" y="1811337"/>
            <a:ext cx="2471737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0" dirty="0" smtClean="0">
                <a:latin typeface="Arial"/>
                <a:sym typeface="Arial"/>
              </a:rPr>
              <a:t>Manufacturing cost index (US = 100)</a:t>
            </a:r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235" name="Text Placeholder 233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01687" y="2070100"/>
            <a:ext cx="252412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59231A1-4665-4EDF-B2AA-B2741D22F710}" type="datetime'''''''''14''''''''''''''''''0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140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233" name="Text Placeholder 231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801687" y="2851150"/>
            <a:ext cx="252412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4309106-AABE-4CFF-A19A-A05EFB8A03D3}" type="datetime'''''''''''''''''''''''''''''''''''1''''''''''2''''''''''''0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120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38" name="Text Placeholder 43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01687" y="3641725"/>
            <a:ext cx="252412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202C16F-52B7-42E3-AFC9-3177EECBDF81}" type="datetime'''''''''''''''''1''''''''''''''''0''''''''''''''''''''0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248" name="Text Placeholder 246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885825" y="4422775"/>
            <a:ext cx="168275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527FED4-AF82-43F3-8AE1-9D089E2A20D5}" type="datetime'''''''''''8''''''''''0''''''''''''''''''''''''''''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80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68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969962" y="4994275"/>
            <a:ext cx="84137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6605E65-4EA2-4B1A-A110-BC75BBA2C0A2}" type="datetime'''''''''''''''''''''''''''''''''''''''''''''''''''0''''''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236" name="Text Placeholder 233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6457950" y="5224462"/>
            <a:ext cx="425450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0C962D4-DDF4-4127-822D-99081ADE3553}" type="datetime'Ja''pan''''''''''''''''''''''''''''''''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Japan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240" name="Text Placeholder 238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6515100" y="2705100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267A591-CE80-4DA5-9E97-D2601DEDE167}" type="datetime'''''''''''''''''''''''''''1''''''2''''''1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21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238" name="Text Placeholder 236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575425" y="4681537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E4359F5-394E-4A48-BD85-F78909A56119}" type="datetime'''''''''''''''''7''''7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7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46" name="Text Placeholder 244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6610350" y="4460875"/>
            <a:ext cx="12065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D23CC60-451D-45BD-999D-63E10405B40E}" type="datetime'''''''''''''''''''''''''''''''''''''''''''''''5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44" name="Text Placeholder 24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6610350" y="4308475"/>
            <a:ext cx="120650" cy="152400"/>
          </a:xfrm>
          <a:prstGeom prst="rect">
            <a:avLst/>
          </a:prstGeom>
          <a:solidFill>
            <a:schemeClr val="accent2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1D85712-C7F9-4324-86EE-13480C59B2DB}" type="datetime'''''''''''''3''''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08" name="Text Placeholder 206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4132262" y="3656012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ACDD419-B135-406B-BD7B-7668D5278FB7}" type="datetime'''''''''''''''''''''''''''''''''''3''0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80" name="Text Placeholder 178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2892425" y="5224462"/>
            <a:ext cx="223837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85197C9-8BA5-4EA3-9551-E8FC15BC3ED7}" type="datetime'''''''''''''''''''''''''''''''''''''''US''''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US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85" name="Text Placeholder 183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2847975" y="3524250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AA998B8-A844-46C8-B490-BD9239D0C048}" type="datetime'''1''''''''''0''0''''''''''''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82" name="Text Placeholder 180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2908300" y="4667250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352DF30-A671-40CE-9DE3-31380B3E263A}" type="datetime'''''''''''''''''7''8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8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94" name="Text Placeholder 192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2752725" y="4489450"/>
            <a:ext cx="120650" cy="152400"/>
          </a:xfrm>
          <a:prstGeom prst="rect">
            <a:avLst/>
          </a:prstGeom>
          <a:solidFill>
            <a:schemeClr val="folHlink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B91A390-9E64-446E-855D-851042DF273C}" type="datetime'''''''''''''2''''''''''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92" name="Text Placeholder 190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3133725" y="4427537"/>
            <a:ext cx="120650" cy="152400"/>
          </a:xfrm>
          <a:prstGeom prst="rect">
            <a:avLst/>
          </a:prstGeom>
          <a:solidFill>
            <a:schemeClr val="accent2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B1A1D87-C12B-4676-BFBC-6868C0C44EF4}" type="datetime'''''''''''''''''''''''1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70" name="Text Placeholder 167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1689100" y="4198937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816250F-85C0-4A70-BE20-8DCF89DDC945}" type="datetime'1''''''''''''''4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76" name="Text Placeholder 173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7829550" y="4479925"/>
            <a:ext cx="12065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07400CE-A39B-4076-996C-635B66D434AE}" type="datetime'''''''''''''''''''''''''''''''4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62" name="Text Placeholder 160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7794625" y="4681537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CB4C931-15F7-419A-BABE-73261AAEC57D}" type="datetime'''''''''''''''''''''''''''''7''''''''''''''''''''''''''''7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7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64" name="Text Placeholder 162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7734300" y="2619375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C03CC70-834D-4FEF-BAD0-BA829A732010}" type="datetime'''''''123''''''''''''''''''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23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78" name="Text Placeholder 176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5214937" y="2270125"/>
            <a:ext cx="463550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</a:ln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57FDFD2-0C06-421A-AD0C-A1AABBF23771}" type="datetime'''''+2''''''''3''''''''''''''''%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+23%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42" name="Text Placeholder 240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6575425" y="3546475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84B1E1F-55F1-493F-9FAB-913B1BF748F7}" type="datetime'''''''''''''''''''''''''''''''''3''''6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6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19" name="Text Placeholder 217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5208587" y="5224462"/>
            <a:ext cx="485775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24026AD-0A02-4856-8C53-647780DCB4B1}" type="datetime'''F''''''r''''''a''n''''''''''''''c''''''''''''''''''e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France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223" name="Text Placeholder 221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5295900" y="2933700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D7B36C4-EA20-4DC7-9DCA-B09BC2732E47}" type="datetime'''''''''''''''''''''11''''''''''''''''''''''''5''''''''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15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221" name="Text Placeholder 219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5356225" y="4657725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AE9B050-80B8-4C26-925B-56ADEAD1579A}" type="datetime'''''''''''''''7''''''8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8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32" name="Text Placeholder 230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5391150" y="4384675"/>
            <a:ext cx="12065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DB06B93-85BB-4EC1-9D01-D976579AD310}" type="datetime'''''''''''7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30" name="Text Placeholder 226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5391150" y="4222750"/>
            <a:ext cx="120650" cy="152400"/>
          </a:xfrm>
          <a:prstGeom prst="rect">
            <a:avLst/>
          </a:prstGeom>
          <a:solidFill>
            <a:schemeClr val="accent2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1E89368-0569-4CF1-8F00-612EEA367501}" type="datetime'''''''''''''''''''''''''''2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25" name="Text Placeholder 223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5356225" y="3627437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ECA81E8-E7F8-4BAC-8292-E47071225F8E}" type="datetime'''''''''''''''2''''''8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02" name="Text Placeholder 200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3908425" y="5224462"/>
            <a:ext cx="638175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81232B1-3E15-4C5E-A090-BCA0F70AB3D5}" type="datetime'G''''''e''r''''''''m''''''''''''''''a''''''n''''''y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Germany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206" name="Text Placeholder 204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4071937" y="2933700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607DA88-98D3-45E3-B838-9E9D48134B94}" type="datetime'''''''''''''''1''''''''''''''''''''''''1''''5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15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204" name="Text Placeholder 202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4132262" y="4679950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9D087DA-3E7B-4699-BC05-3FC2F573DC76}" type="datetime'''''''''''''''''7''''''''''''''''''''''''''''''''7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7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17" name="Text Placeholder 214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4167187" y="4446587"/>
            <a:ext cx="12065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8D14BAB-697C-428F-A59C-66903FED178B}" type="datetime'''''''''''''''''''''''''''''''''''''''''''''''''''''6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13" name="Text Placeholder 209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4167187" y="4289425"/>
            <a:ext cx="120650" cy="152400"/>
          </a:xfrm>
          <a:prstGeom prst="rect">
            <a:avLst/>
          </a:prstGeom>
          <a:solidFill>
            <a:schemeClr val="accent2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0B4CE15-8CBE-45E1-A916-1B0FA8DC778A}" type="datetime'''2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60" name="Text Placeholder 157"/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7743825" y="5224462"/>
            <a:ext cx="292100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65A185B-DB1A-4185-A140-69EA1C98F4AD}" type="datetime'''''''''''I''''''t''''a''''''''''''''l''''''''''''y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Italy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68" name="Text Placeholder 165"/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7794625" y="3498850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5AED8C2-9112-4665-96DB-8C5974D75F46}" type="datetime'''''3''''''''8''''''''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8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72" name="Text Placeholder 170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7829550" y="4322762"/>
            <a:ext cx="12065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05A1067-04D3-4C37-AAA5-3A2FDF6C1626}" type="datetime'''''4''''''''''''''''''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45" name="Rectangle 144"/>
          <p:cNvSpPr/>
          <p:nvPr>
            <p:custDataLst>
              <p:tags r:id="rId77"/>
            </p:custDataLst>
          </p:nvPr>
        </p:nvSpPr>
        <p:spPr bwMode="gray">
          <a:xfrm>
            <a:off x="6810375" y="5684839"/>
            <a:ext cx="214312" cy="160337"/>
          </a:xfrm>
          <a:prstGeom prst="rect">
            <a:avLst/>
          </a:prstGeom>
          <a:solidFill>
            <a:srgbClr val="E2E2E2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29" name="Rectangle 228"/>
          <p:cNvSpPr/>
          <p:nvPr>
            <p:custDataLst>
              <p:tags r:id="rId78"/>
            </p:custDataLst>
          </p:nvPr>
        </p:nvSpPr>
        <p:spPr bwMode="gray">
          <a:xfrm>
            <a:off x="5667375" y="5684837"/>
            <a:ext cx="214312" cy="160338"/>
          </a:xfrm>
          <a:prstGeom prst="rect">
            <a:avLst/>
          </a:prstGeom>
          <a:solidFill>
            <a:schemeClr val="folHlink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12" name="Rectangle 211"/>
          <p:cNvSpPr/>
          <p:nvPr>
            <p:custDataLst>
              <p:tags r:id="rId79"/>
            </p:custDataLst>
          </p:nvPr>
        </p:nvSpPr>
        <p:spPr bwMode="gray">
          <a:xfrm>
            <a:off x="4649787" y="5684837"/>
            <a:ext cx="214312" cy="160338"/>
          </a:xfrm>
          <a:prstGeom prst="rect">
            <a:avLst/>
          </a:prstGeom>
          <a:solidFill>
            <a:schemeClr val="accent2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95" name="Rectangle 194"/>
          <p:cNvSpPr/>
          <p:nvPr>
            <p:custDataLst>
              <p:tags r:id="rId80"/>
            </p:custDataLst>
          </p:nvPr>
        </p:nvSpPr>
        <p:spPr bwMode="gray">
          <a:xfrm>
            <a:off x="2359025" y="5684837"/>
            <a:ext cx="214312" cy="160338"/>
          </a:xfrm>
          <a:prstGeom prst="rect">
            <a:avLst/>
          </a:prstGeom>
          <a:solidFill>
            <a:srgbClr val="79A2B3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51" name="Text Placeholder 180"/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7075487" y="5680075"/>
            <a:ext cx="381000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47C176B-0E64-417F-B503-B36B2C2F77CE}" type="datetime'''''''''''''''''''O''''''''''t''h''''''''''''''''er'''''''">
              <a:rPr lang="en-US" sz="1200" b="0" smtClean="0"/>
              <a:pPr>
                <a:spcBef>
                  <a:spcPct val="0"/>
                </a:spcBef>
                <a:spcAft>
                  <a:spcPct val="0"/>
                </a:spcAft>
              </a:pPr>
              <a:t>Other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214" name="Text Placeholder 212"/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5932488" y="5680075"/>
            <a:ext cx="776287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615ACC1-183C-4A7D-9E5C-8AE303E94916}" type="datetime'''Na''''t''''''''ur''''''a''''''l ''''''''''''g''''''a''s'''">
              <a:rPr lang="en-US" sz="1200" b="0" smtClean="0"/>
              <a:pPr>
                <a:spcBef>
                  <a:spcPct val="0"/>
                </a:spcBef>
                <a:spcAft>
                  <a:spcPct val="0"/>
                </a:spcAft>
              </a:pPr>
              <a:t>Natural gas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97" name="Text Placeholder 195"/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4914900" y="5680075"/>
            <a:ext cx="650875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99EA793-16C2-4573-8D2C-CBC5C938571A}" type="datetime'E''''''l''e''''c''''''t''''''''''''''''ri''c''''i''''''''t''y'">
              <a:rPr lang="en-US" sz="1200" b="0" smtClean="0"/>
              <a:pPr>
                <a:spcBef>
                  <a:spcPct val="0"/>
                </a:spcBef>
                <a:spcAft>
                  <a:spcPct val="0"/>
                </a:spcAft>
              </a:pPr>
              <a:t>Electricity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69" name="Text Placeholder 166"/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2624137" y="5680075"/>
            <a:ext cx="1924050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0" dirty="0" smtClean="0"/>
              <a:t>Labor (productivity-adjusted)</a:t>
            </a:r>
            <a:endParaRPr lang="en-US" sz="1200" b="0" dirty="0">
              <a:latin typeface="Arial"/>
              <a:sym typeface="Arial"/>
            </a:endParaRPr>
          </a:p>
        </p:txBody>
      </p:sp>
      <p:grpSp>
        <p:nvGrpSpPr>
          <p:cNvPr id="3" name="Group 331"/>
          <p:cNvGrpSpPr/>
          <p:nvPr>
            <p:custDataLst>
              <p:tags r:id="rId85"/>
            </p:custDataLst>
          </p:nvPr>
        </p:nvGrpSpPr>
        <p:grpSpPr>
          <a:xfrm>
            <a:off x="1183540" y="3526945"/>
            <a:ext cx="8516150" cy="366424"/>
            <a:chOff x="1147313" y="3571335"/>
            <a:chExt cx="8255480" cy="366424"/>
          </a:xfrm>
        </p:grpSpPr>
        <p:cxnSp>
          <p:nvCxnSpPr>
            <p:cNvPr id="328" name="Straight Connector 327"/>
            <p:cNvCxnSpPr/>
            <p:nvPr/>
          </p:nvCxnSpPr>
          <p:spPr>
            <a:xfrm>
              <a:off x="1147313" y="3752490"/>
              <a:ext cx="7263442" cy="0"/>
            </a:xfrm>
            <a:prstGeom prst="line">
              <a:avLst/>
            </a:prstGeom>
            <a:ln w="15875">
              <a:solidFill>
                <a:schemeClr val="bg2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9" name="Isosceles Triangle 328"/>
            <p:cNvSpPr/>
            <p:nvPr/>
          </p:nvSpPr>
          <p:spPr>
            <a:xfrm rot="16200000">
              <a:off x="8397814" y="3679165"/>
              <a:ext cx="215661" cy="155275"/>
            </a:xfrm>
            <a:prstGeom prst="triangle">
              <a:avLst/>
            </a:prstGeom>
            <a:solidFill>
              <a:schemeClr val="bg2"/>
            </a:solidFill>
            <a:ln w="9525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30" name="TextBox 329"/>
            <p:cNvSpPr txBox="1"/>
            <p:nvPr/>
          </p:nvSpPr>
          <p:spPr>
            <a:xfrm>
              <a:off x="8574657" y="3571335"/>
              <a:ext cx="828136" cy="366424"/>
            </a:xfrm>
            <a:prstGeom prst="rect">
              <a:avLst/>
            </a:prstGeom>
            <a:noFill/>
            <a:ln/>
          </p:spPr>
          <p:txBody>
            <a:bodyPr wrap="square" tIns="90000" bIns="90000" rtlCol="0">
              <a:spAutoFit/>
            </a:bodyPr>
            <a:lstStyle/>
            <a:p>
              <a:pPr algn="ctr"/>
              <a:r>
                <a:rPr lang="en-US" sz="1200" dirty="0" smtClean="0"/>
                <a:t>US = 100</a:t>
              </a:r>
            </a:p>
          </p:txBody>
        </p:sp>
      </p:grpSp>
      <p:sp>
        <p:nvSpPr>
          <p:cNvPr id="140" name="Rectangle 3"/>
          <p:cNvSpPr>
            <a:spLocks noChangeArrowheads="1"/>
          </p:cNvSpPr>
          <p:nvPr>
            <p:custDataLst>
              <p:tags r:id="rId86"/>
            </p:custDataLst>
          </p:nvPr>
        </p:nvSpPr>
        <p:spPr bwMode="gray">
          <a:xfrm>
            <a:off x="455614" y="6082748"/>
            <a:ext cx="8994775" cy="57046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000000"/>
                </a:solidFill>
              </a:rPr>
              <a:t>1. US figures represent costs in a set of </a:t>
            </a:r>
            <a:r>
              <a:rPr lang="en-US" sz="800" dirty="0" smtClean="0"/>
              <a:t>select southern states </a:t>
            </a:r>
            <a:r>
              <a:rPr lang="en-US" sz="800" dirty="0" smtClean="0">
                <a:solidFill>
                  <a:srgbClr val="000000"/>
                </a:solidFill>
              </a:rPr>
              <a:t>as defined in prior publications   2. Chinese figures represent Yangtze River Delta region </a:t>
            </a: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000000"/>
                </a:solidFill>
              </a:rPr>
              <a:t>Note: No difference assumed in "other" costs (e.g., raw materials inputs, machine and tool depreciation, etc); differences in values is a function of the industry mix of each export country; cost structures calculated as a </a:t>
            </a:r>
            <a:r>
              <a:rPr lang="en-US" sz="800" dirty="0" smtClean="0"/>
              <a:t>weighted average across all industries</a:t>
            </a:r>
            <a:endParaRPr lang="en-US" sz="800" dirty="0" smtClean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000000"/>
                </a:solidFill>
              </a:rPr>
              <a:t>Source: US Economic Census; </a:t>
            </a:r>
            <a:r>
              <a:rPr lang="en-US" sz="800" dirty="0" err="1" smtClean="0">
                <a:solidFill>
                  <a:srgbClr val="000000"/>
                </a:solidFill>
              </a:rPr>
              <a:t>BLS</a:t>
            </a:r>
            <a:r>
              <a:rPr lang="en-US" sz="800" dirty="0" smtClean="0">
                <a:solidFill>
                  <a:srgbClr val="000000"/>
                </a:solidFill>
              </a:rPr>
              <a:t>; BEA; </a:t>
            </a:r>
            <a:r>
              <a:rPr lang="en-US" sz="800" dirty="0" err="1" smtClean="0">
                <a:solidFill>
                  <a:srgbClr val="000000"/>
                </a:solidFill>
              </a:rPr>
              <a:t>ILO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84" name="Freeform 183"/>
          <p:cNvSpPr/>
          <p:nvPr/>
        </p:nvSpPr>
        <p:spPr>
          <a:xfrm>
            <a:off x="2876365" y="2130641"/>
            <a:ext cx="5211192" cy="1384916"/>
          </a:xfrm>
          <a:custGeom>
            <a:avLst/>
            <a:gdLst>
              <a:gd name="connsiteX0" fmla="*/ 0 w 5211192"/>
              <a:gd name="connsiteY0" fmla="*/ 1358283 h 1384916"/>
              <a:gd name="connsiteX1" fmla="*/ 35511 w 5211192"/>
              <a:gd name="connsiteY1" fmla="*/ 177553 h 1384916"/>
              <a:gd name="connsiteX2" fmla="*/ 4696287 w 5211192"/>
              <a:gd name="connsiteY2" fmla="*/ 0 h 1384916"/>
              <a:gd name="connsiteX3" fmla="*/ 5211192 w 5211192"/>
              <a:gd name="connsiteY3" fmla="*/ 168676 h 1384916"/>
              <a:gd name="connsiteX4" fmla="*/ 5149049 w 5211192"/>
              <a:gd name="connsiteY4" fmla="*/ 479394 h 1384916"/>
              <a:gd name="connsiteX5" fmla="*/ 292963 w 5211192"/>
              <a:gd name="connsiteY5" fmla="*/ 532660 h 1384916"/>
              <a:gd name="connsiteX6" fmla="*/ 195309 w 5211192"/>
              <a:gd name="connsiteY6" fmla="*/ 1384916 h 1384916"/>
              <a:gd name="connsiteX7" fmla="*/ 0 w 5211192"/>
              <a:gd name="connsiteY7" fmla="*/ 1358283 h 1384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11192" h="1384916">
                <a:moveTo>
                  <a:pt x="0" y="1358283"/>
                </a:moveTo>
                <a:lnTo>
                  <a:pt x="35511" y="177553"/>
                </a:lnTo>
                <a:lnTo>
                  <a:pt x="4696287" y="0"/>
                </a:lnTo>
                <a:lnTo>
                  <a:pt x="5211192" y="168676"/>
                </a:lnTo>
                <a:lnTo>
                  <a:pt x="5149049" y="479394"/>
                </a:lnTo>
                <a:lnTo>
                  <a:pt x="292963" y="532660"/>
                </a:lnTo>
                <a:lnTo>
                  <a:pt x="195309" y="1384916"/>
                </a:lnTo>
                <a:lnTo>
                  <a:pt x="0" y="1358283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6" dur="10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4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/>
          <p:cNvGraphicFramePr>
            <a:graphicFrameLocks noChangeAspect="1"/>
          </p:cNvGraphicFramePr>
          <p:nvPr/>
        </p:nvGraphicFramePr>
        <p:xfrm>
          <a:off x="0" y="0"/>
          <a:ext cx="163763" cy="158750"/>
        </p:xfrm>
        <a:graphic>
          <a:graphicData uri="http://schemas.openxmlformats.org/presentationml/2006/ole">
            <p:oleObj spid="_x0000_s185346" name="think-cell Slide" r:id="rId8" imgW="360" imgH="360" progId="TCLayout.ActiveDocument.1">
              <p:embed/>
            </p:oleObj>
          </a:graphicData>
        </a:graphic>
      </p:graphicFrame>
      <p:sp>
        <p:nvSpPr>
          <p:cNvPr id="4" name="Rectangle 3"/>
          <p:cNvSpPr/>
          <p:nvPr>
            <p:custDataLst>
              <p:tags r:id="rId2"/>
            </p:custDataLst>
          </p:nvPr>
        </p:nvSpPr>
        <p:spPr>
          <a:xfrm>
            <a:off x="623897" y="1926000"/>
            <a:ext cx="8816256" cy="1965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000" b="1" dirty="0" smtClean="0">
                <a:solidFill>
                  <a:srgbClr val="4D4D4D"/>
                </a:solidFill>
                <a:cs typeface="Arial" charset="0"/>
              </a:rPr>
              <a:t>Made in America, Again</a:t>
            </a:r>
          </a:p>
        </p:txBody>
      </p:sp>
      <p:sp>
        <p:nvSpPr>
          <p:cNvPr id="5" name="Rectangle 4"/>
          <p:cNvSpPr/>
          <p:nvPr>
            <p:custDataLst>
              <p:tags r:id="rId3"/>
            </p:custDataLst>
          </p:nvPr>
        </p:nvSpPr>
        <p:spPr>
          <a:xfrm>
            <a:off x="623897" y="4435200"/>
            <a:ext cx="8816256" cy="37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dirty="0" smtClean="0">
              <a:solidFill>
                <a:srgbClr val="4D4D4D"/>
              </a:solidFill>
            </a:endParaRPr>
          </a:p>
          <a:p>
            <a:endParaRPr lang="en-US" sz="2000" dirty="0" smtClean="0">
              <a:solidFill>
                <a:srgbClr val="4D4D4D"/>
              </a:solidFill>
            </a:endParaRPr>
          </a:p>
          <a:p>
            <a:endParaRPr lang="en-US" sz="2000" dirty="0" smtClean="0">
              <a:solidFill>
                <a:srgbClr val="4D4D4D"/>
              </a:solidFill>
            </a:endParaRPr>
          </a:p>
          <a:p>
            <a:endParaRPr lang="en-US" sz="2000" dirty="0" smtClean="0">
              <a:solidFill>
                <a:srgbClr val="4D4D4D"/>
              </a:solidFill>
            </a:endParaRPr>
          </a:p>
          <a:p>
            <a:r>
              <a:rPr lang="en-US" sz="2000" dirty="0" smtClean="0">
                <a:solidFill>
                  <a:srgbClr val="4D4D4D"/>
                </a:solidFill>
              </a:rPr>
              <a:t>April 12, 2013</a:t>
            </a:r>
          </a:p>
          <a:p>
            <a:endParaRPr lang="en-US" sz="2000" dirty="0" smtClean="0">
              <a:solidFill>
                <a:srgbClr val="4D4D4D"/>
              </a:solidFill>
            </a:endParaRPr>
          </a:p>
          <a:p>
            <a:r>
              <a:rPr lang="it-IT" sz="2000" dirty="0" smtClean="0">
                <a:solidFill>
                  <a:srgbClr val="4D4D4D"/>
                </a:solidFill>
              </a:rPr>
              <a:t>Biennale Piccola Industria Confindustria 2013</a:t>
            </a:r>
          </a:p>
          <a:p>
            <a:endParaRPr lang="en-US" sz="2000" dirty="0" smtClean="0">
              <a:solidFill>
                <a:srgbClr val="4D4D4D"/>
              </a:solidFill>
            </a:endParaRPr>
          </a:p>
          <a:p>
            <a:endParaRPr lang="en-US" sz="2000" dirty="0" smtClean="0">
              <a:solidFill>
                <a:srgbClr val="4D4D4D"/>
              </a:solidFill>
            </a:endParaRPr>
          </a:p>
          <a:p>
            <a:endParaRPr lang="en-US" sz="2000" dirty="0" smtClean="0">
              <a:solidFill>
                <a:srgbClr val="4D4D4D"/>
              </a:solidFill>
            </a:endParaRPr>
          </a:p>
          <a:p>
            <a:endParaRPr lang="en-US" sz="2000" dirty="0" smtClean="0">
              <a:solidFill>
                <a:srgbClr val="4D4D4D"/>
              </a:solidFill>
            </a:endParaRPr>
          </a:p>
          <a:p>
            <a:endParaRPr lang="en-US" sz="2000" dirty="0" smtClean="0">
              <a:solidFill>
                <a:srgbClr val="4D4D4D"/>
              </a:solidFill>
            </a:endParaRPr>
          </a:p>
          <a:p>
            <a:endParaRPr lang="en-US" sz="2000" dirty="0" smtClean="0">
              <a:solidFill>
                <a:srgbClr val="4D4D4D"/>
              </a:solidFill>
            </a:endParaRPr>
          </a:p>
          <a:p>
            <a:endParaRPr lang="en-US" sz="2000" dirty="0" smtClean="0">
              <a:solidFill>
                <a:srgbClr val="4D4D4D"/>
              </a:solidFill>
            </a:endParaRPr>
          </a:p>
          <a:p>
            <a:endParaRPr lang="en-US" sz="2000" dirty="0">
              <a:solidFill>
                <a:srgbClr val="4D4D4D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267" name="Picture 3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screen"/>
          <a:srcRect l="31250" t="6364" r="31611" b="12353"/>
          <a:stretch>
            <a:fillRect/>
          </a:stretch>
        </p:blipFill>
        <p:spPr bwMode="auto">
          <a:xfrm>
            <a:off x="6464192" y="537882"/>
            <a:ext cx="2940791" cy="3899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43" hidden="1"/>
          <p:cNvGraphicFramePr>
            <a:graphicFrameLocks/>
          </p:cNvGraphicFramePr>
          <p:nvPr/>
        </p:nvGraphicFramePr>
        <p:xfrm>
          <a:off x="0" y="0"/>
          <a:ext cx="163789" cy="158750"/>
        </p:xfrm>
        <a:graphic>
          <a:graphicData uri="http://schemas.openxmlformats.org/presentationml/2006/ole">
            <p:oleObj spid="_x0000_s54274" name="think-cell Slide" r:id="rId18" imgW="0" imgH="0" progId="TCLayout.ActiveDocument.1">
              <p:embed/>
            </p:oleObj>
          </a:graphicData>
        </a:graphic>
      </p:graphicFrame>
      <p:sp>
        <p:nvSpPr>
          <p:cNvPr id="22" name="Text Box 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696000" y="1143000"/>
            <a:ext cx="2800767" cy="73866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>
            <a:spAutoFit/>
          </a:bodyPr>
          <a:lstStyle/>
          <a:p>
            <a:pPr algn="ctr"/>
            <a:r>
              <a:rPr lang="en-US" dirty="0"/>
              <a:t>Relative world economics</a:t>
            </a:r>
          </a:p>
          <a:p>
            <a:pPr algn="ctr"/>
            <a:r>
              <a:rPr lang="en-US" dirty="0"/>
              <a:t>1 AD</a:t>
            </a:r>
          </a:p>
        </p:txBody>
      </p:sp>
      <p:pic>
        <p:nvPicPr>
          <p:cNvPr id="24" name="Picture 41" descr="159">
            <a:hlinkClick r:id="rId19"/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466724" y="2153784"/>
            <a:ext cx="9001125" cy="44541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6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/>
        <p:txBody>
          <a:bodyPr/>
          <a:lstStyle/>
          <a:p>
            <a:pPr eaLnBrk="1" hangingPunct="1"/>
            <a:r>
              <a:rPr lang="en-US" smtClean="0"/>
              <a:t>Humans have created an economic map</a:t>
            </a:r>
          </a:p>
        </p:txBody>
      </p:sp>
      <p:pic>
        <p:nvPicPr>
          <p:cNvPr id="3093" name="Picture 7" descr="160">
            <a:hlinkClick r:id="rId21"/>
          </p:cNvPr>
          <p:cNvPicPr preferRelativeResize="0"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2" cstate="print"/>
          <a:srcRect/>
          <a:stretch>
            <a:fillRect/>
          </a:stretch>
        </p:blipFill>
        <p:spPr bwMode="gray">
          <a:xfrm>
            <a:off x="466724" y="2153784"/>
            <a:ext cx="9001125" cy="431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91" name="Picture 14" descr="161">
            <a:hlinkClick r:id="rId23"/>
          </p:cNvPr>
          <p:cNvPicPr preferRelativeResize="0"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4" cstate="print"/>
          <a:srcRect/>
          <a:stretch>
            <a:fillRect/>
          </a:stretch>
        </p:blipFill>
        <p:spPr bwMode="gray">
          <a:xfrm>
            <a:off x="466724" y="2153784"/>
            <a:ext cx="9001125" cy="431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89" name="Picture 23" descr="162">
            <a:hlinkClick r:id="rId25"/>
          </p:cNvPr>
          <p:cNvPicPr preferRelativeResize="0"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26" cstate="print"/>
          <a:srcRect/>
          <a:stretch>
            <a:fillRect/>
          </a:stretch>
        </p:blipFill>
        <p:spPr bwMode="gray">
          <a:xfrm>
            <a:off x="466724" y="2153784"/>
            <a:ext cx="9001125" cy="4312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87" name="Picture 26" descr="163">
            <a:hlinkClick r:id="rId27"/>
          </p:cNvPr>
          <p:cNvPicPr preferRelativeResize="0"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8" cstate="print"/>
          <a:srcRect/>
          <a:stretch>
            <a:fillRect/>
          </a:stretch>
        </p:blipFill>
        <p:spPr bwMode="gray">
          <a:xfrm>
            <a:off x="466724" y="2153784"/>
            <a:ext cx="9001125" cy="4312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85" name="Picture 29" descr="170">
            <a:hlinkClick r:id="rId29"/>
          </p:cNvPr>
          <p:cNvPicPr preferRelativeResize="0"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gray">
          <a:xfrm>
            <a:off x="466724" y="2153784"/>
            <a:ext cx="9001125" cy="4312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83" name="Picture 32" descr="164">
            <a:hlinkClick r:id="rId31"/>
          </p:cNvPr>
          <p:cNvPicPr preferRelativeResize="0"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32" cstate="print"/>
          <a:srcRect/>
          <a:stretch>
            <a:fillRect/>
          </a:stretch>
        </p:blipFill>
        <p:spPr bwMode="gray">
          <a:xfrm>
            <a:off x="466724" y="2153784"/>
            <a:ext cx="9001125" cy="431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94" name="Text Box 10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696046" y="1143000"/>
            <a:ext cx="2800767" cy="73866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>
            <a:spAutoFit/>
          </a:bodyPr>
          <a:lstStyle/>
          <a:p>
            <a:pPr algn="ctr"/>
            <a:r>
              <a:rPr lang="en-US" dirty="0"/>
              <a:t>Relative world economics</a:t>
            </a:r>
          </a:p>
          <a:p>
            <a:pPr algn="ctr"/>
            <a:r>
              <a:rPr lang="en-US" dirty="0"/>
              <a:t>1500 AD</a:t>
            </a:r>
          </a:p>
        </p:txBody>
      </p:sp>
      <p:sp>
        <p:nvSpPr>
          <p:cNvPr id="3092" name="Text Box 18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696046" y="1143000"/>
            <a:ext cx="2800767" cy="73866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>
            <a:spAutoFit/>
          </a:bodyPr>
          <a:lstStyle/>
          <a:p>
            <a:pPr algn="ctr"/>
            <a:r>
              <a:rPr lang="en-US" dirty="0"/>
              <a:t>Relative world economics</a:t>
            </a:r>
          </a:p>
          <a:p>
            <a:pPr algn="ctr"/>
            <a:r>
              <a:rPr lang="en-US" dirty="0"/>
              <a:t>1900 AD</a:t>
            </a:r>
          </a:p>
        </p:txBody>
      </p:sp>
      <p:sp>
        <p:nvSpPr>
          <p:cNvPr id="3090" name="Text Box 24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696046" y="1143000"/>
            <a:ext cx="2800767" cy="73866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>
            <a:spAutoFit/>
          </a:bodyPr>
          <a:lstStyle/>
          <a:p>
            <a:pPr algn="ctr"/>
            <a:r>
              <a:rPr lang="en-US" dirty="0"/>
              <a:t>Relative world economics</a:t>
            </a:r>
          </a:p>
          <a:p>
            <a:pPr algn="ctr"/>
            <a:r>
              <a:rPr lang="en-US" dirty="0"/>
              <a:t>1960 AD</a:t>
            </a:r>
          </a:p>
        </p:txBody>
      </p:sp>
      <p:sp>
        <p:nvSpPr>
          <p:cNvPr id="3088" name="Text Box 27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3696046" y="1143000"/>
            <a:ext cx="2800767" cy="73866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>
            <a:spAutoFit/>
          </a:bodyPr>
          <a:lstStyle/>
          <a:p>
            <a:pPr algn="ctr"/>
            <a:r>
              <a:rPr lang="en-US" dirty="0"/>
              <a:t>Relative world economics</a:t>
            </a:r>
          </a:p>
          <a:p>
            <a:pPr algn="ctr"/>
            <a:r>
              <a:rPr lang="en-US" dirty="0"/>
              <a:t>1990 AD</a:t>
            </a:r>
          </a:p>
        </p:txBody>
      </p:sp>
      <p:sp>
        <p:nvSpPr>
          <p:cNvPr id="3086" name="Text Box 3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3696046" y="1143000"/>
            <a:ext cx="2800767" cy="73866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>
            <a:spAutoFit/>
          </a:bodyPr>
          <a:lstStyle/>
          <a:p>
            <a:pPr algn="ctr"/>
            <a:r>
              <a:rPr lang="en-US" dirty="0"/>
              <a:t>Relative world economics</a:t>
            </a:r>
          </a:p>
          <a:p>
            <a:pPr algn="ctr"/>
            <a:r>
              <a:rPr lang="en-US" dirty="0"/>
              <a:t>2002 AD</a:t>
            </a:r>
          </a:p>
        </p:txBody>
      </p:sp>
      <p:sp>
        <p:nvSpPr>
          <p:cNvPr id="3084" name="Text Box 33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3696046" y="1143000"/>
            <a:ext cx="2800767" cy="73866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>
            <a:spAutoFit/>
          </a:bodyPr>
          <a:lstStyle/>
          <a:p>
            <a:pPr algn="ctr"/>
            <a:r>
              <a:rPr lang="en-US" dirty="0"/>
              <a:t>Relative world economics</a:t>
            </a:r>
          </a:p>
          <a:p>
            <a:pPr algn="ctr"/>
            <a:r>
              <a:rPr lang="en-US" dirty="0"/>
              <a:t>2020 AD</a:t>
            </a: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0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0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0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0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0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0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0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0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0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0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94" grpId="0" animBg="1"/>
      <p:bldP spid="3092" grpId="0" animBg="1"/>
      <p:bldP spid="3090" grpId="0" animBg="1"/>
      <p:bldP spid="3088" grpId="0" animBg="1"/>
      <p:bldP spid="3086" grpId="0" animBg="1"/>
      <p:bldP spid="308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369" name="Picture 1"/>
          <p:cNvPicPr>
            <a:picLocks noChangeAspect="1" noChangeArrowheads="1"/>
          </p:cNvPicPr>
          <p:nvPr/>
        </p:nvPicPr>
        <p:blipFill>
          <a:blip r:embed="rId3" cstate="screen"/>
          <a:srcRect l="32614" t="9455" r="32577" b="15545"/>
          <a:stretch>
            <a:fillRect/>
          </a:stretch>
        </p:blipFill>
        <p:spPr bwMode="gray">
          <a:xfrm>
            <a:off x="2919952" y="1305485"/>
            <a:ext cx="3861848" cy="5041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1"/>
          <p:cNvGrpSpPr/>
          <p:nvPr/>
        </p:nvGrpSpPr>
        <p:grpSpPr bwMode="gray">
          <a:xfrm>
            <a:off x="5104479" y="1330326"/>
            <a:ext cx="3376785" cy="2383053"/>
            <a:chOff x="4948236" y="1330325"/>
            <a:chExt cx="3273425" cy="2383053"/>
          </a:xfrm>
        </p:grpSpPr>
        <p:pic>
          <p:nvPicPr>
            <p:cNvPr id="18434" name="Picture 2" descr="http://www.hongthai.com.sg/files/tour_images/taiwan.jpg"/>
            <p:cNvPicPr>
              <a:picLocks noChangeAspect="1" noChangeArrowheads="1"/>
            </p:cNvPicPr>
            <p:nvPr/>
          </p:nvPicPr>
          <p:blipFill>
            <a:blip r:embed="rId2" cstate="screen"/>
            <a:srcRect/>
            <a:stretch>
              <a:fillRect/>
            </a:stretch>
          </p:blipFill>
          <p:spPr bwMode="gray">
            <a:xfrm>
              <a:off x="4948236" y="1330325"/>
              <a:ext cx="3273425" cy="2383053"/>
            </a:xfrm>
            <a:prstGeom prst="rect">
              <a:avLst/>
            </a:prstGeom>
            <a:noFill/>
          </p:spPr>
        </p:pic>
        <p:pic>
          <p:nvPicPr>
            <p:cNvPr id="18436" name="Picture 4" descr="http://www.worldatlas.com/webimage/flags/countrys/zzzflags/twlarge.gif"/>
            <p:cNvPicPr>
              <a:picLocks noChangeAspect="1" noChangeArrowheads="1"/>
            </p:cNvPicPr>
            <p:nvPr/>
          </p:nvPicPr>
          <p:blipFill>
            <a:blip r:embed="rId3" cstate="screen"/>
            <a:srcRect/>
            <a:stretch>
              <a:fillRect/>
            </a:stretch>
          </p:blipFill>
          <p:spPr bwMode="gray">
            <a:xfrm>
              <a:off x="7478711" y="1330325"/>
              <a:ext cx="742950" cy="496411"/>
            </a:xfrm>
            <a:prstGeom prst="rect">
              <a:avLst/>
            </a:prstGeom>
            <a:noFill/>
          </p:spPr>
        </p:pic>
      </p:grpSp>
      <p:grpSp>
        <p:nvGrpSpPr>
          <p:cNvPr id="3" name="Group 12"/>
          <p:cNvGrpSpPr/>
          <p:nvPr/>
        </p:nvGrpSpPr>
        <p:grpSpPr bwMode="gray">
          <a:xfrm>
            <a:off x="1500064" y="3922237"/>
            <a:ext cx="3401350" cy="2381941"/>
            <a:chOff x="1454149" y="3922236"/>
            <a:chExt cx="3297238" cy="2381941"/>
          </a:xfrm>
        </p:grpSpPr>
        <p:pic>
          <p:nvPicPr>
            <p:cNvPr id="18442" name="Picture 10" descr="http://www.worldwidehomestay.com/res/default/southkorea1.jpg"/>
            <p:cNvPicPr>
              <a:picLocks noChangeAspect="1" noChangeArrowheads="1"/>
            </p:cNvPicPr>
            <p:nvPr/>
          </p:nvPicPr>
          <p:blipFill>
            <a:blip r:embed="rId4" cstate="screen"/>
            <a:srcRect l="10787" r="4352"/>
            <a:stretch>
              <a:fillRect/>
            </a:stretch>
          </p:blipFill>
          <p:spPr bwMode="gray">
            <a:xfrm>
              <a:off x="1454149" y="3922236"/>
              <a:ext cx="3297238" cy="2381941"/>
            </a:xfrm>
            <a:prstGeom prst="rect">
              <a:avLst/>
            </a:prstGeom>
            <a:noFill/>
          </p:spPr>
        </p:pic>
        <p:pic>
          <p:nvPicPr>
            <p:cNvPr id="18444" name="Picture 12" descr="http://t1.gstatic.com/images?q=tbn:ANd9GcRTBYYSwBTs1wRp216CDivZTU2jSfqr-9k6RMGx-Rc0YT7qD0p6sQ"/>
            <p:cNvPicPr>
              <a:picLocks noChangeAspect="1" noChangeArrowheads="1"/>
            </p:cNvPicPr>
            <p:nvPr/>
          </p:nvPicPr>
          <p:blipFill>
            <a:blip r:embed="rId5" cstate="screen"/>
            <a:srcRect/>
            <a:stretch>
              <a:fillRect/>
            </a:stretch>
          </p:blipFill>
          <p:spPr bwMode="gray">
            <a:xfrm>
              <a:off x="1454149" y="3922236"/>
              <a:ext cx="729989" cy="485775"/>
            </a:xfrm>
            <a:prstGeom prst="rect">
              <a:avLst/>
            </a:prstGeom>
            <a:noFill/>
          </p:spPr>
        </p:pic>
      </p:grpSp>
      <p:grpSp>
        <p:nvGrpSpPr>
          <p:cNvPr id="4" name="Group 13"/>
          <p:cNvGrpSpPr/>
          <p:nvPr/>
        </p:nvGrpSpPr>
        <p:grpSpPr bwMode="gray">
          <a:xfrm>
            <a:off x="5104477" y="3922237"/>
            <a:ext cx="3376786" cy="2358851"/>
            <a:chOff x="4948235" y="3922236"/>
            <a:chExt cx="3273426" cy="2358851"/>
          </a:xfrm>
        </p:grpSpPr>
        <p:pic>
          <p:nvPicPr>
            <p:cNvPr id="18446" name="Picture 14" descr="http://www.singaporehotelguide.com/pics/shgimage-3.jpg"/>
            <p:cNvPicPr>
              <a:picLocks noChangeAspect="1" noChangeArrowheads="1"/>
            </p:cNvPicPr>
            <p:nvPr/>
          </p:nvPicPr>
          <p:blipFill>
            <a:blip r:embed="rId6" cstate="screen"/>
            <a:srcRect r="992" b="4873"/>
            <a:stretch>
              <a:fillRect/>
            </a:stretch>
          </p:blipFill>
          <p:spPr bwMode="gray">
            <a:xfrm>
              <a:off x="4948235" y="3922236"/>
              <a:ext cx="3273426" cy="2358851"/>
            </a:xfrm>
            <a:prstGeom prst="rect">
              <a:avLst/>
            </a:prstGeom>
            <a:noFill/>
          </p:spPr>
        </p:pic>
        <p:pic>
          <p:nvPicPr>
            <p:cNvPr id="18448" name="Picture 16" descr="http://t3.gstatic.com/images?q=tbn:ANd9GcRY58Xa0e1JqXEMXmYvyM1LAkb_1GyknKeHUgpMpct7BRuaAxZQ"/>
            <p:cNvPicPr>
              <a:picLocks noChangeAspect="1" noChangeArrowheads="1"/>
            </p:cNvPicPr>
            <p:nvPr/>
          </p:nvPicPr>
          <p:blipFill>
            <a:blip r:embed="rId7" cstate="screen"/>
            <a:srcRect/>
            <a:stretch>
              <a:fillRect/>
            </a:stretch>
          </p:blipFill>
          <p:spPr bwMode="gray">
            <a:xfrm>
              <a:off x="7514429" y="3922236"/>
              <a:ext cx="707232" cy="485774"/>
            </a:xfrm>
            <a:prstGeom prst="rect">
              <a:avLst/>
            </a:prstGeom>
            <a:noFill/>
          </p:spPr>
        </p:pic>
      </p:grpSp>
      <p:grpSp>
        <p:nvGrpSpPr>
          <p:cNvPr id="5" name="Group 10"/>
          <p:cNvGrpSpPr/>
          <p:nvPr/>
        </p:nvGrpSpPr>
        <p:grpSpPr bwMode="gray">
          <a:xfrm>
            <a:off x="1500064" y="1330325"/>
            <a:ext cx="3376786" cy="2358850"/>
            <a:chOff x="1454149" y="1330325"/>
            <a:chExt cx="3273426" cy="2358850"/>
          </a:xfrm>
        </p:grpSpPr>
        <p:pic>
          <p:nvPicPr>
            <p:cNvPr id="18438" name="Picture 6" descr="http://leadership.uoregon.edu/upload/images/hongkong.jpg"/>
            <p:cNvPicPr>
              <a:picLocks noChangeAspect="1" noChangeArrowheads="1"/>
            </p:cNvPicPr>
            <p:nvPr/>
          </p:nvPicPr>
          <p:blipFill>
            <a:blip r:embed="rId8" cstate="screen"/>
            <a:srcRect l="4887" r="2671"/>
            <a:stretch>
              <a:fillRect/>
            </a:stretch>
          </p:blipFill>
          <p:spPr bwMode="gray">
            <a:xfrm>
              <a:off x="1454149" y="1330325"/>
              <a:ext cx="3273426" cy="2358850"/>
            </a:xfrm>
            <a:prstGeom prst="rect">
              <a:avLst/>
            </a:prstGeom>
            <a:noFill/>
          </p:spPr>
        </p:pic>
        <p:pic>
          <p:nvPicPr>
            <p:cNvPr id="56324" name="Picture 4" descr="http://states-world.ru/flags/hkg-fxb2.png"/>
            <p:cNvPicPr>
              <a:picLocks noChangeAspect="1" noChangeArrowheads="1"/>
            </p:cNvPicPr>
            <p:nvPr/>
          </p:nvPicPr>
          <p:blipFill>
            <a:blip r:embed="rId9" cstate="screen"/>
            <a:srcRect/>
            <a:stretch>
              <a:fillRect/>
            </a:stretch>
          </p:blipFill>
          <p:spPr bwMode="gray">
            <a:xfrm>
              <a:off x="1454149" y="1331436"/>
              <a:ext cx="729989" cy="486659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/>
        </p:nvGraphicFramePr>
        <p:xfrm>
          <a:off x="0" y="0"/>
          <a:ext cx="163763" cy="158750"/>
        </p:xfrm>
        <a:graphic>
          <a:graphicData uri="http://schemas.openxmlformats.org/presentationml/2006/ole">
            <p:oleObj spid="_x0000_s55298" name="think-cell Slide" r:id="rId35" imgW="360" imgH="360" progId="TCLayout.ActiveDocument.1">
              <p:embed/>
            </p:oleObj>
          </a:graphicData>
        </a:graphic>
      </p:graphicFrame>
      <p:grpSp>
        <p:nvGrpSpPr>
          <p:cNvPr id="38" name="Group 37"/>
          <p:cNvGrpSpPr/>
          <p:nvPr/>
        </p:nvGrpSpPr>
        <p:grpSpPr>
          <a:xfrm>
            <a:off x="466725" y="1314995"/>
            <a:ext cx="9001125" cy="5179821"/>
            <a:chOff x="466725" y="1314995"/>
            <a:chExt cx="9001125" cy="5179821"/>
          </a:xfrm>
        </p:grpSpPr>
        <p:grpSp>
          <p:nvGrpSpPr>
            <p:cNvPr id="3" name="Group 79"/>
            <p:cNvGrpSpPr/>
            <p:nvPr/>
          </p:nvGrpSpPr>
          <p:grpSpPr bwMode="gray">
            <a:xfrm>
              <a:off x="1324892" y="1454503"/>
              <a:ext cx="6729005" cy="5040313"/>
              <a:chOff x="642938" y="1073150"/>
              <a:chExt cx="6523037" cy="504031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8" name="Freeform 4"/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5881688" y="1073150"/>
                <a:ext cx="1284287" cy="1176338"/>
              </a:xfrm>
              <a:custGeom>
                <a:avLst/>
                <a:gdLst>
                  <a:gd name="T0" fmla="*/ 2147483647 w 785"/>
                  <a:gd name="T1" fmla="*/ 2147483647 h 749"/>
                  <a:gd name="T2" fmla="*/ 2147483647 w 785"/>
                  <a:gd name="T3" fmla="*/ 2147483647 h 749"/>
                  <a:gd name="T4" fmla="*/ 2147483647 w 785"/>
                  <a:gd name="T5" fmla="*/ 2147483647 h 749"/>
                  <a:gd name="T6" fmla="*/ 2147483647 w 785"/>
                  <a:gd name="T7" fmla="*/ 0 h 749"/>
                  <a:gd name="T8" fmla="*/ 2147483647 w 785"/>
                  <a:gd name="T9" fmla="*/ 2147483647 h 749"/>
                  <a:gd name="T10" fmla="*/ 2147483647 w 785"/>
                  <a:gd name="T11" fmla="*/ 2147483647 h 749"/>
                  <a:gd name="T12" fmla="*/ 2147483647 w 785"/>
                  <a:gd name="T13" fmla="*/ 2147483647 h 749"/>
                  <a:gd name="T14" fmla="*/ 2147483647 w 785"/>
                  <a:gd name="T15" fmla="*/ 2147483647 h 749"/>
                  <a:gd name="T16" fmla="*/ 2147483647 w 785"/>
                  <a:gd name="T17" fmla="*/ 2147483647 h 749"/>
                  <a:gd name="T18" fmla="*/ 2147483647 w 785"/>
                  <a:gd name="T19" fmla="*/ 2147483647 h 749"/>
                  <a:gd name="T20" fmla="*/ 2147483647 w 785"/>
                  <a:gd name="T21" fmla="*/ 2147483647 h 749"/>
                  <a:gd name="T22" fmla="*/ 2147483647 w 785"/>
                  <a:gd name="T23" fmla="*/ 2147483647 h 749"/>
                  <a:gd name="T24" fmla="*/ 2147483647 w 785"/>
                  <a:gd name="T25" fmla="*/ 2147483647 h 749"/>
                  <a:gd name="T26" fmla="*/ 2147483647 w 785"/>
                  <a:gd name="T27" fmla="*/ 2147483647 h 749"/>
                  <a:gd name="T28" fmla="*/ 2147483647 w 785"/>
                  <a:gd name="T29" fmla="*/ 2147483647 h 749"/>
                  <a:gd name="T30" fmla="*/ 2147483647 w 785"/>
                  <a:gd name="T31" fmla="*/ 2147483647 h 749"/>
                  <a:gd name="T32" fmla="*/ 2147483647 w 785"/>
                  <a:gd name="T33" fmla="*/ 2147483647 h 749"/>
                  <a:gd name="T34" fmla="*/ 2147483647 w 785"/>
                  <a:gd name="T35" fmla="*/ 2147483647 h 749"/>
                  <a:gd name="T36" fmla="*/ 2147483647 w 785"/>
                  <a:gd name="T37" fmla="*/ 2147483647 h 749"/>
                  <a:gd name="T38" fmla="*/ 2147483647 w 785"/>
                  <a:gd name="T39" fmla="*/ 2147483647 h 749"/>
                  <a:gd name="T40" fmla="*/ 2147483647 w 785"/>
                  <a:gd name="T41" fmla="*/ 2147483647 h 749"/>
                  <a:gd name="T42" fmla="*/ 2147483647 w 785"/>
                  <a:gd name="T43" fmla="*/ 2147483647 h 749"/>
                  <a:gd name="T44" fmla="*/ 2147483647 w 785"/>
                  <a:gd name="T45" fmla="*/ 2147483647 h 749"/>
                  <a:gd name="T46" fmla="*/ 2147483647 w 785"/>
                  <a:gd name="T47" fmla="*/ 2147483647 h 749"/>
                  <a:gd name="T48" fmla="*/ 2147483647 w 785"/>
                  <a:gd name="T49" fmla="*/ 2147483647 h 749"/>
                  <a:gd name="T50" fmla="*/ 2147483647 w 785"/>
                  <a:gd name="T51" fmla="*/ 2147483647 h 749"/>
                  <a:gd name="T52" fmla="*/ 2147483647 w 785"/>
                  <a:gd name="T53" fmla="*/ 2147483647 h 749"/>
                  <a:gd name="T54" fmla="*/ 2147483647 w 785"/>
                  <a:gd name="T55" fmla="*/ 2147483647 h 749"/>
                  <a:gd name="T56" fmla="*/ 2147483647 w 785"/>
                  <a:gd name="T57" fmla="*/ 2147483647 h 749"/>
                  <a:gd name="T58" fmla="*/ 2147483647 w 785"/>
                  <a:gd name="T59" fmla="*/ 2147483647 h 749"/>
                  <a:gd name="T60" fmla="*/ 2147483647 w 785"/>
                  <a:gd name="T61" fmla="*/ 2147483647 h 749"/>
                  <a:gd name="T62" fmla="*/ 2147483647 w 785"/>
                  <a:gd name="T63" fmla="*/ 2147483647 h 749"/>
                  <a:gd name="T64" fmla="*/ 2147483647 w 785"/>
                  <a:gd name="T65" fmla="*/ 2147483647 h 749"/>
                  <a:gd name="T66" fmla="*/ 2147483647 w 785"/>
                  <a:gd name="T67" fmla="*/ 2147483647 h 749"/>
                  <a:gd name="T68" fmla="*/ 2147483647 w 785"/>
                  <a:gd name="T69" fmla="*/ 2147483647 h 749"/>
                  <a:gd name="T70" fmla="*/ 2147483647 w 785"/>
                  <a:gd name="T71" fmla="*/ 2147483647 h 749"/>
                  <a:gd name="T72" fmla="*/ 2147483647 w 785"/>
                  <a:gd name="T73" fmla="*/ 2147483647 h 749"/>
                  <a:gd name="T74" fmla="*/ 2147483647 w 785"/>
                  <a:gd name="T75" fmla="*/ 2147483647 h 749"/>
                  <a:gd name="T76" fmla="*/ 2147483647 w 785"/>
                  <a:gd name="T77" fmla="*/ 2147483647 h 749"/>
                  <a:gd name="T78" fmla="*/ 2147483647 w 785"/>
                  <a:gd name="T79" fmla="*/ 2147483647 h 749"/>
                  <a:gd name="T80" fmla="*/ 2147483647 w 785"/>
                  <a:gd name="T81" fmla="*/ 2147483647 h 749"/>
                  <a:gd name="T82" fmla="*/ 2147483647 w 785"/>
                  <a:gd name="T83" fmla="*/ 2147483647 h 749"/>
                  <a:gd name="T84" fmla="*/ 2147483647 w 785"/>
                  <a:gd name="T85" fmla="*/ 2147483647 h 749"/>
                  <a:gd name="T86" fmla="*/ 2147483647 w 785"/>
                  <a:gd name="T87" fmla="*/ 2147483647 h 749"/>
                  <a:gd name="T88" fmla="*/ 2147483647 w 785"/>
                  <a:gd name="T89" fmla="*/ 2147483647 h 749"/>
                  <a:gd name="T90" fmla="*/ 2147483647 w 785"/>
                  <a:gd name="T91" fmla="*/ 2147483647 h 749"/>
                  <a:gd name="T92" fmla="*/ 2147483647 w 785"/>
                  <a:gd name="T93" fmla="*/ 2147483647 h 749"/>
                  <a:gd name="T94" fmla="*/ 2147483647 w 785"/>
                  <a:gd name="T95" fmla="*/ 2147483647 h 749"/>
                  <a:gd name="T96" fmla="*/ 2147483647 w 785"/>
                  <a:gd name="T97" fmla="*/ 2147483647 h 749"/>
                  <a:gd name="T98" fmla="*/ 2147483647 w 785"/>
                  <a:gd name="T99" fmla="*/ 2147483647 h 749"/>
                  <a:gd name="T100" fmla="*/ 2147483647 w 785"/>
                  <a:gd name="T101" fmla="*/ 2147483647 h 749"/>
                  <a:gd name="T102" fmla="*/ 2147483647 w 785"/>
                  <a:gd name="T103" fmla="*/ 2147483647 h 749"/>
                  <a:gd name="T104" fmla="*/ 2147483647 w 785"/>
                  <a:gd name="T105" fmla="*/ 2147483647 h 749"/>
                  <a:gd name="T106" fmla="*/ 2147483647 w 785"/>
                  <a:gd name="T107" fmla="*/ 2147483647 h 749"/>
                  <a:gd name="T108" fmla="*/ 2147483647 w 785"/>
                  <a:gd name="T109" fmla="*/ 2147483647 h 749"/>
                  <a:gd name="T110" fmla="*/ 2147483647 w 785"/>
                  <a:gd name="T111" fmla="*/ 2147483647 h 749"/>
                  <a:gd name="T112" fmla="*/ 0 w 785"/>
                  <a:gd name="T113" fmla="*/ 2147483647 h 74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85"/>
                  <a:gd name="T172" fmla="*/ 0 h 749"/>
                  <a:gd name="T173" fmla="*/ 785 w 785"/>
                  <a:gd name="T174" fmla="*/ 749 h 74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85" h="749">
                    <a:moveTo>
                      <a:pt x="0" y="74"/>
                    </a:moveTo>
                    <a:lnTo>
                      <a:pt x="34" y="42"/>
                    </a:lnTo>
                    <a:lnTo>
                      <a:pt x="54" y="24"/>
                    </a:lnTo>
                    <a:lnTo>
                      <a:pt x="80" y="22"/>
                    </a:lnTo>
                    <a:lnTo>
                      <a:pt x="88" y="32"/>
                    </a:lnTo>
                    <a:lnTo>
                      <a:pt x="136" y="36"/>
                    </a:lnTo>
                    <a:lnTo>
                      <a:pt x="152" y="4"/>
                    </a:lnTo>
                    <a:lnTo>
                      <a:pt x="168" y="0"/>
                    </a:lnTo>
                    <a:lnTo>
                      <a:pt x="174" y="20"/>
                    </a:lnTo>
                    <a:lnTo>
                      <a:pt x="190" y="52"/>
                    </a:lnTo>
                    <a:lnTo>
                      <a:pt x="190" y="62"/>
                    </a:lnTo>
                    <a:lnTo>
                      <a:pt x="226" y="94"/>
                    </a:lnTo>
                    <a:lnTo>
                      <a:pt x="246" y="116"/>
                    </a:lnTo>
                    <a:lnTo>
                      <a:pt x="260" y="146"/>
                    </a:lnTo>
                    <a:lnTo>
                      <a:pt x="270" y="164"/>
                    </a:lnTo>
                    <a:lnTo>
                      <a:pt x="276" y="192"/>
                    </a:lnTo>
                    <a:lnTo>
                      <a:pt x="318" y="224"/>
                    </a:lnTo>
                    <a:lnTo>
                      <a:pt x="344" y="242"/>
                    </a:lnTo>
                    <a:lnTo>
                      <a:pt x="392" y="234"/>
                    </a:lnTo>
                    <a:lnTo>
                      <a:pt x="428" y="232"/>
                    </a:lnTo>
                    <a:lnTo>
                      <a:pt x="436" y="244"/>
                    </a:lnTo>
                    <a:lnTo>
                      <a:pt x="474" y="244"/>
                    </a:lnTo>
                    <a:lnTo>
                      <a:pt x="486" y="264"/>
                    </a:lnTo>
                    <a:lnTo>
                      <a:pt x="490" y="282"/>
                    </a:lnTo>
                    <a:lnTo>
                      <a:pt x="516" y="296"/>
                    </a:lnTo>
                    <a:lnTo>
                      <a:pt x="544" y="310"/>
                    </a:lnTo>
                    <a:lnTo>
                      <a:pt x="560" y="336"/>
                    </a:lnTo>
                    <a:lnTo>
                      <a:pt x="570" y="356"/>
                    </a:lnTo>
                    <a:lnTo>
                      <a:pt x="602" y="350"/>
                    </a:lnTo>
                    <a:lnTo>
                      <a:pt x="634" y="340"/>
                    </a:lnTo>
                    <a:lnTo>
                      <a:pt x="650" y="320"/>
                    </a:lnTo>
                    <a:lnTo>
                      <a:pt x="656" y="304"/>
                    </a:lnTo>
                    <a:lnTo>
                      <a:pt x="664" y="296"/>
                    </a:lnTo>
                    <a:lnTo>
                      <a:pt x="682" y="290"/>
                    </a:lnTo>
                    <a:lnTo>
                      <a:pt x="700" y="276"/>
                    </a:lnTo>
                    <a:lnTo>
                      <a:pt x="724" y="246"/>
                    </a:lnTo>
                    <a:lnTo>
                      <a:pt x="754" y="238"/>
                    </a:lnTo>
                    <a:lnTo>
                      <a:pt x="766" y="256"/>
                    </a:lnTo>
                    <a:lnTo>
                      <a:pt x="770" y="284"/>
                    </a:lnTo>
                    <a:lnTo>
                      <a:pt x="768" y="324"/>
                    </a:lnTo>
                    <a:lnTo>
                      <a:pt x="772" y="348"/>
                    </a:lnTo>
                    <a:lnTo>
                      <a:pt x="780" y="362"/>
                    </a:lnTo>
                    <a:lnTo>
                      <a:pt x="778" y="416"/>
                    </a:lnTo>
                    <a:lnTo>
                      <a:pt x="784" y="436"/>
                    </a:lnTo>
                    <a:lnTo>
                      <a:pt x="770" y="460"/>
                    </a:lnTo>
                    <a:lnTo>
                      <a:pt x="774" y="492"/>
                    </a:lnTo>
                    <a:lnTo>
                      <a:pt x="772" y="532"/>
                    </a:lnTo>
                    <a:lnTo>
                      <a:pt x="752" y="554"/>
                    </a:lnTo>
                    <a:lnTo>
                      <a:pt x="710" y="558"/>
                    </a:lnTo>
                    <a:lnTo>
                      <a:pt x="678" y="564"/>
                    </a:lnTo>
                    <a:lnTo>
                      <a:pt x="662" y="582"/>
                    </a:lnTo>
                    <a:lnTo>
                      <a:pt x="652" y="598"/>
                    </a:lnTo>
                    <a:lnTo>
                      <a:pt x="672" y="620"/>
                    </a:lnTo>
                    <a:lnTo>
                      <a:pt x="680" y="648"/>
                    </a:lnTo>
                    <a:lnTo>
                      <a:pt x="680" y="674"/>
                    </a:lnTo>
                    <a:lnTo>
                      <a:pt x="694" y="696"/>
                    </a:lnTo>
                    <a:lnTo>
                      <a:pt x="696" y="744"/>
                    </a:lnTo>
                    <a:lnTo>
                      <a:pt x="680" y="736"/>
                    </a:lnTo>
                    <a:lnTo>
                      <a:pt x="650" y="722"/>
                    </a:lnTo>
                    <a:lnTo>
                      <a:pt x="636" y="700"/>
                    </a:lnTo>
                    <a:lnTo>
                      <a:pt x="614" y="704"/>
                    </a:lnTo>
                    <a:lnTo>
                      <a:pt x="604" y="730"/>
                    </a:lnTo>
                    <a:lnTo>
                      <a:pt x="578" y="732"/>
                    </a:lnTo>
                    <a:lnTo>
                      <a:pt x="566" y="744"/>
                    </a:lnTo>
                    <a:lnTo>
                      <a:pt x="536" y="748"/>
                    </a:lnTo>
                    <a:lnTo>
                      <a:pt x="508" y="716"/>
                    </a:lnTo>
                    <a:lnTo>
                      <a:pt x="506" y="686"/>
                    </a:lnTo>
                    <a:lnTo>
                      <a:pt x="478" y="702"/>
                    </a:lnTo>
                    <a:lnTo>
                      <a:pt x="448" y="712"/>
                    </a:lnTo>
                    <a:lnTo>
                      <a:pt x="438" y="688"/>
                    </a:lnTo>
                    <a:lnTo>
                      <a:pt x="408" y="686"/>
                    </a:lnTo>
                    <a:lnTo>
                      <a:pt x="390" y="652"/>
                    </a:lnTo>
                    <a:lnTo>
                      <a:pt x="364" y="646"/>
                    </a:lnTo>
                    <a:lnTo>
                      <a:pt x="342" y="650"/>
                    </a:lnTo>
                    <a:lnTo>
                      <a:pt x="320" y="648"/>
                    </a:lnTo>
                    <a:lnTo>
                      <a:pt x="306" y="634"/>
                    </a:lnTo>
                    <a:lnTo>
                      <a:pt x="280" y="636"/>
                    </a:lnTo>
                    <a:lnTo>
                      <a:pt x="276" y="648"/>
                    </a:lnTo>
                    <a:lnTo>
                      <a:pt x="226" y="650"/>
                    </a:lnTo>
                    <a:lnTo>
                      <a:pt x="208" y="634"/>
                    </a:lnTo>
                    <a:lnTo>
                      <a:pt x="172" y="606"/>
                    </a:lnTo>
                    <a:lnTo>
                      <a:pt x="132" y="592"/>
                    </a:lnTo>
                    <a:lnTo>
                      <a:pt x="130" y="552"/>
                    </a:lnTo>
                    <a:lnTo>
                      <a:pt x="100" y="540"/>
                    </a:lnTo>
                    <a:lnTo>
                      <a:pt x="74" y="514"/>
                    </a:lnTo>
                    <a:lnTo>
                      <a:pt x="78" y="492"/>
                    </a:lnTo>
                    <a:lnTo>
                      <a:pt x="84" y="466"/>
                    </a:lnTo>
                    <a:lnTo>
                      <a:pt x="102" y="450"/>
                    </a:lnTo>
                    <a:lnTo>
                      <a:pt x="116" y="446"/>
                    </a:lnTo>
                    <a:lnTo>
                      <a:pt x="126" y="426"/>
                    </a:lnTo>
                    <a:lnTo>
                      <a:pt x="128" y="406"/>
                    </a:lnTo>
                    <a:lnTo>
                      <a:pt x="160" y="402"/>
                    </a:lnTo>
                    <a:lnTo>
                      <a:pt x="170" y="406"/>
                    </a:lnTo>
                    <a:lnTo>
                      <a:pt x="166" y="350"/>
                    </a:lnTo>
                    <a:lnTo>
                      <a:pt x="180" y="344"/>
                    </a:lnTo>
                    <a:lnTo>
                      <a:pt x="184" y="284"/>
                    </a:lnTo>
                    <a:lnTo>
                      <a:pt x="192" y="276"/>
                    </a:lnTo>
                    <a:lnTo>
                      <a:pt x="180" y="268"/>
                    </a:lnTo>
                    <a:lnTo>
                      <a:pt x="170" y="240"/>
                    </a:lnTo>
                    <a:lnTo>
                      <a:pt x="172" y="216"/>
                    </a:lnTo>
                    <a:lnTo>
                      <a:pt x="182" y="192"/>
                    </a:lnTo>
                    <a:lnTo>
                      <a:pt x="188" y="176"/>
                    </a:lnTo>
                    <a:lnTo>
                      <a:pt x="182" y="134"/>
                    </a:lnTo>
                    <a:lnTo>
                      <a:pt x="158" y="116"/>
                    </a:lnTo>
                    <a:lnTo>
                      <a:pt x="140" y="108"/>
                    </a:lnTo>
                    <a:lnTo>
                      <a:pt x="124" y="118"/>
                    </a:lnTo>
                    <a:lnTo>
                      <a:pt x="98" y="124"/>
                    </a:lnTo>
                    <a:lnTo>
                      <a:pt x="88" y="130"/>
                    </a:lnTo>
                    <a:lnTo>
                      <a:pt x="62" y="134"/>
                    </a:lnTo>
                    <a:lnTo>
                      <a:pt x="58" y="148"/>
                    </a:lnTo>
                    <a:lnTo>
                      <a:pt x="28" y="140"/>
                    </a:lnTo>
                    <a:lnTo>
                      <a:pt x="10" y="122"/>
                    </a:lnTo>
                    <a:lnTo>
                      <a:pt x="2" y="104"/>
                    </a:lnTo>
                    <a:lnTo>
                      <a:pt x="0" y="74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49" name="Freeform 5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5959475" y="1995488"/>
                <a:ext cx="1063625" cy="693737"/>
              </a:xfrm>
              <a:custGeom>
                <a:avLst/>
                <a:gdLst>
                  <a:gd name="T0" fmla="*/ 2147483647 w 649"/>
                  <a:gd name="T1" fmla="*/ 2147483647 h 439"/>
                  <a:gd name="T2" fmla="*/ 2147483647 w 649"/>
                  <a:gd name="T3" fmla="*/ 2147483647 h 439"/>
                  <a:gd name="T4" fmla="*/ 2147483647 w 649"/>
                  <a:gd name="T5" fmla="*/ 2147483647 h 439"/>
                  <a:gd name="T6" fmla="*/ 2147483647 w 649"/>
                  <a:gd name="T7" fmla="*/ 2147483647 h 439"/>
                  <a:gd name="T8" fmla="*/ 2147483647 w 649"/>
                  <a:gd name="T9" fmla="*/ 2147483647 h 439"/>
                  <a:gd name="T10" fmla="*/ 2147483647 w 649"/>
                  <a:gd name="T11" fmla="*/ 2147483647 h 439"/>
                  <a:gd name="T12" fmla="*/ 2147483647 w 649"/>
                  <a:gd name="T13" fmla="*/ 2147483647 h 439"/>
                  <a:gd name="T14" fmla="*/ 2147483647 w 649"/>
                  <a:gd name="T15" fmla="*/ 2147483647 h 439"/>
                  <a:gd name="T16" fmla="*/ 2147483647 w 649"/>
                  <a:gd name="T17" fmla="*/ 2147483647 h 439"/>
                  <a:gd name="T18" fmla="*/ 2147483647 w 649"/>
                  <a:gd name="T19" fmla="*/ 2147483647 h 439"/>
                  <a:gd name="T20" fmla="*/ 2147483647 w 649"/>
                  <a:gd name="T21" fmla="*/ 2147483647 h 439"/>
                  <a:gd name="T22" fmla="*/ 2147483647 w 649"/>
                  <a:gd name="T23" fmla="*/ 0 h 439"/>
                  <a:gd name="T24" fmla="*/ 2147483647 w 649"/>
                  <a:gd name="T25" fmla="*/ 2147483647 h 439"/>
                  <a:gd name="T26" fmla="*/ 0 w 649"/>
                  <a:gd name="T27" fmla="*/ 2147483647 h 439"/>
                  <a:gd name="T28" fmla="*/ 2147483647 w 649"/>
                  <a:gd name="T29" fmla="*/ 2147483647 h 439"/>
                  <a:gd name="T30" fmla="*/ 2147483647 w 649"/>
                  <a:gd name="T31" fmla="*/ 2147483647 h 439"/>
                  <a:gd name="T32" fmla="*/ 2147483647 w 649"/>
                  <a:gd name="T33" fmla="*/ 2147483647 h 439"/>
                  <a:gd name="T34" fmla="*/ 2147483647 w 649"/>
                  <a:gd name="T35" fmla="*/ 2147483647 h 439"/>
                  <a:gd name="T36" fmla="*/ 2147483647 w 649"/>
                  <a:gd name="T37" fmla="*/ 2147483647 h 439"/>
                  <a:gd name="T38" fmla="*/ 2147483647 w 649"/>
                  <a:gd name="T39" fmla="*/ 2147483647 h 439"/>
                  <a:gd name="T40" fmla="*/ 2147483647 w 649"/>
                  <a:gd name="T41" fmla="*/ 2147483647 h 439"/>
                  <a:gd name="T42" fmla="*/ 2147483647 w 649"/>
                  <a:gd name="T43" fmla="*/ 2147483647 h 439"/>
                  <a:gd name="T44" fmla="*/ 2147483647 w 649"/>
                  <a:gd name="T45" fmla="*/ 2147483647 h 439"/>
                  <a:gd name="T46" fmla="*/ 2147483647 w 649"/>
                  <a:gd name="T47" fmla="*/ 2147483647 h 439"/>
                  <a:gd name="T48" fmla="*/ 2147483647 w 649"/>
                  <a:gd name="T49" fmla="*/ 2147483647 h 439"/>
                  <a:gd name="T50" fmla="*/ 2147483647 w 649"/>
                  <a:gd name="T51" fmla="*/ 2147483647 h 439"/>
                  <a:gd name="T52" fmla="*/ 2147483647 w 649"/>
                  <a:gd name="T53" fmla="*/ 2147483647 h 439"/>
                  <a:gd name="T54" fmla="*/ 2147483647 w 649"/>
                  <a:gd name="T55" fmla="*/ 2147483647 h 439"/>
                  <a:gd name="T56" fmla="*/ 2147483647 w 649"/>
                  <a:gd name="T57" fmla="*/ 2147483647 h 439"/>
                  <a:gd name="T58" fmla="*/ 2147483647 w 649"/>
                  <a:gd name="T59" fmla="*/ 2147483647 h 439"/>
                  <a:gd name="T60" fmla="*/ 2147483647 w 649"/>
                  <a:gd name="T61" fmla="*/ 2147483647 h 439"/>
                  <a:gd name="T62" fmla="*/ 2147483647 w 649"/>
                  <a:gd name="T63" fmla="*/ 2147483647 h 439"/>
                  <a:gd name="T64" fmla="*/ 2147483647 w 649"/>
                  <a:gd name="T65" fmla="*/ 2147483647 h 439"/>
                  <a:gd name="T66" fmla="*/ 2147483647 w 649"/>
                  <a:gd name="T67" fmla="*/ 2147483647 h 439"/>
                  <a:gd name="T68" fmla="*/ 2147483647 w 649"/>
                  <a:gd name="T69" fmla="*/ 2147483647 h 439"/>
                  <a:gd name="T70" fmla="*/ 2147483647 w 649"/>
                  <a:gd name="T71" fmla="*/ 2147483647 h 439"/>
                  <a:gd name="T72" fmla="*/ 2147483647 w 649"/>
                  <a:gd name="T73" fmla="*/ 2147483647 h 439"/>
                  <a:gd name="T74" fmla="*/ 2147483647 w 649"/>
                  <a:gd name="T75" fmla="*/ 2147483647 h 439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649"/>
                  <a:gd name="T115" fmla="*/ 0 h 439"/>
                  <a:gd name="T116" fmla="*/ 649 w 649"/>
                  <a:gd name="T117" fmla="*/ 439 h 439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649" h="439">
                    <a:moveTo>
                      <a:pt x="640" y="148"/>
                    </a:moveTo>
                    <a:lnTo>
                      <a:pt x="604" y="132"/>
                    </a:lnTo>
                    <a:lnTo>
                      <a:pt x="590" y="108"/>
                    </a:lnTo>
                    <a:lnTo>
                      <a:pt x="560" y="112"/>
                    </a:lnTo>
                    <a:lnTo>
                      <a:pt x="550" y="142"/>
                    </a:lnTo>
                    <a:lnTo>
                      <a:pt x="532" y="140"/>
                    </a:lnTo>
                    <a:lnTo>
                      <a:pt x="508" y="158"/>
                    </a:lnTo>
                    <a:lnTo>
                      <a:pt x="482" y="152"/>
                    </a:lnTo>
                    <a:lnTo>
                      <a:pt x="464" y="128"/>
                    </a:lnTo>
                    <a:lnTo>
                      <a:pt x="460" y="96"/>
                    </a:lnTo>
                    <a:lnTo>
                      <a:pt x="452" y="94"/>
                    </a:lnTo>
                    <a:lnTo>
                      <a:pt x="400" y="120"/>
                    </a:lnTo>
                    <a:lnTo>
                      <a:pt x="396" y="100"/>
                    </a:lnTo>
                    <a:lnTo>
                      <a:pt x="364" y="98"/>
                    </a:lnTo>
                    <a:lnTo>
                      <a:pt x="346" y="64"/>
                    </a:lnTo>
                    <a:lnTo>
                      <a:pt x="314" y="52"/>
                    </a:lnTo>
                    <a:lnTo>
                      <a:pt x="282" y="58"/>
                    </a:lnTo>
                    <a:lnTo>
                      <a:pt x="254" y="42"/>
                    </a:lnTo>
                    <a:lnTo>
                      <a:pt x="232" y="44"/>
                    </a:lnTo>
                    <a:lnTo>
                      <a:pt x="222" y="56"/>
                    </a:lnTo>
                    <a:lnTo>
                      <a:pt x="182" y="60"/>
                    </a:lnTo>
                    <a:lnTo>
                      <a:pt x="148" y="32"/>
                    </a:lnTo>
                    <a:lnTo>
                      <a:pt x="124" y="12"/>
                    </a:lnTo>
                    <a:lnTo>
                      <a:pt x="84" y="0"/>
                    </a:lnTo>
                    <a:lnTo>
                      <a:pt x="74" y="32"/>
                    </a:lnTo>
                    <a:lnTo>
                      <a:pt x="52" y="48"/>
                    </a:lnTo>
                    <a:lnTo>
                      <a:pt x="8" y="52"/>
                    </a:lnTo>
                    <a:lnTo>
                      <a:pt x="0" y="64"/>
                    </a:lnTo>
                    <a:lnTo>
                      <a:pt x="32" y="98"/>
                    </a:lnTo>
                    <a:lnTo>
                      <a:pt x="36" y="118"/>
                    </a:lnTo>
                    <a:lnTo>
                      <a:pt x="32" y="150"/>
                    </a:lnTo>
                    <a:lnTo>
                      <a:pt x="48" y="174"/>
                    </a:lnTo>
                    <a:lnTo>
                      <a:pt x="54" y="188"/>
                    </a:lnTo>
                    <a:lnTo>
                      <a:pt x="72" y="188"/>
                    </a:lnTo>
                    <a:lnTo>
                      <a:pt x="88" y="174"/>
                    </a:lnTo>
                    <a:lnTo>
                      <a:pt x="112" y="170"/>
                    </a:lnTo>
                    <a:lnTo>
                      <a:pt x="120" y="192"/>
                    </a:lnTo>
                    <a:lnTo>
                      <a:pt x="134" y="214"/>
                    </a:lnTo>
                    <a:lnTo>
                      <a:pt x="142" y="234"/>
                    </a:lnTo>
                    <a:lnTo>
                      <a:pt x="152" y="250"/>
                    </a:lnTo>
                    <a:lnTo>
                      <a:pt x="158" y="262"/>
                    </a:lnTo>
                    <a:lnTo>
                      <a:pt x="202" y="258"/>
                    </a:lnTo>
                    <a:lnTo>
                      <a:pt x="216" y="270"/>
                    </a:lnTo>
                    <a:lnTo>
                      <a:pt x="228" y="284"/>
                    </a:lnTo>
                    <a:lnTo>
                      <a:pt x="238" y="280"/>
                    </a:lnTo>
                    <a:lnTo>
                      <a:pt x="250" y="256"/>
                    </a:lnTo>
                    <a:lnTo>
                      <a:pt x="266" y="288"/>
                    </a:lnTo>
                    <a:lnTo>
                      <a:pt x="270" y="310"/>
                    </a:lnTo>
                    <a:lnTo>
                      <a:pt x="296" y="332"/>
                    </a:lnTo>
                    <a:lnTo>
                      <a:pt x="310" y="344"/>
                    </a:lnTo>
                    <a:lnTo>
                      <a:pt x="308" y="392"/>
                    </a:lnTo>
                    <a:lnTo>
                      <a:pt x="344" y="414"/>
                    </a:lnTo>
                    <a:lnTo>
                      <a:pt x="360" y="438"/>
                    </a:lnTo>
                    <a:lnTo>
                      <a:pt x="378" y="416"/>
                    </a:lnTo>
                    <a:lnTo>
                      <a:pt x="390" y="394"/>
                    </a:lnTo>
                    <a:lnTo>
                      <a:pt x="388" y="378"/>
                    </a:lnTo>
                    <a:lnTo>
                      <a:pt x="406" y="358"/>
                    </a:lnTo>
                    <a:lnTo>
                      <a:pt x="448" y="352"/>
                    </a:lnTo>
                    <a:lnTo>
                      <a:pt x="456" y="370"/>
                    </a:lnTo>
                    <a:lnTo>
                      <a:pt x="492" y="368"/>
                    </a:lnTo>
                    <a:lnTo>
                      <a:pt x="502" y="352"/>
                    </a:lnTo>
                    <a:lnTo>
                      <a:pt x="500" y="300"/>
                    </a:lnTo>
                    <a:lnTo>
                      <a:pt x="522" y="292"/>
                    </a:lnTo>
                    <a:lnTo>
                      <a:pt x="550" y="276"/>
                    </a:lnTo>
                    <a:lnTo>
                      <a:pt x="552" y="248"/>
                    </a:lnTo>
                    <a:lnTo>
                      <a:pt x="572" y="234"/>
                    </a:lnTo>
                    <a:lnTo>
                      <a:pt x="572" y="206"/>
                    </a:lnTo>
                    <a:lnTo>
                      <a:pt x="598" y="204"/>
                    </a:lnTo>
                    <a:lnTo>
                      <a:pt x="608" y="222"/>
                    </a:lnTo>
                    <a:lnTo>
                      <a:pt x="626" y="232"/>
                    </a:lnTo>
                    <a:lnTo>
                      <a:pt x="642" y="230"/>
                    </a:lnTo>
                    <a:lnTo>
                      <a:pt x="646" y="206"/>
                    </a:lnTo>
                    <a:lnTo>
                      <a:pt x="628" y="196"/>
                    </a:lnTo>
                    <a:lnTo>
                      <a:pt x="648" y="194"/>
                    </a:lnTo>
                    <a:lnTo>
                      <a:pt x="644" y="166"/>
                    </a:lnTo>
                    <a:lnTo>
                      <a:pt x="644" y="14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50" name="Freeform 6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5746750" y="2389188"/>
                <a:ext cx="808038" cy="701675"/>
              </a:xfrm>
              <a:custGeom>
                <a:avLst/>
                <a:gdLst>
                  <a:gd name="T0" fmla="*/ 2147483647 w 493"/>
                  <a:gd name="T1" fmla="*/ 2147483647 h 445"/>
                  <a:gd name="T2" fmla="*/ 2147483647 w 493"/>
                  <a:gd name="T3" fmla="*/ 2147483647 h 445"/>
                  <a:gd name="T4" fmla="*/ 2147483647 w 493"/>
                  <a:gd name="T5" fmla="*/ 2147483647 h 445"/>
                  <a:gd name="T6" fmla="*/ 2147483647 w 493"/>
                  <a:gd name="T7" fmla="*/ 0 h 445"/>
                  <a:gd name="T8" fmla="*/ 2147483647 w 493"/>
                  <a:gd name="T9" fmla="*/ 2147483647 h 445"/>
                  <a:gd name="T10" fmla="*/ 2147483647 w 493"/>
                  <a:gd name="T11" fmla="*/ 2147483647 h 445"/>
                  <a:gd name="T12" fmla="*/ 2147483647 w 493"/>
                  <a:gd name="T13" fmla="*/ 2147483647 h 445"/>
                  <a:gd name="T14" fmla="*/ 2147483647 w 493"/>
                  <a:gd name="T15" fmla="*/ 2147483647 h 445"/>
                  <a:gd name="T16" fmla="*/ 2147483647 w 493"/>
                  <a:gd name="T17" fmla="*/ 2147483647 h 445"/>
                  <a:gd name="T18" fmla="*/ 2147483647 w 493"/>
                  <a:gd name="T19" fmla="*/ 2147483647 h 445"/>
                  <a:gd name="T20" fmla="*/ 2147483647 w 493"/>
                  <a:gd name="T21" fmla="*/ 2147483647 h 445"/>
                  <a:gd name="T22" fmla="*/ 2147483647 w 493"/>
                  <a:gd name="T23" fmla="*/ 2147483647 h 445"/>
                  <a:gd name="T24" fmla="*/ 2147483647 w 493"/>
                  <a:gd name="T25" fmla="*/ 2147483647 h 445"/>
                  <a:gd name="T26" fmla="*/ 2147483647 w 493"/>
                  <a:gd name="T27" fmla="*/ 2147483647 h 445"/>
                  <a:gd name="T28" fmla="*/ 2147483647 w 493"/>
                  <a:gd name="T29" fmla="*/ 2147483647 h 445"/>
                  <a:gd name="T30" fmla="*/ 2147483647 w 493"/>
                  <a:gd name="T31" fmla="*/ 2147483647 h 445"/>
                  <a:gd name="T32" fmla="*/ 2147483647 w 493"/>
                  <a:gd name="T33" fmla="*/ 2147483647 h 445"/>
                  <a:gd name="T34" fmla="*/ 0 w 493"/>
                  <a:gd name="T35" fmla="*/ 2147483647 h 445"/>
                  <a:gd name="T36" fmla="*/ 2147483647 w 493"/>
                  <a:gd name="T37" fmla="*/ 2147483647 h 445"/>
                  <a:gd name="T38" fmla="*/ 2147483647 w 493"/>
                  <a:gd name="T39" fmla="*/ 2147483647 h 445"/>
                  <a:gd name="T40" fmla="*/ 2147483647 w 493"/>
                  <a:gd name="T41" fmla="*/ 2147483647 h 445"/>
                  <a:gd name="T42" fmla="*/ 2147483647 w 493"/>
                  <a:gd name="T43" fmla="*/ 2147483647 h 445"/>
                  <a:gd name="T44" fmla="*/ 2147483647 w 493"/>
                  <a:gd name="T45" fmla="*/ 2147483647 h 445"/>
                  <a:gd name="T46" fmla="*/ 2147483647 w 493"/>
                  <a:gd name="T47" fmla="*/ 2147483647 h 445"/>
                  <a:gd name="T48" fmla="*/ 2147483647 w 493"/>
                  <a:gd name="T49" fmla="*/ 2147483647 h 445"/>
                  <a:gd name="T50" fmla="*/ 2147483647 w 493"/>
                  <a:gd name="T51" fmla="*/ 2147483647 h 445"/>
                  <a:gd name="T52" fmla="*/ 2147483647 w 493"/>
                  <a:gd name="T53" fmla="*/ 2147483647 h 445"/>
                  <a:gd name="T54" fmla="*/ 2147483647 w 493"/>
                  <a:gd name="T55" fmla="*/ 2147483647 h 445"/>
                  <a:gd name="T56" fmla="*/ 2147483647 w 493"/>
                  <a:gd name="T57" fmla="*/ 2147483647 h 445"/>
                  <a:gd name="T58" fmla="*/ 2147483647 w 493"/>
                  <a:gd name="T59" fmla="*/ 2147483647 h 445"/>
                  <a:gd name="T60" fmla="*/ 2147483647 w 493"/>
                  <a:gd name="T61" fmla="*/ 2147483647 h 445"/>
                  <a:gd name="T62" fmla="*/ 2147483647 w 493"/>
                  <a:gd name="T63" fmla="*/ 2147483647 h 445"/>
                  <a:gd name="T64" fmla="*/ 2147483647 w 493"/>
                  <a:gd name="T65" fmla="*/ 2147483647 h 445"/>
                  <a:gd name="T66" fmla="*/ 2147483647 w 493"/>
                  <a:gd name="T67" fmla="*/ 2147483647 h 445"/>
                  <a:gd name="T68" fmla="*/ 2147483647 w 493"/>
                  <a:gd name="T69" fmla="*/ 2147483647 h 445"/>
                  <a:gd name="T70" fmla="*/ 2147483647 w 493"/>
                  <a:gd name="T71" fmla="*/ 2147483647 h 445"/>
                  <a:gd name="T72" fmla="*/ 2147483647 w 493"/>
                  <a:gd name="T73" fmla="*/ 2147483647 h 445"/>
                  <a:gd name="T74" fmla="*/ 2147483647 w 493"/>
                  <a:gd name="T75" fmla="*/ 2147483647 h 445"/>
                  <a:gd name="T76" fmla="*/ 2147483647 w 493"/>
                  <a:gd name="T77" fmla="*/ 2147483647 h 445"/>
                  <a:gd name="T78" fmla="*/ 2147483647 w 493"/>
                  <a:gd name="T79" fmla="*/ 2147483647 h 445"/>
                  <a:gd name="T80" fmla="*/ 2147483647 w 493"/>
                  <a:gd name="T81" fmla="*/ 2147483647 h 445"/>
                  <a:gd name="T82" fmla="*/ 2147483647 w 493"/>
                  <a:gd name="T83" fmla="*/ 2147483647 h 445"/>
                  <a:gd name="T84" fmla="*/ 2147483647 w 493"/>
                  <a:gd name="T85" fmla="*/ 2147483647 h 44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493"/>
                  <a:gd name="T130" fmla="*/ 0 h 445"/>
                  <a:gd name="T131" fmla="*/ 493 w 493"/>
                  <a:gd name="T132" fmla="*/ 445 h 445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493" h="445">
                    <a:moveTo>
                      <a:pt x="492" y="186"/>
                    </a:moveTo>
                    <a:lnTo>
                      <a:pt x="480" y="166"/>
                    </a:lnTo>
                    <a:lnTo>
                      <a:pt x="438" y="136"/>
                    </a:lnTo>
                    <a:lnTo>
                      <a:pt x="442" y="112"/>
                    </a:lnTo>
                    <a:lnTo>
                      <a:pt x="444" y="90"/>
                    </a:lnTo>
                    <a:lnTo>
                      <a:pt x="404" y="60"/>
                    </a:lnTo>
                    <a:lnTo>
                      <a:pt x="394" y="22"/>
                    </a:lnTo>
                    <a:lnTo>
                      <a:pt x="380" y="0"/>
                    </a:lnTo>
                    <a:lnTo>
                      <a:pt x="362" y="32"/>
                    </a:lnTo>
                    <a:lnTo>
                      <a:pt x="332" y="2"/>
                    </a:lnTo>
                    <a:lnTo>
                      <a:pt x="290" y="6"/>
                    </a:lnTo>
                    <a:lnTo>
                      <a:pt x="268" y="44"/>
                    </a:lnTo>
                    <a:lnTo>
                      <a:pt x="256" y="58"/>
                    </a:lnTo>
                    <a:lnTo>
                      <a:pt x="208" y="54"/>
                    </a:lnTo>
                    <a:lnTo>
                      <a:pt x="198" y="76"/>
                    </a:lnTo>
                    <a:lnTo>
                      <a:pt x="186" y="88"/>
                    </a:lnTo>
                    <a:lnTo>
                      <a:pt x="178" y="96"/>
                    </a:lnTo>
                    <a:lnTo>
                      <a:pt x="180" y="110"/>
                    </a:lnTo>
                    <a:lnTo>
                      <a:pt x="144" y="134"/>
                    </a:lnTo>
                    <a:lnTo>
                      <a:pt x="136" y="150"/>
                    </a:lnTo>
                    <a:lnTo>
                      <a:pt x="108" y="148"/>
                    </a:lnTo>
                    <a:lnTo>
                      <a:pt x="104" y="168"/>
                    </a:lnTo>
                    <a:lnTo>
                      <a:pt x="84" y="170"/>
                    </a:lnTo>
                    <a:lnTo>
                      <a:pt x="68" y="158"/>
                    </a:lnTo>
                    <a:lnTo>
                      <a:pt x="44" y="146"/>
                    </a:lnTo>
                    <a:lnTo>
                      <a:pt x="32" y="180"/>
                    </a:lnTo>
                    <a:lnTo>
                      <a:pt x="36" y="206"/>
                    </a:lnTo>
                    <a:lnTo>
                      <a:pt x="24" y="230"/>
                    </a:lnTo>
                    <a:lnTo>
                      <a:pt x="24" y="274"/>
                    </a:lnTo>
                    <a:lnTo>
                      <a:pt x="14" y="282"/>
                    </a:lnTo>
                    <a:lnTo>
                      <a:pt x="16" y="312"/>
                    </a:lnTo>
                    <a:lnTo>
                      <a:pt x="30" y="310"/>
                    </a:lnTo>
                    <a:lnTo>
                      <a:pt x="26" y="326"/>
                    </a:lnTo>
                    <a:lnTo>
                      <a:pt x="12" y="330"/>
                    </a:lnTo>
                    <a:lnTo>
                      <a:pt x="14" y="386"/>
                    </a:lnTo>
                    <a:lnTo>
                      <a:pt x="0" y="418"/>
                    </a:lnTo>
                    <a:lnTo>
                      <a:pt x="12" y="432"/>
                    </a:lnTo>
                    <a:lnTo>
                      <a:pt x="48" y="432"/>
                    </a:lnTo>
                    <a:lnTo>
                      <a:pt x="56" y="430"/>
                    </a:lnTo>
                    <a:lnTo>
                      <a:pt x="58" y="384"/>
                    </a:lnTo>
                    <a:lnTo>
                      <a:pt x="80" y="374"/>
                    </a:lnTo>
                    <a:lnTo>
                      <a:pt x="88" y="362"/>
                    </a:lnTo>
                    <a:lnTo>
                      <a:pt x="108" y="360"/>
                    </a:lnTo>
                    <a:lnTo>
                      <a:pt x="110" y="352"/>
                    </a:lnTo>
                    <a:lnTo>
                      <a:pt x="124" y="342"/>
                    </a:lnTo>
                    <a:lnTo>
                      <a:pt x="130" y="324"/>
                    </a:lnTo>
                    <a:lnTo>
                      <a:pt x="142" y="316"/>
                    </a:lnTo>
                    <a:lnTo>
                      <a:pt x="140" y="298"/>
                    </a:lnTo>
                    <a:lnTo>
                      <a:pt x="152" y="282"/>
                    </a:lnTo>
                    <a:lnTo>
                      <a:pt x="156" y="264"/>
                    </a:lnTo>
                    <a:lnTo>
                      <a:pt x="184" y="264"/>
                    </a:lnTo>
                    <a:lnTo>
                      <a:pt x="194" y="248"/>
                    </a:lnTo>
                    <a:lnTo>
                      <a:pt x="216" y="242"/>
                    </a:lnTo>
                    <a:lnTo>
                      <a:pt x="238" y="246"/>
                    </a:lnTo>
                    <a:lnTo>
                      <a:pt x="242" y="264"/>
                    </a:lnTo>
                    <a:lnTo>
                      <a:pt x="252" y="276"/>
                    </a:lnTo>
                    <a:lnTo>
                      <a:pt x="266" y="280"/>
                    </a:lnTo>
                    <a:lnTo>
                      <a:pt x="260" y="308"/>
                    </a:lnTo>
                    <a:lnTo>
                      <a:pt x="240" y="314"/>
                    </a:lnTo>
                    <a:lnTo>
                      <a:pt x="220" y="336"/>
                    </a:lnTo>
                    <a:lnTo>
                      <a:pt x="220" y="372"/>
                    </a:lnTo>
                    <a:lnTo>
                      <a:pt x="238" y="382"/>
                    </a:lnTo>
                    <a:lnTo>
                      <a:pt x="228" y="394"/>
                    </a:lnTo>
                    <a:lnTo>
                      <a:pt x="210" y="406"/>
                    </a:lnTo>
                    <a:lnTo>
                      <a:pt x="208" y="442"/>
                    </a:lnTo>
                    <a:lnTo>
                      <a:pt x="244" y="444"/>
                    </a:lnTo>
                    <a:lnTo>
                      <a:pt x="248" y="426"/>
                    </a:lnTo>
                    <a:lnTo>
                      <a:pt x="262" y="420"/>
                    </a:lnTo>
                    <a:lnTo>
                      <a:pt x="266" y="398"/>
                    </a:lnTo>
                    <a:lnTo>
                      <a:pt x="276" y="374"/>
                    </a:lnTo>
                    <a:lnTo>
                      <a:pt x="292" y="352"/>
                    </a:lnTo>
                    <a:lnTo>
                      <a:pt x="310" y="348"/>
                    </a:lnTo>
                    <a:lnTo>
                      <a:pt x="318" y="326"/>
                    </a:lnTo>
                    <a:lnTo>
                      <a:pt x="340" y="320"/>
                    </a:lnTo>
                    <a:lnTo>
                      <a:pt x="344" y="304"/>
                    </a:lnTo>
                    <a:lnTo>
                      <a:pt x="384" y="306"/>
                    </a:lnTo>
                    <a:lnTo>
                      <a:pt x="384" y="298"/>
                    </a:lnTo>
                    <a:lnTo>
                      <a:pt x="406" y="298"/>
                    </a:lnTo>
                    <a:lnTo>
                      <a:pt x="406" y="270"/>
                    </a:lnTo>
                    <a:lnTo>
                      <a:pt x="420" y="252"/>
                    </a:lnTo>
                    <a:lnTo>
                      <a:pt x="424" y="238"/>
                    </a:lnTo>
                    <a:lnTo>
                      <a:pt x="438" y="240"/>
                    </a:lnTo>
                    <a:lnTo>
                      <a:pt x="436" y="226"/>
                    </a:lnTo>
                    <a:lnTo>
                      <a:pt x="462" y="224"/>
                    </a:lnTo>
                    <a:lnTo>
                      <a:pt x="462" y="214"/>
                    </a:lnTo>
                    <a:lnTo>
                      <a:pt x="474" y="212"/>
                    </a:lnTo>
                    <a:lnTo>
                      <a:pt x="492" y="18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51" name="Freeform 7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5564188" y="2976563"/>
                <a:ext cx="187325" cy="195262"/>
              </a:xfrm>
              <a:custGeom>
                <a:avLst/>
                <a:gdLst>
                  <a:gd name="T0" fmla="*/ 2147483647 w 115"/>
                  <a:gd name="T1" fmla="*/ 2147483647 h 125"/>
                  <a:gd name="T2" fmla="*/ 2147483647 w 115"/>
                  <a:gd name="T3" fmla="*/ 2147483647 h 125"/>
                  <a:gd name="T4" fmla="*/ 2147483647 w 115"/>
                  <a:gd name="T5" fmla="*/ 2147483647 h 125"/>
                  <a:gd name="T6" fmla="*/ 2147483647 w 115"/>
                  <a:gd name="T7" fmla="*/ 0 h 125"/>
                  <a:gd name="T8" fmla="*/ 2147483647 w 115"/>
                  <a:gd name="T9" fmla="*/ 0 h 125"/>
                  <a:gd name="T10" fmla="*/ 2147483647 w 115"/>
                  <a:gd name="T11" fmla="*/ 2147483647 h 125"/>
                  <a:gd name="T12" fmla="*/ 2147483647 w 115"/>
                  <a:gd name="T13" fmla="*/ 2147483647 h 125"/>
                  <a:gd name="T14" fmla="*/ 0 w 115"/>
                  <a:gd name="T15" fmla="*/ 2147483647 h 125"/>
                  <a:gd name="T16" fmla="*/ 2147483647 w 115"/>
                  <a:gd name="T17" fmla="*/ 2147483647 h 125"/>
                  <a:gd name="T18" fmla="*/ 2147483647 w 115"/>
                  <a:gd name="T19" fmla="*/ 2147483647 h 125"/>
                  <a:gd name="T20" fmla="*/ 2147483647 w 115"/>
                  <a:gd name="T21" fmla="*/ 2147483647 h 125"/>
                  <a:gd name="T22" fmla="*/ 2147483647 w 115"/>
                  <a:gd name="T23" fmla="*/ 2147483647 h 125"/>
                  <a:gd name="T24" fmla="*/ 2147483647 w 115"/>
                  <a:gd name="T25" fmla="*/ 2147483647 h 125"/>
                  <a:gd name="T26" fmla="*/ 2147483647 w 115"/>
                  <a:gd name="T27" fmla="*/ 2147483647 h 125"/>
                  <a:gd name="T28" fmla="*/ 2147483647 w 115"/>
                  <a:gd name="T29" fmla="*/ 2147483647 h 125"/>
                  <a:gd name="T30" fmla="*/ 2147483647 w 115"/>
                  <a:gd name="T31" fmla="*/ 2147483647 h 12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15"/>
                  <a:gd name="T49" fmla="*/ 0 h 125"/>
                  <a:gd name="T50" fmla="*/ 115 w 115"/>
                  <a:gd name="T51" fmla="*/ 125 h 125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15" h="125">
                    <a:moveTo>
                      <a:pt x="114" y="46"/>
                    </a:moveTo>
                    <a:lnTo>
                      <a:pt x="88" y="34"/>
                    </a:lnTo>
                    <a:lnTo>
                      <a:pt x="56" y="34"/>
                    </a:lnTo>
                    <a:lnTo>
                      <a:pt x="60" y="0"/>
                    </a:lnTo>
                    <a:lnTo>
                      <a:pt x="28" y="0"/>
                    </a:lnTo>
                    <a:lnTo>
                      <a:pt x="24" y="24"/>
                    </a:lnTo>
                    <a:lnTo>
                      <a:pt x="6" y="30"/>
                    </a:lnTo>
                    <a:lnTo>
                      <a:pt x="0" y="74"/>
                    </a:lnTo>
                    <a:lnTo>
                      <a:pt x="8" y="96"/>
                    </a:lnTo>
                    <a:lnTo>
                      <a:pt x="20" y="114"/>
                    </a:lnTo>
                    <a:lnTo>
                      <a:pt x="58" y="124"/>
                    </a:lnTo>
                    <a:lnTo>
                      <a:pt x="56" y="102"/>
                    </a:lnTo>
                    <a:lnTo>
                      <a:pt x="64" y="84"/>
                    </a:lnTo>
                    <a:lnTo>
                      <a:pt x="76" y="66"/>
                    </a:lnTo>
                    <a:lnTo>
                      <a:pt x="100" y="70"/>
                    </a:lnTo>
                    <a:lnTo>
                      <a:pt x="114" y="4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52" name="Freeform 8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5383213" y="2863850"/>
                <a:ext cx="250825" cy="212725"/>
              </a:xfrm>
              <a:custGeom>
                <a:avLst/>
                <a:gdLst>
                  <a:gd name="T0" fmla="*/ 2147483647 w 153"/>
                  <a:gd name="T1" fmla="*/ 2147483647 h 137"/>
                  <a:gd name="T2" fmla="*/ 2147483647 w 153"/>
                  <a:gd name="T3" fmla="*/ 2147483647 h 137"/>
                  <a:gd name="T4" fmla="*/ 2147483647 w 153"/>
                  <a:gd name="T5" fmla="*/ 2147483647 h 137"/>
                  <a:gd name="T6" fmla="*/ 2147483647 w 153"/>
                  <a:gd name="T7" fmla="*/ 2147483647 h 137"/>
                  <a:gd name="T8" fmla="*/ 2147483647 w 153"/>
                  <a:gd name="T9" fmla="*/ 2147483647 h 137"/>
                  <a:gd name="T10" fmla="*/ 2147483647 w 153"/>
                  <a:gd name="T11" fmla="*/ 2147483647 h 137"/>
                  <a:gd name="T12" fmla="*/ 2147483647 w 153"/>
                  <a:gd name="T13" fmla="*/ 2147483647 h 137"/>
                  <a:gd name="T14" fmla="*/ 2147483647 w 153"/>
                  <a:gd name="T15" fmla="*/ 2147483647 h 137"/>
                  <a:gd name="T16" fmla="*/ 0 w 153"/>
                  <a:gd name="T17" fmla="*/ 2147483647 h 137"/>
                  <a:gd name="T18" fmla="*/ 2147483647 w 153"/>
                  <a:gd name="T19" fmla="*/ 2147483647 h 137"/>
                  <a:gd name="T20" fmla="*/ 2147483647 w 153"/>
                  <a:gd name="T21" fmla="*/ 2147483647 h 137"/>
                  <a:gd name="T22" fmla="*/ 2147483647 w 153"/>
                  <a:gd name="T23" fmla="*/ 2147483647 h 137"/>
                  <a:gd name="T24" fmla="*/ 2147483647 w 153"/>
                  <a:gd name="T25" fmla="*/ 2147483647 h 137"/>
                  <a:gd name="T26" fmla="*/ 2147483647 w 153"/>
                  <a:gd name="T27" fmla="*/ 2147483647 h 137"/>
                  <a:gd name="T28" fmla="*/ 2147483647 w 153"/>
                  <a:gd name="T29" fmla="*/ 0 h 137"/>
                  <a:gd name="T30" fmla="*/ 2147483647 w 153"/>
                  <a:gd name="T31" fmla="*/ 2147483647 h 137"/>
                  <a:gd name="T32" fmla="*/ 2147483647 w 153"/>
                  <a:gd name="T33" fmla="*/ 2147483647 h 137"/>
                  <a:gd name="T34" fmla="*/ 2147483647 w 153"/>
                  <a:gd name="T35" fmla="*/ 2147483647 h 137"/>
                  <a:gd name="T36" fmla="*/ 2147483647 w 153"/>
                  <a:gd name="T37" fmla="*/ 2147483647 h 137"/>
                  <a:gd name="T38" fmla="*/ 2147483647 w 153"/>
                  <a:gd name="T39" fmla="*/ 2147483647 h 137"/>
                  <a:gd name="T40" fmla="*/ 2147483647 w 153"/>
                  <a:gd name="T41" fmla="*/ 2147483647 h 137"/>
                  <a:gd name="T42" fmla="*/ 2147483647 w 153"/>
                  <a:gd name="T43" fmla="*/ 2147483647 h 137"/>
                  <a:gd name="T44" fmla="*/ 2147483647 w 153"/>
                  <a:gd name="T45" fmla="*/ 2147483647 h 137"/>
                  <a:gd name="T46" fmla="*/ 2147483647 w 153"/>
                  <a:gd name="T47" fmla="*/ 2147483647 h 137"/>
                  <a:gd name="T48" fmla="*/ 2147483647 w 153"/>
                  <a:gd name="T49" fmla="*/ 2147483647 h 13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53"/>
                  <a:gd name="T76" fmla="*/ 0 h 137"/>
                  <a:gd name="T77" fmla="*/ 153 w 153"/>
                  <a:gd name="T78" fmla="*/ 137 h 13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53" h="137">
                    <a:moveTo>
                      <a:pt x="116" y="118"/>
                    </a:moveTo>
                    <a:lnTo>
                      <a:pt x="110" y="110"/>
                    </a:lnTo>
                    <a:lnTo>
                      <a:pt x="72" y="112"/>
                    </a:lnTo>
                    <a:lnTo>
                      <a:pt x="72" y="124"/>
                    </a:lnTo>
                    <a:lnTo>
                      <a:pt x="50" y="124"/>
                    </a:lnTo>
                    <a:lnTo>
                      <a:pt x="48" y="136"/>
                    </a:lnTo>
                    <a:lnTo>
                      <a:pt x="20" y="130"/>
                    </a:lnTo>
                    <a:lnTo>
                      <a:pt x="6" y="112"/>
                    </a:lnTo>
                    <a:lnTo>
                      <a:pt x="0" y="82"/>
                    </a:lnTo>
                    <a:lnTo>
                      <a:pt x="22" y="84"/>
                    </a:lnTo>
                    <a:lnTo>
                      <a:pt x="22" y="54"/>
                    </a:lnTo>
                    <a:lnTo>
                      <a:pt x="34" y="56"/>
                    </a:lnTo>
                    <a:lnTo>
                      <a:pt x="34" y="22"/>
                    </a:lnTo>
                    <a:lnTo>
                      <a:pt x="56" y="10"/>
                    </a:lnTo>
                    <a:lnTo>
                      <a:pt x="70" y="0"/>
                    </a:lnTo>
                    <a:lnTo>
                      <a:pt x="108" y="6"/>
                    </a:lnTo>
                    <a:lnTo>
                      <a:pt x="128" y="8"/>
                    </a:lnTo>
                    <a:lnTo>
                      <a:pt x="138" y="20"/>
                    </a:lnTo>
                    <a:lnTo>
                      <a:pt x="138" y="34"/>
                    </a:lnTo>
                    <a:lnTo>
                      <a:pt x="150" y="56"/>
                    </a:lnTo>
                    <a:lnTo>
                      <a:pt x="152" y="72"/>
                    </a:lnTo>
                    <a:lnTo>
                      <a:pt x="134" y="76"/>
                    </a:lnTo>
                    <a:lnTo>
                      <a:pt x="132" y="98"/>
                    </a:lnTo>
                    <a:lnTo>
                      <a:pt x="114" y="106"/>
                    </a:lnTo>
                    <a:lnTo>
                      <a:pt x="116" y="118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53" name="Freeform 9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5197475" y="2605088"/>
                <a:ext cx="598488" cy="949325"/>
              </a:xfrm>
              <a:custGeom>
                <a:avLst/>
                <a:gdLst>
                  <a:gd name="T0" fmla="*/ 2147483647 w 363"/>
                  <a:gd name="T1" fmla="*/ 2147483647 h 605"/>
                  <a:gd name="T2" fmla="*/ 2147483647 w 363"/>
                  <a:gd name="T3" fmla="*/ 2147483647 h 605"/>
                  <a:gd name="T4" fmla="*/ 2147483647 w 363"/>
                  <a:gd name="T5" fmla="*/ 2147483647 h 605"/>
                  <a:gd name="T6" fmla="*/ 2147483647 w 363"/>
                  <a:gd name="T7" fmla="*/ 2147483647 h 605"/>
                  <a:gd name="T8" fmla="*/ 2147483647 w 363"/>
                  <a:gd name="T9" fmla="*/ 2147483647 h 605"/>
                  <a:gd name="T10" fmla="*/ 2147483647 w 363"/>
                  <a:gd name="T11" fmla="*/ 2147483647 h 605"/>
                  <a:gd name="T12" fmla="*/ 2147483647 w 363"/>
                  <a:gd name="T13" fmla="*/ 2147483647 h 605"/>
                  <a:gd name="T14" fmla="*/ 2147483647 w 363"/>
                  <a:gd name="T15" fmla="*/ 2147483647 h 605"/>
                  <a:gd name="T16" fmla="*/ 2147483647 w 363"/>
                  <a:gd name="T17" fmla="*/ 0 h 605"/>
                  <a:gd name="T18" fmla="*/ 2147483647 w 363"/>
                  <a:gd name="T19" fmla="*/ 2147483647 h 605"/>
                  <a:gd name="T20" fmla="*/ 2147483647 w 363"/>
                  <a:gd name="T21" fmla="*/ 2147483647 h 605"/>
                  <a:gd name="T22" fmla="*/ 2147483647 w 363"/>
                  <a:gd name="T23" fmla="*/ 2147483647 h 605"/>
                  <a:gd name="T24" fmla="*/ 2147483647 w 363"/>
                  <a:gd name="T25" fmla="*/ 2147483647 h 605"/>
                  <a:gd name="T26" fmla="*/ 2147483647 w 363"/>
                  <a:gd name="T27" fmla="*/ 2147483647 h 605"/>
                  <a:gd name="T28" fmla="*/ 2147483647 w 363"/>
                  <a:gd name="T29" fmla="*/ 2147483647 h 605"/>
                  <a:gd name="T30" fmla="*/ 2147483647 w 363"/>
                  <a:gd name="T31" fmla="*/ 2147483647 h 605"/>
                  <a:gd name="T32" fmla="*/ 2147483647 w 363"/>
                  <a:gd name="T33" fmla="*/ 2147483647 h 605"/>
                  <a:gd name="T34" fmla="*/ 2147483647 w 363"/>
                  <a:gd name="T35" fmla="*/ 2147483647 h 605"/>
                  <a:gd name="T36" fmla="*/ 2147483647 w 363"/>
                  <a:gd name="T37" fmla="*/ 2147483647 h 605"/>
                  <a:gd name="T38" fmla="*/ 2147483647 w 363"/>
                  <a:gd name="T39" fmla="*/ 2147483647 h 605"/>
                  <a:gd name="T40" fmla="*/ 2147483647 w 363"/>
                  <a:gd name="T41" fmla="*/ 2147483647 h 605"/>
                  <a:gd name="T42" fmla="*/ 2147483647 w 363"/>
                  <a:gd name="T43" fmla="*/ 2147483647 h 605"/>
                  <a:gd name="T44" fmla="*/ 2147483647 w 363"/>
                  <a:gd name="T45" fmla="*/ 2147483647 h 605"/>
                  <a:gd name="T46" fmla="*/ 2147483647 w 363"/>
                  <a:gd name="T47" fmla="*/ 2147483647 h 605"/>
                  <a:gd name="T48" fmla="*/ 2147483647 w 363"/>
                  <a:gd name="T49" fmla="*/ 2147483647 h 605"/>
                  <a:gd name="T50" fmla="*/ 2147483647 w 363"/>
                  <a:gd name="T51" fmla="*/ 2147483647 h 605"/>
                  <a:gd name="T52" fmla="*/ 2147483647 w 363"/>
                  <a:gd name="T53" fmla="*/ 2147483647 h 605"/>
                  <a:gd name="T54" fmla="*/ 2147483647 w 363"/>
                  <a:gd name="T55" fmla="*/ 2147483647 h 605"/>
                  <a:gd name="T56" fmla="*/ 2147483647 w 363"/>
                  <a:gd name="T57" fmla="*/ 2147483647 h 605"/>
                  <a:gd name="T58" fmla="*/ 2147483647 w 363"/>
                  <a:gd name="T59" fmla="*/ 2147483647 h 605"/>
                  <a:gd name="T60" fmla="*/ 2147483647 w 363"/>
                  <a:gd name="T61" fmla="*/ 2147483647 h 605"/>
                  <a:gd name="T62" fmla="*/ 2147483647 w 363"/>
                  <a:gd name="T63" fmla="*/ 2147483647 h 605"/>
                  <a:gd name="T64" fmla="*/ 2147483647 w 363"/>
                  <a:gd name="T65" fmla="*/ 2147483647 h 605"/>
                  <a:gd name="T66" fmla="*/ 2147483647 w 363"/>
                  <a:gd name="T67" fmla="*/ 2147483647 h 605"/>
                  <a:gd name="T68" fmla="*/ 2147483647 w 363"/>
                  <a:gd name="T69" fmla="*/ 2147483647 h 605"/>
                  <a:gd name="T70" fmla="*/ 2147483647 w 363"/>
                  <a:gd name="T71" fmla="*/ 2147483647 h 605"/>
                  <a:gd name="T72" fmla="*/ 2147483647 w 363"/>
                  <a:gd name="T73" fmla="*/ 2147483647 h 605"/>
                  <a:gd name="T74" fmla="*/ 2147483647 w 363"/>
                  <a:gd name="T75" fmla="*/ 2147483647 h 605"/>
                  <a:gd name="T76" fmla="*/ 2147483647 w 363"/>
                  <a:gd name="T77" fmla="*/ 2147483647 h 605"/>
                  <a:gd name="T78" fmla="*/ 2147483647 w 363"/>
                  <a:gd name="T79" fmla="*/ 2147483647 h 605"/>
                  <a:gd name="T80" fmla="*/ 2147483647 w 363"/>
                  <a:gd name="T81" fmla="*/ 2147483647 h 605"/>
                  <a:gd name="T82" fmla="*/ 2147483647 w 363"/>
                  <a:gd name="T83" fmla="*/ 2147483647 h 605"/>
                  <a:gd name="T84" fmla="*/ 2147483647 w 363"/>
                  <a:gd name="T85" fmla="*/ 2147483647 h 605"/>
                  <a:gd name="T86" fmla="*/ 2147483647 w 363"/>
                  <a:gd name="T87" fmla="*/ 2147483647 h 605"/>
                  <a:gd name="T88" fmla="*/ 2147483647 w 363"/>
                  <a:gd name="T89" fmla="*/ 2147483647 h 605"/>
                  <a:gd name="T90" fmla="*/ 2147483647 w 363"/>
                  <a:gd name="T91" fmla="*/ 2147483647 h 605"/>
                  <a:gd name="T92" fmla="*/ 2147483647 w 363"/>
                  <a:gd name="T93" fmla="*/ 2147483647 h 605"/>
                  <a:gd name="T94" fmla="*/ 2147483647 w 363"/>
                  <a:gd name="T95" fmla="*/ 2147483647 h 60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363"/>
                  <a:gd name="T145" fmla="*/ 0 h 605"/>
                  <a:gd name="T146" fmla="*/ 363 w 363"/>
                  <a:gd name="T147" fmla="*/ 605 h 60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363" h="605">
                    <a:moveTo>
                      <a:pt x="330" y="282"/>
                    </a:moveTo>
                    <a:lnTo>
                      <a:pt x="340" y="274"/>
                    </a:lnTo>
                    <a:lnTo>
                      <a:pt x="352" y="228"/>
                    </a:lnTo>
                    <a:lnTo>
                      <a:pt x="346" y="190"/>
                    </a:lnTo>
                    <a:lnTo>
                      <a:pt x="360" y="190"/>
                    </a:lnTo>
                    <a:lnTo>
                      <a:pt x="362" y="172"/>
                    </a:lnTo>
                    <a:lnTo>
                      <a:pt x="352" y="170"/>
                    </a:lnTo>
                    <a:lnTo>
                      <a:pt x="348" y="148"/>
                    </a:lnTo>
                    <a:lnTo>
                      <a:pt x="360" y="136"/>
                    </a:lnTo>
                    <a:lnTo>
                      <a:pt x="356" y="118"/>
                    </a:lnTo>
                    <a:lnTo>
                      <a:pt x="334" y="118"/>
                    </a:lnTo>
                    <a:lnTo>
                      <a:pt x="332" y="104"/>
                    </a:lnTo>
                    <a:lnTo>
                      <a:pt x="306" y="108"/>
                    </a:lnTo>
                    <a:lnTo>
                      <a:pt x="300" y="90"/>
                    </a:lnTo>
                    <a:lnTo>
                      <a:pt x="298" y="50"/>
                    </a:lnTo>
                    <a:lnTo>
                      <a:pt x="270" y="28"/>
                    </a:lnTo>
                    <a:lnTo>
                      <a:pt x="254" y="14"/>
                    </a:lnTo>
                    <a:lnTo>
                      <a:pt x="252" y="0"/>
                    </a:lnTo>
                    <a:lnTo>
                      <a:pt x="234" y="0"/>
                    </a:lnTo>
                    <a:lnTo>
                      <a:pt x="222" y="18"/>
                    </a:lnTo>
                    <a:lnTo>
                      <a:pt x="202" y="38"/>
                    </a:lnTo>
                    <a:lnTo>
                      <a:pt x="186" y="40"/>
                    </a:lnTo>
                    <a:lnTo>
                      <a:pt x="192" y="66"/>
                    </a:lnTo>
                    <a:lnTo>
                      <a:pt x="172" y="70"/>
                    </a:lnTo>
                    <a:lnTo>
                      <a:pt x="134" y="76"/>
                    </a:lnTo>
                    <a:lnTo>
                      <a:pt x="106" y="90"/>
                    </a:lnTo>
                    <a:lnTo>
                      <a:pt x="64" y="88"/>
                    </a:lnTo>
                    <a:lnTo>
                      <a:pt x="48" y="72"/>
                    </a:lnTo>
                    <a:lnTo>
                      <a:pt x="32" y="92"/>
                    </a:lnTo>
                    <a:lnTo>
                      <a:pt x="16" y="106"/>
                    </a:lnTo>
                    <a:lnTo>
                      <a:pt x="14" y="122"/>
                    </a:lnTo>
                    <a:lnTo>
                      <a:pt x="12" y="154"/>
                    </a:lnTo>
                    <a:lnTo>
                      <a:pt x="0" y="166"/>
                    </a:lnTo>
                    <a:lnTo>
                      <a:pt x="4" y="184"/>
                    </a:lnTo>
                    <a:lnTo>
                      <a:pt x="28" y="192"/>
                    </a:lnTo>
                    <a:lnTo>
                      <a:pt x="38" y="204"/>
                    </a:lnTo>
                    <a:lnTo>
                      <a:pt x="42" y="238"/>
                    </a:lnTo>
                    <a:lnTo>
                      <a:pt x="22" y="238"/>
                    </a:lnTo>
                    <a:lnTo>
                      <a:pt x="32" y="272"/>
                    </a:lnTo>
                    <a:lnTo>
                      <a:pt x="42" y="284"/>
                    </a:lnTo>
                    <a:lnTo>
                      <a:pt x="46" y="308"/>
                    </a:lnTo>
                    <a:lnTo>
                      <a:pt x="50" y="340"/>
                    </a:lnTo>
                    <a:lnTo>
                      <a:pt x="28" y="350"/>
                    </a:lnTo>
                    <a:lnTo>
                      <a:pt x="16" y="368"/>
                    </a:lnTo>
                    <a:lnTo>
                      <a:pt x="12" y="410"/>
                    </a:lnTo>
                    <a:lnTo>
                      <a:pt x="14" y="442"/>
                    </a:lnTo>
                    <a:lnTo>
                      <a:pt x="40" y="458"/>
                    </a:lnTo>
                    <a:lnTo>
                      <a:pt x="40" y="506"/>
                    </a:lnTo>
                    <a:lnTo>
                      <a:pt x="14" y="536"/>
                    </a:lnTo>
                    <a:lnTo>
                      <a:pt x="10" y="578"/>
                    </a:lnTo>
                    <a:lnTo>
                      <a:pt x="22" y="592"/>
                    </a:lnTo>
                    <a:lnTo>
                      <a:pt x="52" y="594"/>
                    </a:lnTo>
                    <a:lnTo>
                      <a:pt x="62" y="586"/>
                    </a:lnTo>
                    <a:lnTo>
                      <a:pt x="78" y="592"/>
                    </a:lnTo>
                    <a:lnTo>
                      <a:pt x="88" y="604"/>
                    </a:lnTo>
                    <a:lnTo>
                      <a:pt x="106" y="592"/>
                    </a:lnTo>
                    <a:lnTo>
                      <a:pt x="146" y="592"/>
                    </a:lnTo>
                    <a:lnTo>
                      <a:pt x="146" y="562"/>
                    </a:lnTo>
                    <a:lnTo>
                      <a:pt x="144" y="542"/>
                    </a:lnTo>
                    <a:lnTo>
                      <a:pt x="158" y="524"/>
                    </a:lnTo>
                    <a:lnTo>
                      <a:pt x="170" y="504"/>
                    </a:lnTo>
                    <a:lnTo>
                      <a:pt x="188" y="482"/>
                    </a:lnTo>
                    <a:lnTo>
                      <a:pt x="216" y="480"/>
                    </a:lnTo>
                    <a:lnTo>
                      <a:pt x="216" y="456"/>
                    </a:lnTo>
                    <a:lnTo>
                      <a:pt x="232" y="440"/>
                    </a:lnTo>
                    <a:lnTo>
                      <a:pt x="274" y="436"/>
                    </a:lnTo>
                    <a:lnTo>
                      <a:pt x="286" y="404"/>
                    </a:lnTo>
                    <a:lnTo>
                      <a:pt x="310" y="388"/>
                    </a:lnTo>
                    <a:lnTo>
                      <a:pt x="296" y="358"/>
                    </a:lnTo>
                    <a:lnTo>
                      <a:pt x="262" y="354"/>
                    </a:lnTo>
                    <a:lnTo>
                      <a:pt x="230" y="332"/>
                    </a:lnTo>
                    <a:lnTo>
                      <a:pt x="228" y="306"/>
                    </a:lnTo>
                    <a:lnTo>
                      <a:pt x="224" y="276"/>
                    </a:lnTo>
                    <a:lnTo>
                      <a:pt x="194" y="272"/>
                    </a:lnTo>
                    <a:lnTo>
                      <a:pt x="182" y="272"/>
                    </a:lnTo>
                    <a:lnTo>
                      <a:pt x="176" y="286"/>
                    </a:lnTo>
                    <a:lnTo>
                      <a:pt x="162" y="284"/>
                    </a:lnTo>
                    <a:lnTo>
                      <a:pt x="154" y="298"/>
                    </a:lnTo>
                    <a:lnTo>
                      <a:pt x="128" y="282"/>
                    </a:lnTo>
                    <a:lnTo>
                      <a:pt x="116" y="252"/>
                    </a:lnTo>
                    <a:lnTo>
                      <a:pt x="134" y="246"/>
                    </a:lnTo>
                    <a:lnTo>
                      <a:pt x="134" y="214"/>
                    </a:lnTo>
                    <a:lnTo>
                      <a:pt x="148" y="220"/>
                    </a:lnTo>
                    <a:lnTo>
                      <a:pt x="148" y="188"/>
                    </a:lnTo>
                    <a:lnTo>
                      <a:pt x="182" y="170"/>
                    </a:lnTo>
                    <a:lnTo>
                      <a:pt x="212" y="170"/>
                    </a:lnTo>
                    <a:lnTo>
                      <a:pt x="228" y="174"/>
                    </a:lnTo>
                    <a:lnTo>
                      <a:pt x="244" y="178"/>
                    </a:lnTo>
                    <a:lnTo>
                      <a:pt x="246" y="190"/>
                    </a:lnTo>
                    <a:lnTo>
                      <a:pt x="246" y="204"/>
                    </a:lnTo>
                    <a:lnTo>
                      <a:pt x="262" y="224"/>
                    </a:lnTo>
                    <a:lnTo>
                      <a:pt x="260" y="236"/>
                    </a:lnTo>
                    <a:lnTo>
                      <a:pt x="278" y="242"/>
                    </a:lnTo>
                    <a:lnTo>
                      <a:pt x="280" y="258"/>
                    </a:lnTo>
                    <a:lnTo>
                      <a:pt x="280" y="270"/>
                    </a:lnTo>
                    <a:lnTo>
                      <a:pt x="312" y="272"/>
                    </a:lnTo>
                    <a:lnTo>
                      <a:pt x="330" y="282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54" name="Freeform 10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5426075" y="3205163"/>
                <a:ext cx="858838" cy="552450"/>
              </a:xfrm>
              <a:custGeom>
                <a:avLst/>
                <a:gdLst>
                  <a:gd name="T0" fmla="*/ 2147483647 w 525"/>
                  <a:gd name="T1" fmla="*/ 2147483647 h 351"/>
                  <a:gd name="T2" fmla="*/ 2147483647 w 525"/>
                  <a:gd name="T3" fmla="*/ 2147483647 h 351"/>
                  <a:gd name="T4" fmla="*/ 2147483647 w 525"/>
                  <a:gd name="T5" fmla="*/ 2147483647 h 351"/>
                  <a:gd name="T6" fmla="*/ 2147483647 w 525"/>
                  <a:gd name="T7" fmla="*/ 2147483647 h 351"/>
                  <a:gd name="T8" fmla="*/ 2147483647 w 525"/>
                  <a:gd name="T9" fmla="*/ 0 h 351"/>
                  <a:gd name="T10" fmla="*/ 2147483647 w 525"/>
                  <a:gd name="T11" fmla="*/ 2147483647 h 351"/>
                  <a:gd name="T12" fmla="*/ 2147483647 w 525"/>
                  <a:gd name="T13" fmla="*/ 2147483647 h 351"/>
                  <a:gd name="T14" fmla="*/ 2147483647 w 525"/>
                  <a:gd name="T15" fmla="*/ 2147483647 h 351"/>
                  <a:gd name="T16" fmla="*/ 2147483647 w 525"/>
                  <a:gd name="T17" fmla="*/ 2147483647 h 351"/>
                  <a:gd name="T18" fmla="*/ 2147483647 w 525"/>
                  <a:gd name="T19" fmla="*/ 2147483647 h 351"/>
                  <a:gd name="T20" fmla="*/ 2147483647 w 525"/>
                  <a:gd name="T21" fmla="*/ 2147483647 h 351"/>
                  <a:gd name="T22" fmla="*/ 2147483647 w 525"/>
                  <a:gd name="T23" fmla="*/ 2147483647 h 351"/>
                  <a:gd name="T24" fmla="*/ 2147483647 w 525"/>
                  <a:gd name="T25" fmla="*/ 2147483647 h 351"/>
                  <a:gd name="T26" fmla="*/ 2147483647 w 525"/>
                  <a:gd name="T27" fmla="*/ 2147483647 h 351"/>
                  <a:gd name="T28" fmla="*/ 2147483647 w 525"/>
                  <a:gd name="T29" fmla="*/ 2147483647 h 351"/>
                  <a:gd name="T30" fmla="*/ 2147483647 w 525"/>
                  <a:gd name="T31" fmla="*/ 2147483647 h 351"/>
                  <a:gd name="T32" fmla="*/ 2147483647 w 525"/>
                  <a:gd name="T33" fmla="*/ 2147483647 h 351"/>
                  <a:gd name="T34" fmla="*/ 2147483647 w 525"/>
                  <a:gd name="T35" fmla="*/ 2147483647 h 351"/>
                  <a:gd name="T36" fmla="*/ 2147483647 w 525"/>
                  <a:gd name="T37" fmla="*/ 2147483647 h 351"/>
                  <a:gd name="T38" fmla="*/ 2147483647 w 525"/>
                  <a:gd name="T39" fmla="*/ 2147483647 h 351"/>
                  <a:gd name="T40" fmla="*/ 2147483647 w 525"/>
                  <a:gd name="T41" fmla="*/ 2147483647 h 351"/>
                  <a:gd name="T42" fmla="*/ 2147483647 w 525"/>
                  <a:gd name="T43" fmla="*/ 2147483647 h 351"/>
                  <a:gd name="T44" fmla="*/ 2147483647 w 525"/>
                  <a:gd name="T45" fmla="*/ 2147483647 h 351"/>
                  <a:gd name="T46" fmla="*/ 2147483647 w 525"/>
                  <a:gd name="T47" fmla="*/ 2147483647 h 351"/>
                  <a:gd name="T48" fmla="*/ 2147483647 w 525"/>
                  <a:gd name="T49" fmla="*/ 2147483647 h 351"/>
                  <a:gd name="T50" fmla="*/ 2147483647 w 525"/>
                  <a:gd name="T51" fmla="*/ 2147483647 h 351"/>
                  <a:gd name="T52" fmla="*/ 2147483647 w 525"/>
                  <a:gd name="T53" fmla="*/ 2147483647 h 351"/>
                  <a:gd name="T54" fmla="*/ 2147483647 w 525"/>
                  <a:gd name="T55" fmla="*/ 2147483647 h 351"/>
                  <a:gd name="T56" fmla="*/ 2147483647 w 525"/>
                  <a:gd name="T57" fmla="*/ 2147483647 h 351"/>
                  <a:gd name="T58" fmla="*/ 2147483647 w 525"/>
                  <a:gd name="T59" fmla="*/ 2147483647 h 351"/>
                  <a:gd name="T60" fmla="*/ 2147483647 w 525"/>
                  <a:gd name="T61" fmla="*/ 2147483647 h 351"/>
                  <a:gd name="T62" fmla="*/ 2147483647 w 525"/>
                  <a:gd name="T63" fmla="*/ 2147483647 h 351"/>
                  <a:gd name="T64" fmla="*/ 2147483647 w 525"/>
                  <a:gd name="T65" fmla="*/ 2147483647 h 351"/>
                  <a:gd name="T66" fmla="*/ 2147483647 w 525"/>
                  <a:gd name="T67" fmla="*/ 2147483647 h 351"/>
                  <a:gd name="T68" fmla="*/ 2147483647 w 525"/>
                  <a:gd name="T69" fmla="*/ 2147483647 h 35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525"/>
                  <a:gd name="T106" fmla="*/ 0 h 351"/>
                  <a:gd name="T107" fmla="*/ 525 w 525"/>
                  <a:gd name="T108" fmla="*/ 351 h 351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525" h="351">
                    <a:moveTo>
                      <a:pt x="6" y="206"/>
                    </a:moveTo>
                    <a:lnTo>
                      <a:pt x="6" y="176"/>
                    </a:lnTo>
                    <a:lnTo>
                      <a:pt x="0" y="154"/>
                    </a:lnTo>
                    <a:lnTo>
                      <a:pt x="42" y="100"/>
                    </a:lnTo>
                    <a:lnTo>
                      <a:pt x="72" y="94"/>
                    </a:lnTo>
                    <a:lnTo>
                      <a:pt x="78" y="70"/>
                    </a:lnTo>
                    <a:lnTo>
                      <a:pt x="94" y="52"/>
                    </a:lnTo>
                    <a:lnTo>
                      <a:pt x="126" y="52"/>
                    </a:lnTo>
                    <a:lnTo>
                      <a:pt x="144" y="18"/>
                    </a:lnTo>
                    <a:lnTo>
                      <a:pt x="168" y="0"/>
                    </a:lnTo>
                    <a:lnTo>
                      <a:pt x="174" y="18"/>
                    </a:lnTo>
                    <a:lnTo>
                      <a:pt x="196" y="20"/>
                    </a:lnTo>
                    <a:lnTo>
                      <a:pt x="208" y="32"/>
                    </a:lnTo>
                    <a:lnTo>
                      <a:pt x="242" y="24"/>
                    </a:lnTo>
                    <a:lnTo>
                      <a:pt x="262" y="18"/>
                    </a:lnTo>
                    <a:lnTo>
                      <a:pt x="264" y="50"/>
                    </a:lnTo>
                    <a:lnTo>
                      <a:pt x="262" y="74"/>
                    </a:lnTo>
                    <a:lnTo>
                      <a:pt x="280" y="84"/>
                    </a:lnTo>
                    <a:lnTo>
                      <a:pt x="298" y="92"/>
                    </a:lnTo>
                    <a:lnTo>
                      <a:pt x="322" y="76"/>
                    </a:lnTo>
                    <a:lnTo>
                      <a:pt x="348" y="52"/>
                    </a:lnTo>
                    <a:lnTo>
                      <a:pt x="360" y="32"/>
                    </a:lnTo>
                    <a:lnTo>
                      <a:pt x="362" y="16"/>
                    </a:lnTo>
                    <a:lnTo>
                      <a:pt x="380" y="10"/>
                    </a:lnTo>
                    <a:lnTo>
                      <a:pt x="400" y="20"/>
                    </a:lnTo>
                    <a:lnTo>
                      <a:pt x="430" y="26"/>
                    </a:lnTo>
                    <a:lnTo>
                      <a:pt x="450" y="30"/>
                    </a:lnTo>
                    <a:lnTo>
                      <a:pt x="474" y="32"/>
                    </a:lnTo>
                    <a:lnTo>
                      <a:pt x="496" y="38"/>
                    </a:lnTo>
                    <a:lnTo>
                      <a:pt x="524" y="42"/>
                    </a:lnTo>
                    <a:lnTo>
                      <a:pt x="522" y="74"/>
                    </a:lnTo>
                    <a:lnTo>
                      <a:pt x="494" y="82"/>
                    </a:lnTo>
                    <a:lnTo>
                      <a:pt x="462" y="82"/>
                    </a:lnTo>
                    <a:lnTo>
                      <a:pt x="448" y="100"/>
                    </a:lnTo>
                    <a:lnTo>
                      <a:pt x="434" y="102"/>
                    </a:lnTo>
                    <a:lnTo>
                      <a:pt x="418" y="116"/>
                    </a:lnTo>
                    <a:lnTo>
                      <a:pt x="404" y="124"/>
                    </a:lnTo>
                    <a:lnTo>
                      <a:pt x="406" y="158"/>
                    </a:lnTo>
                    <a:lnTo>
                      <a:pt x="382" y="156"/>
                    </a:lnTo>
                    <a:lnTo>
                      <a:pt x="364" y="176"/>
                    </a:lnTo>
                    <a:lnTo>
                      <a:pt x="362" y="200"/>
                    </a:lnTo>
                    <a:lnTo>
                      <a:pt x="340" y="210"/>
                    </a:lnTo>
                    <a:lnTo>
                      <a:pt x="332" y="214"/>
                    </a:lnTo>
                    <a:lnTo>
                      <a:pt x="334" y="252"/>
                    </a:lnTo>
                    <a:lnTo>
                      <a:pt x="312" y="264"/>
                    </a:lnTo>
                    <a:lnTo>
                      <a:pt x="306" y="282"/>
                    </a:lnTo>
                    <a:lnTo>
                      <a:pt x="298" y="298"/>
                    </a:lnTo>
                    <a:lnTo>
                      <a:pt x="288" y="312"/>
                    </a:lnTo>
                    <a:lnTo>
                      <a:pt x="270" y="310"/>
                    </a:lnTo>
                    <a:lnTo>
                      <a:pt x="264" y="336"/>
                    </a:lnTo>
                    <a:lnTo>
                      <a:pt x="240" y="340"/>
                    </a:lnTo>
                    <a:lnTo>
                      <a:pt x="230" y="320"/>
                    </a:lnTo>
                    <a:lnTo>
                      <a:pt x="212" y="324"/>
                    </a:lnTo>
                    <a:lnTo>
                      <a:pt x="198" y="326"/>
                    </a:lnTo>
                    <a:lnTo>
                      <a:pt x="194" y="346"/>
                    </a:lnTo>
                    <a:lnTo>
                      <a:pt x="154" y="338"/>
                    </a:lnTo>
                    <a:lnTo>
                      <a:pt x="150" y="316"/>
                    </a:lnTo>
                    <a:lnTo>
                      <a:pt x="132" y="314"/>
                    </a:lnTo>
                    <a:lnTo>
                      <a:pt x="112" y="328"/>
                    </a:lnTo>
                    <a:lnTo>
                      <a:pt x="102" y="346"/>
                    </a:lnTo>
                    <a:lnTo>
                      <a:pt x="76" y="342"/>
                    </a:lnTo>
                    <a:lnTo>
                      <a:pt x="66" y="350"/>
                    </a:lnTo>
                    <a:lnTo>
                      <a:pt x="26" y="348"/>
                    </a:lnTo>
                    <a:lnTo>
                      <a:pt x="12" y="324"/>
                    </a:lnTo>
                    <a:lnTo>
                      <a:pt x="10" y="292"/>
                    </a:lnTo>
                    <a:lnTo>
                      <a:pt x="16" y="270"/>
                    </a:lnTo>
                    <a:lnTo>
                      <a:pt x="24" y="256"/>
                    </a:lnTo>
                    <a:lnTo>
                      <a:pt x="54" y="254"/>
                    </a:lnTo>
                    <a:lnTo>
                      <a:pt x="60" y="236"/>
                    </a:lnTo>
                    <a:lnTo>
                      <a:pt x="26" y="230"/>
                    </a:lnTo>
                    <a:lnTo>
                      <a:pt x="6" y="20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55" name="Freeform 11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5667375" y="3649663"/>
                <a:ext cx="658813" cy="571500"/>
              </a:xfrm>
              <a:custGeom>
                <a:avLst/>
                <a:gdLst>
                  <a:gd name="T0" fmla="*/ 0 w 401"/>
                  <a:gd name="T1" fmla="*/ 2147483647 h 363"/>
                  <a:gd name="T2" fmla="*/ 2147483647 w 401"/>
                  <a:gd name="T3" fmla="*/ 2147483647 h 363"/>
                  <a:gd name="T4" fmla="*/ 2147483647 w 401"/>
                  <a:gd name="T5" fmla="*/ 2147483647 h 363"/>
                  <a:gd name="T6" fmla="*/ 2147483647 w 401"/>
                  <a:gd name="T7" fmla="*/ 2147483647 h 363"/>
                  <a:gd name="T8" fmla="*/ 2147483647 w 401"/>
                  <a:gd name="T9" fmla="*/ 2147483647 h 363"/>
                  <a:gd name="T10" fmla="*/ 2147483647 w 401"/>
                  <a:gd name="T11" fmla="*/ 2147483647 h 363"/>
                  <a:gd name="T12" fmla="*/ 2147483647 w 401"/>
                  <a:gd name="T13" fmla="*/ 2147483647 h 363"/>
                  <a:gd name="T14" fmla="*/ 2147483647 w 401"/>
                  <a:gd name="T15" fmla="*/ 2147483647 h 363"/>
                  <a:gd name="T16" fmla="*/ 2147483647 w 401"/>
                  <a:gd name="T17" fmla="*/ 2147483647 h 363"/>
                  <a:gd name="T18" fmla="*/ 2147483647 w 401"/>
                  <a:gd name="T19" fmla="*/ 2147483647 h 363"/>
                  <a:gd name="T20" fmla="*/ 2147483647 w 401"/>
                  <a:gd name="T21" fmla="*/ 0 h 363"/>
                  <a:gd name="T22" fmla="*/ 2147483647 w 401"/>
                  <a:gd name="T23" fmla="*/ 2147483647 h 363"/>
                  <a:gd name="T24" fmla="*/ 2147483647 w 401"/>
                  <a:gd name="T25" fmla="*/ 2147483647 h 363"/>
                  <a:gd name="T26" fmla="*/ 2147483647 w 401"/>
                  <a:gd name="T27" fmla="*/ 2147483647 h 363"/>
                  <a:gd name="T28" fmla="*/ 2147483647 w 401"/>
                  <a:gd name="T29" fmla="*/ 2147483647 h 363"/>
                  <a:gd name="T30" fmla="*/ 2147483647 w 401"/>
                  <a:gd name="T31" fmla="*/ 2147483647 h 363"/>
                  <a:gd name="T32" fmla="*/ 2147483647 w 401"/>
                  <a:gd name="T33" fmla="*/ 2147483647 h 363"/>
                  <a:gd name="T34" fmla="*/ 2147483647 w 401"/>
                  <a:gd name="T35" fmla="*/ 2147483647 h 363"/>
                  <a:gd name="T36" fmla="*/ 2147483647 w 401"/>
                  <a:gd name="T37" fmla="*/ 2147483647 h 363"/>
                  <a:gd name="T38" fmla="*/ 2147483647 w 401"/>
                  <a:gd name="T39" fmla="*/ 2147483647 h 363"/>
                  <a:gd name="T40" fmla="*/ 2147483647 w 401"/>
                  <a:gd name="T41" fmla="*/ 2147483647 h 363"/>
                  <a:gd name="T42" fmla="*/ 2147483647 w 401"/>
                  <a:gd name="T43" fmla="*/ 2147483647 h 363"/>
                  <a:gd name="T44" fmla="*/ 2147483647 w 401"/>
                  <a:gd name="T45" fmla="*/ 2147483647 h 363"/>
                  <a:gd name="T46" fmla="*/ 2147483647 w 401"/>
                  <a:gd name="T47" fmla="*/ 2147483647 h 363"/>
                  <a:gd name="T48" fmla="*/ 2147483647 w 401"/>
                  <a:gd name="T49" fmla="*/ 2147483647 h 363"/>
                  <a:gd name="T50" fmla="*/ 2147483647 w 401"/>
                  <a:gd name="T51" fmla="*/ 2147483647 h 363"/>
                  <a:gd name="T52" fmla="*/ 2147483647 w 401"/>
                  <a:gd name="T53" fmla="*/ 2147483647 h 363"/>
                  <a:gd name="T54" fmla="*/ 2147483647 w 401"/>
                  <a:gd name="T55" fmla="*/ 2147483647 h 363"/>
                  <a:gd name="T56" fmla="*/ 2147483647 w 401"/>
                  <a:gd name="T57" fmla="*/ 2147483647 h 363"/>
                  <a:gd name="T58" fmla="*/ 2147483647 w 401"/>
                  <a:gd name="T59" fmla="*/ 2147483647 h 363"/>
                  <a:gd name="T60" fmla="*/ 2147483647 w 401"/>
                  <a:gd name="T61" fmla="*/ 2147483647 h 363"/>
                  <a:gd name="T62" fmla="*/ 2147483647 w 401"/>
                  <a:gd name="T63" fmla="*/ 2147483647 h 363"/>
                  <a:gd name="T64" fmla="*/ 2147483647 w 401"/>
                  <a:gd name="T65" fmla="*/ 2147483647 h 363"/>
                  <a:gd name="T66" fmla="*/ 2147483647 w 401"/>
                  <a:gd name="T67" fmla="*/ 2147483647 h 363"/>
                  <a:gd name="T68" fmla="*/ 2147483647 w 401"/>
                  <a:gd name="T69" fmla="*/ 2147483647 h 363"/>
                  <a:gd name="T70" fmla="*/ 2147483647 w 401"/>
                  <a:gd name="T71" fmla="*/ 2147483647 h 363"/>
                  <a:gd name="T72" fmla="*/ 2147483647 w 401"/>
                  <a:gd name="T73" fmla="*/ 2147483647 h 363"/>
                  <a:gd name="T74" fmla="*/ 2147483647 w 401"/>
                  <a:gd name="T75" fmla="*/ 2147483647 h 363"/>
                  <a:gd name="T76" fmla="*/ 2147483647 w 401"/>
                  <a:gd name="T77" fmla="*/ 2147483647 h 363"/>
                  <a:gd name="T78" fmla="*/ 2147483647 w 401"/>
                  <a:gd name="T79" fmla="*/ 2147483647 h 363"/>
                  <a:gd name="T80" fmla="*/ 2147483647 w 401"/>
                  <a:gd name="T81" fmla="*/ 2147483647 h 363"/>
                  <a:gd name="T82" fmla="*/ 2147483647 w 401"/>
                  <a:gd name="T83" fmla="*/ 2147483647 h 363"/>
                  <a:gd name="T84" fmla="*/ 2147483647 w 401"/>
                  <a:gd name="T85" fmla="*/ 2147483647 h 363"/>
                  <a:gd name="T86" fmla="*/ 2147483647 w 401"/>
                  <a:gd name="T87" fmla="*/ 2147483647 h 363"/>
                  <a:gd name="T88" fmla="*/ 2147483647 w 401"/>
                  <a:gd name="T89" fmla="*/ 2147483647 h 363"/>
                  <a:gd name="T90" fmla="*/ 2147483647 w 401"/>
                  <a:gd name="T91" fmla="*/ 2147483647 h 363"/>
                  <a:gd name="T92" fmla="*/ 2147483647 w 401"/>
                  <a:gd name="T93" fmla="*/ 2147483647 h 363"/>
                  <a:gd name="T94" fmla="*/ 2147483647 w 401"/>
                  <a:gd name="T95" fmla="*/ 2147483647 h 363"/>
                  <a:gd name="T96" fmla="*/ 2147483647 w 401"/>
                  <a:gd name="T97" fmla="*/ 2147483647 h 363"/>
                  <a:gd name="T98" fmla="*/ 2147483647 w 401"/>
                  <a:gd name="T99" fmla="*/ 2147483647 h 363"/>
                  <a:gd name="T100" fmla="*/ 2147483647 w 401"/>
                  <a:gd name="T101" fmla="*/ 2147483647 h 363"/>
                  <a:gd name="T102" fmla="*/ 2147483647 w 401"/>
                  <a:gd name="T103" fmla="*/ 2147483647 h 363"/>
                  <a:gd name="T104" fmla="*/ 2147483647 w 401"/>
                  <a:gd name="T105" fmla="*/ 2147483647 h 363"/>
                  <a:gd name="T106" fmla="*/ 2147483647 w 401"/>
                  <a:gd name="T107" fmla="*/ 2147483647 h 363"/>
                  <a:gd name="T108" fmla="*/ 2147483647 w 401"/>
                  <a:gd name="T109" fmla="*/ 2147483647 h 363"/>
                  <a:gd name="T110" fmla="*/ 2147483647 w 401"/>
                  <a:gd name="T111" fmla="*/ 2147483647 h 363"/>
                  <a:gd name="T112" fmla="*/ 0 w 401"/>
                  <a:gd name="T113" fmla="*/ 2147483647 h 36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01"/>
                  <a:gd name="T172" fmla="*/ 0 h 363"/>
                  <a:gd name="T173" fmla="*/ 401 w 401"/>
                  <a:gd name="T174" fmla="*/ 363 h 363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01" h="363">
                    <a:moveTo>
                      <a:pt x="0" y="70"/>
                    </a:moveTo>
                    <a:lnTo>
                      <a:pt x="12" y="52"/>
                    </a:lnTo>
                    <a:lnTo>
                      <a:pt x="36" y="58"/>
                    </a:lnTo>
                    <a:lnTo>
                      <a:pt x="46" y="56"/>
                    </a:lnTo>
                    <a:lnTo>
                      <a:pt x="46" y="42"/>
                    </a:lnTo>
                    <a:lnTo>
                      <a:pt x="82" y="32"/>
                    </a:lnTo>
                    <a:lnTo>
                      <a:pt x="94" y="50"/>
                    </a:lnTo>
                    <a:lnTo>
                      <a:pt x="110" y="50"/>
                    </a:lnTo>
                    <a:lnTo>
                      <a:pt x="120" y="22"/>
                    </a:lnTo>
                    <a:lnTo>
                      <a:pt x="138" y="24"/>
                    </a:lnTo>
                    <a:lnTo>
                      <a:pt x="154" y="0"/>
                    </a:lnTo>
                    <a:lnTo>
                      <a:pt x="168" y="8"/>
                    </a:lnTo>
                    <a:lnTo>
                      <a:pt x="184" y="30"/>
                    </a:lnTo>
                    <a:lnTo>
                      <a:pt x="212" y="38"/>
                    </a:lnTo>
                    <a:lnTo>
                      <a:pt x="230" y="44"/>
                    </a:lnTo>
                    <a:lnTo>
                      <a:pt x="246" y="64"/>
                    </a:lnTo>
                    <a:lnTo>
                      <a:pt x="278" y="102"/>
                    </a:lnTo>
                    <a:lnTo>
                      <a:pt x="298" y="118"/>
                    </a:lnTo>
                    <a:lnTo>
                      <a:pt x="298" y="150"/>
                    </a:lnTo>
                    <a:lnTo>
                      <a:pt x="318" y="166"/>
                    </a:lnTo>
                    <a:lnTo>
                      <a:pt x="338" y="178"/>
                    </a:lnTo>
                    <a:lnTo>
                      <a:pt x="342" y="200"/>
                    </a:lnTo>
                    <a:lnTo>
                      <a:pt x="360" y="216"/>
                    </a:lnTo>
                    <a:lnTo>
                      <a:pt x="366" y="232"/>
                    </a:lnTo>
                    <a:lnTo>
                      <a:pt x="398" y="230"/>
                    </a:lnTo>
                    <a:lnTo>
                      <a:pt x="400" y="266"/>
                    </a:lnTo>
                    <a:lnTo>
                      <a:pt x="358" y="264"/>
                    </a:lnTo>
                    <a:lnTo>
                      <a:pt x="350" y="272"/>
                    </a:lnTo>
                    <a:lnTo>
                      <a:pt x="360" y="296"/>
                    </a:lnTo>
                    <a:lnTo>
                      <a:pt x="346" y="312"/>
                    </a:lnTo>
                    <a:lnTo>
                      <a:pt x="344" y="348"/>
                    </a:lnTo>
                    <a:lnTo>
                      <a:pt x="334" y="362"/>
                    </a:lnTo>
                    <a:lnTo>
                      <a:pt x="302" y="348"/>
                    </a:lnTo>
                    <a:lnTo>
                      <a:pt x="288" y="344"/>
                    </a:lnTo>
                    <a:lnTo>
                      <a:pt x="274" y="356"/>
                    </a:lnTo>
                    <a:lnTo>
                      <a:pt x="258" y="350"/>
                    </a:lnTo>
                    <a:lnTo>
                      <a:pt x="258" y="344"/>
                    </a:lnTo>
                    <a:lnTo>
                      <a:pt x="200" y="344"/>
                    </a:lnTo>
                    <a:lnTo>
                      <a:pt x="178" y="340"/>
                    </a:lnTo>
                    <a:lnTo>
                      <a:pt x="180" y="318"/>
                    </a:lnTo>
                    <a:lnTo>
                      <a:pt x="168" y="304"/>
                    </a:lnTo>
                    <a:lnTo>
                      <a:pt x="170" y="296"/>
                    </a:lnTo>
                    <a:lnTo>
                      <a:pt x="138" y="296"/>
                    </a:lnTo>
                    <a:lnTo>
                      <a:pt x="140" y="270"/>
                    </a:lnTo>
                    <a:lnTo>
                      <a:pt x="158" y="254"/>
                    </a:lnTo>
                    <a:lnTo>
                      <a:pt x="152" y="222"/>
                    </a:lnTo>
                    <a:lnTo>
                      <a:pt x="124" y="204"/>
                    </a:lnTo>
                    <a:lnTo>
                      <a:pt x="118" y="174"/>
                    </a:lnTo>
                    <a:lnTo>
                      <a:pt x="86" y="166"/>
                    </a:lnTo>
                    <a:lnTo>
                      <a:pt x="92" y="152"/>
                    </a:lnTo>
                    <a:lnTo>
                      <a:pt x="96" y="124"/>
                    </a:lnTo>
                    <a:lnTo>
                      <a:pt x="66" y="126"/>
                    </a:lnTo>
                    <a:lnTo>
                      <a:pt x="60" y="108"/>
                    </a:lnTo>
                    <a:lnTo>
                      <a:pt x="34" y="98"/>
                    </a:lnTo>
                    <a:lnTo>
                      <a:pt x="20" y="82"/>
                    </a:lnTo>
                    <a:lnTo>
                      <a:pt x="2" y="80"/>
                    </a:lnTo>
                    <a:lnTo>
                      <a:pt x="0" y="7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56" name="Freeform 12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6226175" y="4068763"/>
                <a:ext cx="112713" cy="163512"/>
              </a:xfrm>
              <a:custGeom>
                <a:avLst/>
                <a:gdLst>
                  <a:gd name="T0" fmla="*/ 2147483647 w 69"/>
                  <a:gd name="T1" fmla="*/ 0 h 105"/>
                  <a:gd name="T2" fmla="*/ 2147483647 w 69"/>
                  <a:gd name="T3" fmla="*/ 2147483647 h 105"/>
                  <a:gd name="T4" fmla="*/ 2147483647 w 69"/>
                  <a:gd name="T5" fmla="*/ 2147483647 h 105"/>
                  <a:gd name="T6" fmla="*/ 2147483647 w 69"/>
                  <a:gd name="T7" fmla="*/ 2147483647 h 105"/>
                  <a:gd name="T8" fmla="*/ 2147483647 w 69"/>
                  <a:gd name="T9" fmla="*/ 2147483647 h 105"/>
                  <a:gd name="T10" fmla="*/ 2147483647 w 69"/>
                  <a:gd name="T11" fmla="*/ 2147483647 h 105"/>
                  <a:gd name="T12" fmla="*/ 2147483647 w 69"/>
                  <a:gd name="T13" fmla="*/ 2147483647 h 105"/>
                  <a:gd name="T14" fmla="*/ 0 w 69"/>
                  <a:gd name="T15" fmla="*/ 2147483647 h 105"/>
                  <a:gd name="T16" fmla="*/ 2147483647 w 69"/>
                  <a:gd name="T17" fmla="*/ 2147483647 h 105"/>
                  <a:gd name="T18" fmla="*/ 2147483647 w 69"/>
                  <a:gd name="T19" fmla="*/ 2147483647 h 105"/>
                  <a:gd name="T20" fmla="*/ 2147483647 w 69"/>
                  <a:gd name="T21" fmla="*/ 2147483647 h 105"/>
                  <a:gd name="T22" fmla="*/ 2147483647 w 69"/>
                  <a:gd name="T23" fmla="*/ 0 h 10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69"/>
                  <a:gd name="T37" fmla="*/ 0 h 105"/>
                  <a:gd name="T38" fmla="*/ 69 w 69"/>
                  <a:gd name="T39" fmla="*/ 105 h 10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69" h="105">
                    <a:moveTo>
                      <a:pt x="38" y="0"/>
                    </a:moveTo>
                    <a:lnTo>
                      <a:pt x="48" y="28"/>
                    </a:lnTo>
                    <a:lnTo>
                      <a:pt x="68" y="44"/>
                    </a:lnTo>
                    <a:lnTo>
                      <a:pt x="66" y="72"/>
                    </a:lnTo>
                    <a:lnTo>
                      <a:pt x="46" y="90"/>
                    </a:lnTo>
                    <a:lnTo>
                      <a:pt x="32" y="104"/>
                    </a:lnTo>
                    <a:lnTo>
                      <a:pt x="14" y="102"/>
                    </a:lnTo>
                    <a:lnTo>
                      <a:pt x="0" y="74"/>
                    </a:lnTo>
                    <a:lnTo>
                      <a:pt x="4" y="44"/>
                    </a:lnTo>
                    <a:lnTo>
                      <a:pt x="16" y="28"/>
                    </a:lnTo>
                    <a:lnTo>
                      <a:pt x="12" y="8"/>
                    </a:lnTo>
                    <a:lnTo>
                      <a:pt x="38" y="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57" name="Freeform 13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5919788" y="4183063"/>
                <a:ext cx="469900" cy="550862"/>
              </a:xfrm>
              <a:custGeom>
                <a:avLst/>
                <a:gdLst>
                  <a:gd name="T0" fmla="*/ 2147483647 w 285"/>
                  <a:gd name="T1" fmla="*/ 0 h 349"/>
                  <a:gd name="T2" fmla="*/ 2147483647 w 285"/>
                  <a:gd name="T3" fmla="*/ 2147483647 h 349"/>
                  <a:gd name="T4" fmla="*/ 2147483647 w 285"/>
                  <a:gd name="T5" fmla="*/ 2147483647 h 349"/>
                  <a:gd name="T6" fmla="*/ 2147483647 w 285"/>
                  <a:gd name="T7" fmla="*/ 2147483647 h 349"/>
                  <a:gd name="T8" fmla="*/ 2147483647 w 285"/>
                  <a:gd name="T9" fmla="*/ 2147483647 h 349"/>
                  <a:gd name="T10" fmla="*/ 2147483647 w 285"/>
                  <a:gd name="T11" fmla="*/ 2147483647 h 349"/>
                  <a:gd name="T12" fmla="*/ 2147483647 w 285"/>
                  <a:gd name="T13" fmla="*/ 2147483647 h 349"/>
                  <a:gd name="T14" fmla="*/ 2147483647 w 285"/>
                  <a:gd name="T15" fmla="*/ 2147483647 h 349"/>
                  <a:gd name="T16" fmla="*/ 2147483647 w 285"/>
                  <a:gd name="T17" fmla="*/ 2147483647 h 349"/>
                  <a:gd name="T18" fmla="*/ 0 w 285"/>
                  <a:gd name="T19" fmla="*/ 2147483647 h 349"/>
                  <a:gd name="T20" fmla="*/ 0 w 285"/>
                  <a:gd name="T21" fmla="*/ 2147483647 h 349"/>
                  <a:gd name="T22" fmla="*/ 0 w 285"/>
                  <a:gd name="T23" fmla="*/ 2147483647 h 349"/>
                  <a:gd name="T24" fmla="*/ 2147483647 w 285"/>
                  <a:gd name="T25" fmla="*/ 2147483647 h 349"/>
                  <a:gd name="T26" fmla="*/ 2147483647 w 285"/>
                  <a:gd name="T27" fmla="*/ 2147483647 h 349"/>
                  <a:gd name="T28" fmla="*/ 2147483647 w 285"/>
                  <a:gd name="T29" fmla="*/ 2147483647 h 349"/>
                  <a:gd name="T30" fmla="*/ 2147483647 w 285"/>
                  <a:gd name="T31" fmla="*/ 2147483647 h 349"/>
                  <a:gd name="T32" fmla="*/ 2147483647 w 285"/>
                  <a:gd name="T33" fmla="*/ 2147483647 h 349"/>
                  <a:gd name="T34" fmla="*/ 2147483647 w 285"/>
                  <a:gd name="T35" fmla="*/ 2147483647 h 349"/>
                  <a:gd name="T36" fmla="*/ 2147483647 w 285"/>
                  <a:gd name="T37" fmla="*/ 2147483647 h 349"/>
                  <a:gd name="T38" fmla="*/ 2147483647 w 285"/>
                  <a:gd name="T39" fmla="*/ 2147483647 h 349"/>
                  <a:gd name="T40" fmla="*/ 2147483647 w 285"/>
                  <a:gd name="T41" fmla="*/ 2147483647 h 349"/>
                  <a:gd name="T42" fmla="*/ 2147483647 w 285"/>
                  <a:gd name="T43" fmla="*/ 2147483647 h 349"/>
                  <a:gd name="T44" fmla="*/ 2147483647 w 285"/>
                  <a:gd name="T45" fmla="*/ 2147483647 h 349"/>
                  <a:gd name="T46" fmla="*/ 2147483647 w 285"/>
                  <a:gd name="T47" fmla="*/ 2147483647 h 349"/>
                  <a:gd name="T48" fmla="*/ 2147483647 w 285"/>
                  <a:gd name="T49" fmla="*/ 2147483647 h 349"/>
                  <a:gd name="T50" fmla="*/ 2147483647 w 285"/>
                  <a:gd name="T51" fmla="*/ 2147483647 h 349"/>
                  <a:gd name="T52" fmla="*/ 2147483647 w 285"/>
                  <a:gd name="T53" fmla="*/ 2147483647 h 349"/>
                  <a:gd name="T54" fmla="*/ 2147483647 w 285"/>
                  <a:gd name="T55" fmla="*/ 2147483647 h 349"/>
                  <a:gd name="T56" fmla="*/ 2147483647 w 285"/>
                  <a:gd name="T57" fmla="*/ 2147483647 h 349"/>
                  <a:gd name="T58" fmla="*/ 2147483647 w 285"/>
                  <a:gd name="T59" fmla="*/ 2147483647 h 349"/>
                  <a:gd name="T60" fmla="*/ 2147483647 w 285"/>
                  <a:gd name="T61" fmla="*/ 2147483647 h 349"/>
                  <a:gd name="T62" fmla="*/ 2147483647 w 285"/>
                  <a:gd name="T63" fmla="*/ 2147483647 h 349"/>
                  <a:gd name="T64" fmla="*/ 2147483647 w 285"/>
                  <a:gd name="T65" fmla="*/ 2147483647 h 349"/>
                  <a:gd name="T66" fmla="*/ 2147483647 w 285"/>
                  <a:gd name="T67" fmla="*/ 2147483647 h 349"/>
                  <a:gd name="T68" fmla="*/ 2147483647 w 285"/>
                  <a:gd name="T69" fmla="*/ 2147483647 h 349"/>
                  <a:gd name="T70" fmla="*/ 2147483647 w 285"/>
                  <a:gd name="T71" fmla="*/ 2147483647 h 349"/>
                  <a:gd name="T72" fmla="*/ 2147483647 w 285"/>
                  <a:gd name="T73" fmla="*/ 2147483647 h 349"/>
                  <a:gd name="T74" fmla="*/ 2147483647 w 285"/>
                  <a:gd name="T75" fmla="*/ 2147483647 h 349"/>
                  <a:gd name="T76" fmla="*/ 2147483647 w 285"/>
                  <a:gd name="T77" fmla="*/ 2147483647 h 349"/>
                  <a:gd name="T78" fmla="*/ 2147483647 w 285"/>
                  <a:gd name="T79" fmla="*/ 2147483647 h 349"/>
                  <a:gd name="T80" fmla="*/ 2147483647 w 285"/>
                  <a:gd name="T81" fmla="*/ 2147483647 h 349"/>
                  <a:gd name="T82" fmla="*/ 2147483647 w 285"/>
                  <a:gd name="T83" fmla="*/ 0 h 349"/>
                  <a:gd name="T84" fmla="*/ 2147483647 w 285"/>
                  <a:gd name="T85" fmla="*/ 2147483647 h 349"/>
                  <a:gd name="T86" fmla="*/ 2147483647 w 285"/>
                  <a:gd name="T87" fmla="*/ 2147483647 h 349"/>
                  <a:gd name="T88" fmla="*/ 2147483647 w 285"/>
                  <a:gd name="T89" fmla="*/ 0 h 349"/>
                  <a:gd name="T90" fmla="*/ 2147483647 w 285"/>
                  <a:gd name="T91" fmla="*/ 0 h 349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85"/>
                  <a:gd name="T139" fmla="*/ 0 h 349"/>
                  <a:gd name="T140" fmla="*/ 285 w 285"/>
                  <a:gd name="T141" fmla="*/ 349 h 349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85" h="349">
                    <a:moveTo>
                      <a:pt x="78" y="0"/>
                    </a:moveTo>
                    <a:lnTo>
                      <a:pt x="80" y="28"/>
                    </a:lnTo>
                    <a:lnTo>
                      <a:pt x="80" y="72"/>
                    </a:lnTo>
                    <a:lnTo>
                      <a:pt x="64" y="88"/>
                    </a:lnTo>
                    <a:lnTo>
                      <a:pt x="36" y="84"/>
                    </a:lnTo>
                    <a:lnTo>
                      <a:pt x="36" y="128"/>
                    </a:lnTo>
                    <a:lnTo>
                      <a:pt x="26" y="132"/>
                    </a:lnTo>
                    <a:lnTo>
                      <a:pt x="24" y="150"/>
                    </a:lnTo>
                    <a:lnTo>
                      <a:pt x="16" y="162"/>
                    </a:lnTo>
                    <a:lnTo>
                      <a:pt x="0" y="162"/>
                    </a:lnTo>
                    <a:lnTo>
                      <a:pt x="0" y="216"/>
                    </a:lnTo>
                    <a:lnTo>
                      <a:pt x="0" y="238"/>
                    </a:lnTo>
                    <a:lnTo>
                      <a:pt x="14" y="240"/>
                    </a:lnTo>
                    <a:lnTo>
                      <a:pt x="28" y="256"/>
                    </a:lnTo>
                    <a:lnTo>
                      <a:pt x="52" y="268"/>
                    </a:lnTo>
                    <a:lnTo>
                      <a:pt x="54" y="294"/>
                    </a:lnTo>
                    <a:lnTo>
                      <a:pt x="58" y="316"/>
                    </a:lnTo>
                    <a:lnTo>
                      <a:pt x="70" y="318"/>
                    </a:lnTo>
                    <a:lnTo>
                      <a:pt x="72" y="340"/>
                    </a:lnTo>
                    <a:lnTo>
                      <a:pt x="100" y="340"/>
                    </a:lnTo>
                    <a:lnTo>
                      <a:pt x="98" y="330"/>
                    </a:lnTo>
                    <a:lnTo>
                      <a:pt x="122" y="328"/>
                    </a:lnTo>
                    <a:lnTo>
                      <a:pt x="128" y="346"/>
                    </a:lnTo>
                    <a:lnTo>
                      <a:pt x="162" y="348"/>
                    </a:lnTo>
                    <a:lnTo>
                      <a:pt x="186" y="348"/>
                    </a:lnTo>
                    <a:lnTo>
                      <a:pt x="206" y="328"/>
                    </a:lnTo>
                    <a:lnTo>
                      <a:pt x="206" y="294"/>
                    </a:lnTo>
                    <a:lnTo>
                      <a:pt x="220" y="266"/>
                    </a:lnTo>
                    <a:lnTo>
                      <a:pt x="264" y="258"/>
                    </a:lnTo>
                    <a:lnTo>
                      <a:pt x="270" y="196"/>
                    </a:lnTo>
                    <a:lnTo>
                      <a:pt x="262" y="166"/>
                    </a:lnTo>
                    <a:lnTo>
                      <a:pt x="272" y="148"/>
                    </a:lnTo>
                    <a:lnTo>
                      <a:pt x="284" y="114"/>
                    </a:lnTo>
                    <a:lnTo>
                      <a:pt x="276" y="76"/>
                    </a:lnTo>
                    <a:lnTo>
                      <a:pt x="242" y="74"/>
                    </a:lnTo>
                    <a:lnTo>
                      <a:pt x="224" y="70"/>
                    </a:lnTo>
                    <a:lnTo>
                      <a:pt x="204" y="68"/>
                    </a:lnTo>
                    <a:lnTo>
                      <a:pt x="202" y="48"/>
                    </a:lnTo>
                    <a:lnTo>
                      <a:pt x="208" y="26"/>
                    </a:lnTo>
                    <a:lnTo>
                      <a:pt x="188" y="6"/>
                    </a:lnTo>
                    <a:lnTo>
                      <a:pt x="174" y="16"/>
                    </a:lnTo>
                    <a:lnTo>
                      <a:pt x="132" y="0"/>
                    </a:lnTo>
                    <a:lnTo>
                      <a:pt x="118" y="12"/>
                    </a:lnTo>
                    <a:lnTo>
                      <a:pt x="106" y="10"/>
                    </a:lnTo>
                    <a:lnTo>
                      <a:pt x="98" y="0"/>
                    </a:lnTo>
                    <a:lnTo>
                      <a:pt x="78" y="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58" name="Freeform 14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5473700" y="3689350"/>
                <a:ext cx="584200" cy="781050"/>
              </a:xfrm>
              <a:custGeom>
                <a:avLst/>
                <a:gdLst>
                  <a:gd name="T0" fmla="*/ 2147483647 w 357"/>
                  <a:gd name="T1" fmla="*/ 2147483647 h 495"/>
                  <a:gd name="T2" fmla="*/ 2147483647 w 357"/>
                  <a:gd name="T3" fmla="*/ 2147483647 h 495"/>
                  <a:gd name="T4" fmla="*/ 2147483647 w 357"/>
                  <a:gd name="T5" fmla="*/ 2147483647 h 495"/>
                  <a:gd name="T6" fmla="*/ 2147483647 w 357"/>
                  <a:gd name="T7" fmla="*/ 2147483647 h 495"/>
                  <a:gd name="T8" fmla="*/ 0 w 357"/>
                  <a:gd name="T9" fmla="*/ 2147483647 h 495"/>
                  <a:gd name="T10" fmla="*/ 2147483647 w 357"/>
                  <a:gd name="T11" fmla="*/ 2147483647 h 495"/>
                  <a:gd name="T12" fmla="*/ 2147483647 w 357"/>
                  <a:gd name="T13" fmla="*/ 2147483647 h 495"/>
                  <a:gd name="T14" fmla="*/ 2147483647 w 357"/>
                  <a:gd name="T15" fmla="*/ 2147483647 h 495"/>
                  <a:gd name="T16" fmla="*/ 2147483647 w 357"/>
                  <a:gd name="T17" fmla="*/ 2147483647 h 495"/>
                  <a:gd name="T18" fmla="*/ 2147483647 w 357"/>
                  <a:gd name="T19" fmla="*/ 2147483647 h 495"/>
                  <a:gd name="T20" fmla="*/ 2147483647 w 357"/>
                  <a:gd name="T21" fmla="*/ 2147483647 h 495"/>
                  <a:gd name="T22" fmla="*/ 2147483647 w 357"/>
                  <a:gd name="T23" fmla="*/ 2147483647 h 495"/>
                  <a:gd name="T24" fmla="*/ 2147483647 w 357"/>
                  <a:gd name="T25" fmla="*/ 2147483647 h 495"/>
                  <a:gd name="T26" fmla="*/ 2147483647 w 357"/>
                  <a:gd name="T27" fmla="*/ 2147483647 h 495"/>
                  <a:gd name="T28" fmla="*/ 2147483647 w 357"/>
                  <a:gd name="T29" fmla="*/ 2147483647 h 495"/>
                  <a:gd name="T30" fmla="*/ 2147483647 w 357"/>
                  <a:gd name="T31" fmla="*/ 2147483647 h 495"/>
                  <a:gd name="T32" fmla="*/ 2147483647 w 357"/>
                  <a:gd name="T33" fmla="*/ 2147483647 h 495"/>
                  <a:gd name="T34" fmla="*/ 2147483647 w 357"/>
                  <a:gd name="T35" fmla="*/ 2147483647 h 495"/>
                  <a:gd name="T36" fmla="*/ 2147483647 w 357"/>
                  <a:gd name="T37" fmla="*/ 2147483647 h 495"/>
                  <a:gd name="T38" fmla="*/ 2147483647 w 357"/>
                  <a:gd name="T39" fmla="*/ 2147483647 h 495"/>
                  <a:gd name="T40" fmla="*/ 2147483647 w 357"/>
                  <a:gd name="T41" fmla="*/ 2147483647 h 495"/>
                  <a:gd name="T42" fmla="*/ 2147483647 w 357"/>
                  <a:gd name="T43" fmla="*/ 2147483647 h 495"/>
                  <a:gd name="T44" fmla="*/ 2147483647 w 357"/>
                  <a:gd name="T45" fmla="*/ 2147483647 h 495"/>
                  <a:gd name="T46" fmla="*/ 2147483647 w 357"/>
                  <a:gd name="T47" fmla="*/ 2147483647 h 495"/>
                  <a:gd name="T48" fmla="*/ 2147483647 w 357"/>
                  <a:gd name="T49" fmla="*/ 2147483647 h 495"/>
                  <a:gd name="T50" fmla="*/ 2147483647 w 357"/>
                  <a:gd name="T51" fmla="*/ 2147483647 h 495"/>
                  <a:gd name="T52" fmla="*/ 2147483647 w 357"/>
                  <a:gd name="T53" fmla="*/ 2147483647 h 495"/>
                  <a:gd name="T54" fmla="*/ 2147483647 w 357"/>
                  <a:gd name="T55" fmla="*/ 2147483647 h 495"/>
                  <a:gd name="T56" fmla="*/ 2147483647 w 357"/>
                  <a:gd name="T57" fmla="*/ 2147483647 h 495"/>
                  <a:gd name="T58" fmla="*/ 2147483647 w 357"/>
                  <a:gd name="T59" fmla="*/ 2147483647 h 495"/>
                  <a:gd name="T60" fmla="*/ 2147483647 w 357"/>
                  <a:gd name="T61" fmla="*/ 2147483647 h 495"/>
                  <a:gd name="T62" fmla="*/ 2147483647 w 357"/>
                  <a:gd name="T63" fmla="*/ 2147483647 h 495"/>
                  <a:gd name="T64" fmla="*/ 2147483647 w 357"/>
                  <a:gd name="T65" fmla="*/ 2147483647 h 495"/>
                  <a:gd name="T66" fmla="*/ 2147483647 w 357"/>
                  <a:gd name="T67" fmla="*/ 0 h 495"/>
                  <a:gd name="T68" fmla="*/ 2147483647 w 357"/>
                  <a:gd name="T69" fmla="*/ 2147483647 h 495"/>
                  <a:gd name="T70" fmla="*/ 2147483647 w 357"/>
                  <a:gd name="T71" fmla="*/ 2147483647 h 495"/>
                  <a:gd name="T72" fmla="*/ 2147483647 w 357"/>
                  <a:gd name="T73" fmla="*/ 2147483647 h 495"/>
                  <a:gd name="T74" fmla="*/ 2147483647 w 357"/>
                  <a:gd name="T75" fmla="*/ 2147483647 h 49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57"/>
                  <a:gd name="T115" fmla="*/ 0 h 495"/>
                  <a:gd name="T116" fmla="*/ 357 w 357"/>
                  <a:gd name="T117" fmla="*/ 495 h 49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57" h="495">
                    <a:moveTo>
                      <a:pt x="66" y="32"/>
                    </a:moveTo>
                    <a:lnTo>
                      <a:pt x="70" y="72"/>
                    </a:lnTo>
                    <a:lnTo>
                      <a:pt x="88" y="78"/>
                    </a:lnTo>
                    <a:lnTo>
                      <a:pt x="86" y="100"/>
                    </a:lnTo>
                    <a:lnTo>
                      <a:pt x="56" y="94"/>
                    </a:lnTo>
                    <a:lnTo>
                      <a:pt x="34" y="100"/>
                    </a:lnTo>
                    <a:lnTo>
                      <a:pt x="22" y="100"/>
                    </a:lnTo>
                    <a:lnTo>
                      <a:pt x="22" y="126"/>
                    </a:lnTo>
                    <a:lnTo>
                      <a:pt x="14" y="158"/>
                    </a:lnTo>
                    <a:lnTo>
                      <a:pt x="0" y="164"/>
                    </a:lnTo>
                    <a:lnTo>
                      <a:pt x="0" y="210"/>
                    </a:lnTo>
                    <a:lnTo>
                      <a:pt x="22" y="228"/>
                    </a:lnTo>
                    <a:lnTo>
                      <a:pt x="66" y="232"/>
                    </a:lnTo>
                    <a:lnTo>
                      <a:pt x="70" y="256"/>
                    </a:lnTo>
                    <a:lnTo>
                      <a:pt x="66" y="300"/>
                    </a:lnTo>
                    <a:lnTo>
                      <a:pt x="52" y="304"/>
                    </a:lnTo>
                    <a:lnTo>
                      <a:pt x="44" y="330"/>
                    </a:lnTo>
                    <a:lnTo>
                      <a:pt x="66" y="340"/>
                    </a:lnTo>
                    <a:lnTo>
                      <a:pt x="74" y="368"/>
                    </a:lnTo>
                    <a:lnTo>
                      <a:pt x="74" y="404"/>
                    </a:lnTo>
                    <a:lnTo>
                      <a:pt x="84" y="424"/>
                    </a:lnTo>
                    <a:lnTo>
                      <a:pt x="96" y="450"/>
                    </a:lnTo>
                    <a:lnTo>
                      <a:pt x="114" y="462"/>
                    </a:lnTo>
                    <a:lnTo>
                      <a:pt x="132" y="458"/>
                    </a:lnTo>
                    <a:lnTo>
                      <a:pt x="148" y="456"/>
                    </a:lnTo>
                    <a:lnTo>
                      <a:pt x="160" y="476"/>
                    </a:lnTo>
                    <a:lnTo>
                      <a:pt x="174" y="472"/>
                    </a:lnTo>
                    <a:lnTo>
                      <a:pt x="180" y="456"/>
                    </a:lnTo>
                    <a:lnTo>
                      <a:pt x="196" y="448"/>
                    </a:lnTo>
                    <a:lnTo>
                      <a:pt x="212" y="468"/>
                    </a:lnTo>
                    <a:lnTo>
                      <a:pt x="254" y="488"/>
                    </a:lnTo>
                    <a:lnTo>
                      <a:pt x="268" y="488"/>
                    </a:lnTo>
                    <a:lnTo>
                      <a:pt x="270" y="494"/>
                    </a:lnTo>
                    <a:lnTo>
                      <a:pt x="280" y="480"/>
                    </a:lnTo>
                    <a:lnTo>
                      <a:pt x="294" y="472"/>
                    </a:lnTo>
                    <a:lnTo>
                      <a:pt x="304" y="462"/>
                    </a:lnTo>
                    <a:lnTo>
                      <a:pt x="306" y="444"/>
                    </a:lnTo>
                    <a:lnTo>
                      <a:pt x="312" y="444"/>
                    </a:lnTo>
                    <a:lnTo>
                      <a:pt x="316" y="400"/>
                    </a:lnTo>
                    <a:lnTo>
                      <a:pt x="336" y="404"/>
                    </a:lnTo>
                    <a:lnTo>
                      <a:pt x="356" y="386"/>
                    </a:lnTo>
                    <a:lnTo>
                      <a:pt x="350" y="324"/>
                    </a:lnTo>
                    <a:lnTo>
                      <a:pt x="340" y="312"/>
                    </a:lnTo>
                    <a:lnTo>
                      <a:pt x="300" y="312"/>
                    </a:lnTo>
                    <a:lnTo>
                      <a:pt x="300" y="290"/>
                    </a:lnTo>
                    <a:lnTo>
                      <a:pt x="290" y="276"/>
                    </a:lnTo>
                    <a:lnTo>
                      <a:pt x="288" y="266"/>
                    </a:lnTo>
                    <a:lnTo>
                      <a:pt x="258" y="266"/>
                    </a:lnTo>
                    <a:lnTo>
                      <a:pt x="260" y="260"/>
                    </a:lnTo>
                    <a:lnTo>
                      <a:pt x="264" y="246"/>
                    </a:lnTo>
                    <a:lnTo>
                      <a:pt x="280" y="228"/>
                    </a:lnTo>
                    <a:lnTo>
                      <a:pt x="272" y="196"/>
                    </a:lnTo>
                    <a:lnTo>
                      <a:pt x="266" y="188"/>
                    </a:lnTo>
                    <a:lnTo>
                      <a:pt x="246" y="180"/>
                    </a:lnTo>
                    <a:lnTo>
                      <a:pt x="238" y="146"/>
                    </a:lnTo>
                    <a:lnTo>
                      <a:pt x="208" y="140"/>
                    </a:lnTo>
                    <a:lnTo>
                      <a:pt x="216" y="108"/>
                    </a:lnTo>
                    <a:lnTo>
                      <a:pt x="216" y="94"/>
                    </a:lnTo>
                    <a:lnTo>
                      <a:pt x="194" y="94"/>
                    </a:lnTo>
                    <a:lnTo>
                      <a:pt x="182" y="94"/>
                    </a:lnTo>
                    <a:lnTo>
                      <a:pt x="178" y="76"/>
                    </a:lnTo>
                    <a:lnTo>
                      <a:pt x="150" y="64"/>
                    </a:lnTo>
                    <a:lnTo>
                      <a:pt x="138" y="52"/>
                    </a:lnTo>
                    <a:lnTo>
                      <a:pt x="122" y="48"/>
                    </a:lnTo>
                    <a:lnTo>
                      <a:pt x="130" y="28"/>
                    </a:lnTo>
                    <a:lnTo>
                      <a:pt x="124" y="18"/>
                    </a:lnTo>
                    <a:lnTo>
                      <a:pt x="118" y="4"/>
                    </a:lnTo>
                    <a:lnTo>
                      <a:pt x="104" y="0"/>
                    </a:lnTo>
                    <a:lnTo>
                      <a:pt x="88" y="6"/>
                    </a:lnTo>
                    <a:lnTo>
                      <a:pt x="86" y="10"/>
                    </a:lnTo>
                    <a:lnTo>
                      <a:pt x="82" y="14"/>
                    </a:lnTo>
                    <a:lnTo>
                      <a:pt x="78" y="18"/>
                    </a:lnTo>
                    <a:lnTo>
                      <a:pt x="76" y="22"/>
                    </a:lnTo>
                    <a:lnTo>
                      <a:pt x="72" y="24"/>
                    </a:lnTo>
                    <a:lnTo>
                      <a:pt x="70" y="28"/>
                    </a:lnTo>
                    <a:lnTo>
                      <a:pt x="66" y="30"/>
                    </a:lnTo>
                    <a:lnTo>
                      <a:pt x="66" y="32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59" name="Freeform 15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886325" y="3516313"/>
                <a:ext cx="738188" cy="693737"/>
              </a:xfrm>
              <a:custGeom>
                <a:avLst/>
                <a:gdLst>
                  <a:gd name="T0" fmla="*/ 2147483647 w 451"/>
                  <a:gd name="T1" fmla="*/ 2147483647 h 441"/>
                  <a:gd name="T2" fmla="*/ 2147483647 w 451"/>
                  <a:gd name="T3" fmla="*/ 2147483647 h 441"/>
                  <a:gd name="T4" fmla="*/ 2147483647 w 451"/>
                  <a:gd name="T5" fmla="*/ 2147483647 h 441"/>
                  <a:gd name="T6" fmla="*/ 2147483647 w 451"/>
                  <a:gd name="T7" fmla="*/ 2147483647 h 441"/>
                  <a:gd name="T8" fmla="*/ 2147483647 w 451"/>
                  <a:gd name="T9" fmla="*/ 2147483647 h 441"/>
                  <a:gd name="T10" fmla="*/ 2147483647 w 451"/>
                  <a:gd name="T11" fmla="*/ 2147483647 h 441"/>
                  <a:gd name="T12" fmla="*/ 2147483647 w 451"/>
                  <a:gd name="T13" fmla="*/ 2147483647 h 441"/>
                  <a:gd name="T14" fmla="*/ 2147483647 w 451"/>
                  <a:gd name="T15" fmla="*/ 2147483647 h 441"/>
                  <a:gd name="T16" fmla="*/ 2147483647 w 451"/>
                  <a:gd name="T17" fmla="*/ 2147483647 h 441"/>
                  <a:gd name="T18" fmla="*/ 2147483647 w 451"/>
                  <a:gd name="T19" fmla="*/ 2147483647 h 441"/>
                  <a:gd name="T20" fmla="*/ 0 w 451"/>
                  <a:gd name="T21" fmla="*/ 2147483647 h 441"/>
                  <a:gd name="T22" fmla="*/ 2147483647 w 451"/>
                  <a:gd name="T23" fmla="*/ 2147483647 h 441"/>
                  <a:gd name="T24" fmla="*/ 2147483647 w 451"/>
                  <a:gd name="T25" fmla="*/ 2147483647 h 441"/>
                  <a:gd name="T26" fmla="*/ 2147483647 w 451"/>
                  <a:gd name="T27" fmla="*/ 2147483647 h 441"/>
                  <a:gd name="T28" fmla="*/ 2147483647 w 451"/>
                  <a:gd name="T29" fmla="*/ 2147483647 h 441"/>
                  <a:gd name="T30" fmla="*/ 2147483647 w 451"/>
                  <a:gd name="T31" fmla="*/ 2147483647 h 441"/>
                  <a:gd name="T32" fmla="*/ 2147483647 w 451"/>
                  <a:gd name="T33" fmla="*/ 2147483647 h 441"/>
                  <a:gd name="T34" fmla="*/ 2147483647 w 451"/>
                  <a:gd name="T35" fmla="*/ 2147483647 h 441"/>
                  <a:gd name="T36" fmla="*/ 2147483647 w 451"/>
                  <a:gd name="T37" fmla="*/ 2147483647 h 441"/>
                  <a:gd name="T38" fmla="*/ 2147483647 w 451"/>
                  <a:gd name="T39" fmla="*/ 2147483647 h 441"/>
                  <a:gd name="T40" fmla="*/ 2147483647 w 451"/>
                  <a:gd name="T41" fmla="*/ 2147483647 h 441"/>
                  <a:gd name="T42" fmla="*/ 2147483647 w 451"/>
                  <a:gd name="T43" fmla="*/ 2147483647 h 441"/>
                  <a:gd name="T44" fmla="*/ 2147483647 w 451"/>
                  <a:gd name="T45" fmla="*/ 2147483647 h 441"/>
                  <a:gd name="T46" fmla="*/ 2147483647 w 451"/>
                  <a:gd name="T47" fmla="*/ 2147483647 h 441"/>
                  <a:gd name="T48" fmla="*/ 2147483647 w 451"/>
                  <a:gd name="T49" fmla="*/ 2147483647 h 441"/>
                  <a:gd name="T50" fmla="*/ 2147483647 w 451"/>
                  <a:gd name="T51" fmla="*/ 2147483647 h 441"/>
                  <a:gd name="T52" fmla="*/ 2147483647 w 451"/>
                  <a:gd name="T53" fmla="*/ 2147483647 h 441"/>
                  <a:gd name="T54" fmla="*/ 2147483647 w 451"/>
                  <a:gd name="T55" fmla="*/ 2147483647 h 441"/>
                  <a:gd name="T56" fmla="*/ 2147483647 w 451"/>
                  <a:gd name="T57" fmla="*/ 2147483647 h 441"/>
                  <a:gd name="T58" fmla="*/ 2147483647 w 451"/>
                  <a:gd name="T59" fmla="*/ 2147483647 h 441"/>
                  <a:gd name="T60" fmla="*/ 2147483647 w 451"/>
                  <a:gd name="T61" fmla="*/ 2147483647 h 441"/>
                  <a:gd name="T62" fmla="*/ 2147483647 w 451"/>
                  <a:gd name="T63" fmla="*/ 2147483647 h 441"/>
                  <a:gd name="T64" fmla="*/ 2147483647 w 451"/>
                  <a:gd name="T65" fmla="*/ 2147483647 h 441"/>
                  <a:gd name="T66" fmla="*/ 2147483647 w 451"/>
                  <a:gd name="T67" fmla="*/ 2147483647 h 441"/>
                  <a:gd name="T68" fmla="*/ 2147483647 w 451"/>
                  <a:gd name="T69" fmla="*/ 2147483647 h 441"/>
                  <a:gd name="T70" fmla="*/ 2147483647 w 451"/>
                  <a:gd name="T71" fmla="*/ 2147483647 h 441"/>
                  <a:gd name="T72" fmla="*/ 2147483647 w 451"/>
                  <a:gd name="T73" fmla="*/ 2147483647 h 441"/>
                  <a:gd name="T74" fmla="*/ 2147483647 w 451"/>
                  <a:gd name="T75" fmla="*/ 2147483647 h 441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451"/>
                  <a:gd name="T115" fmla="*/ 0 h 441"/>
                  <a:gd name="T116" fmla="*/ 451 w 451"/>
                  <a:gd name="T117" fmla="*/ 441 h 441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451" h="441">
                    <a:moveTo>
                      <a:pt x="336" y="4"/>
                    </a:moveTo>
                    <a:lnTo>
                      <a:pt x="294" y="8"/>
                    </a:lnTo>
                    <a:lnTo>
                      <a:pt x="282" y="20"/>
                    </a:lnTo>
                    <a:lnTo>
                      <a:pt x="268" y="6"/>
                    </a:lnTo>
                    <a:lnTo>
                      <a:pt x="250" y="0"/>
                    </a:lnTo>
                    <a:lnTo>
                      <a:pt x="240" y="12"/>
                    </a:lnTo>
                    <a:lnTo>
                      <a:pt x="216" y="4"/>
                    </a:lnTo>
                    <a:lnTo>
                      <a:pt x="218" y="32"/>
                    </a:lnTo>
                    <a:lnTo>
                      <a:pt x="226" y="50"/>
                    </a:lnTo>
                    <a:lnTo>
                      <a:pt x="224" y="66"/>
                    </a:lnTo>
                    <a:lnTo>
                      <a:pt x="210" y="72"/>
                    </a:lnTo>
                    <a:lnTo>
                      <a:pt x="208" y="90"/>
                    </a:lnTo>
                    <a:lnTo>
                      <a:pt x="192" y="102"/>
                    </a:lnTo>
                    <a:lnTo>
                      <a:pt x="174" y="110"/>
                    </a:lnTo>
                    <a:lnTo>
                      <a:pt x="166" y="134"/>
                    </a:lnTo>
                    <a:lnTo>
                      <a:pt x="126" y="128"/>
                    </a:lnTo>
                    <a:lnTo>
                      <a:pt x="122" y="144"/>
                    </a:lnTo>
                    <a:lnTo>
                      <a:pt x="80" y="140"/>
                    </a:lnTo>
                    <a:lnTo>
                      <a:pt x="54" y="168"/>
                    </a:lnTo>
                    <a:lnTo>
                      <a:pt x="28" y="180"/>
                    </a:lnTo>
                    <a:lnTo>
                      <a:pt x="2" y="186"/>
                    </a:lnTo>
                    <a:lnTo>
                      <a:pt x="0" y="220"/>
                    </a:lnTo>
                    <a:lnTo>
                      <a:pt x="12" y="238"/>
                    </a:lnTo>
                    <a:lnTo>
                      <a:pt x="26" y="240"/>
                    </a:lnTo>
                    <a:lnTo>
                      <a:pt x="28" y="284"/>
                    </a:lnTo>
                    <a:lnTo>
                      <a:pt x="40" y="282"/>
                    </a:lnTo>
                    <a:lnTo>
                      <a:pt x="44" y="320"/>
                    </a:lnTo>
                    <a:lnTo>
                      <a:pt x="58" y="332"/>
                    </a:lnTo>
                    <a:lnTo>
                      <a:pt x="86" y="328"/>
                    </a:lnTo>
                    <a:lnTo>
                      <a:pt x="90" y="338"/>
                    </a:lnTo>
                    <a:lnTo>
                      <a:pt x="114" y="358"/>
                    </a:lnTo>
                    <a:lnTo>
                      <a:pt x="140" y="368"/>
                    </a:lnTo>
                    <a:lnTo>
                      <a:pt x="144" y="382"/>
                    </a:lnTo>
                    <a:lnTo>
                      <a:pt x="192" y="378"/>
                    </a:lnTo>
                    <a:lnTo>
                      <a:pt x="196" y="368"/>
                    </a:lnTo>
                    <a:lnTo>
                      <a:pt x="236" y="366"/>
                    </a:lnTo>
                    <a:lnTo>
                      <a:pt x="252" y="382"/>
                    </a:lnTo>
                    <a:lnTo>
                      <a:pt x="260" y="416"/>
                    </a:lnTo>
                    <a:lnTo>
                      <a:pt x="284" y="418"/>
                    </a:lnTo>
                    <a:lnTo>
                      <a:pt x="292" y="404"/>
                    </a:lnTo>
                    <a:lnTo>
                      <a:pt x="310" y="406"/>
                    </a:lnTo>
                    <a:lnTo>
                      <a:pt x="328" y="424"/>
                    </a:lnTo>
                    <a:lnTo>
                      <a:pt x="328" y="436"/>
                    </a:lnTo>
                    <a:lnTo>
                      <a:pt x="366" y="440"/>
                    </a:lnTo>
                    <a:lnTo>
                      <a:pt x="390" y="430"/>
                    </a:lnTo>
                    <a:lnTo>
                      <a:pt x="416" y="432"/>
                    </a:lnTo>
                    <a:lnTo>
                      <a:pt x="416" y="414"/>
                    </a:lnTo>
                    <a:lnTo>
                      <a:pt x="426" y="410"/>
                    </a:lnTo>
                    <a:lnTo>
                      <a:pt x="432" y="384"/>
                    </a:lnTo>
                    <a:lnTo>
                      <a:pt x="434" y="362"/>
                    </a:lnTo>
                    <a:lnTo>
                      <a:pt x="426" y="336"/>
                    </a:lnTo>
                    <a:lnTo>
                      <a:pt x="386" y="334"/>
                    </a:lnTo>
                    <a:lnTo>
                      <a:pt x="366" y="320"/>
                    </a:lnTo>
                    <a:lnTo>
                      <a:pt x="362" y="274"/>
                    </a:lnTo>
                    <a:lnTo>
                      <a:pt x="378" y="268"/>
                    </a:lnTo>
                    <a:lnTo>
                      <a:pt x="386" y="212"/>
                    </a:lnTo>
                    <a:lnTo>
                      <a:pt x="422" y="206"/>
                    </a:lnTo>
                    <a:lnTo>
                      <a:pt x="442" y="208"/>
                    </a:lnTo>
                    <a:lnTo>
                      <a:pt x="448" y="208"/>
                    </a:lnTo>
                    <a:lnTo>
                      <a:pt x="450" y="184"/>
                    </a:lnTo>
                    <a:lnTo>
                      <a:pt x="434" y="180"/>
                    </a:lnTo>
                    <a:lnTo>
                      <a:pt x="428" y="164"/>
                    </a:lnTo>
                    <a:lnTo>
                      <a:pt x="426" y="140"/>
                    </a:lnTo>
                    <a:lnTo>
                      <a:pt x="404" y="140"/>
                    </a:lnTo>
                    <a:lnTo>
                      <a:pt x="394" y="148"/>
                    </a:lnTo>
                    <a:lnTo>
                      <a:pt x="376" y="144"/>
                    </a:lnTo>
                    <a:lnTo>
                      <a:pt x="356" y="146"/>
                    </a:lnTo>
                    <a:lnTo>
                      <a:pt x="344" y="126"/>
                    </a:lnTo>
                    <a:lnTo>
                      <a:pt x="342" y="98"/>
                    </a:lnTo>
                    <a:lnTo>
                      <a:pt x="348" y="56"/>
                    </a:lnTo>
                    <a:lnTo>
                      <a:pt x="380" y="56"/>
                    </a:lnTo>
                    <a:lnTo>
                      <a:pt x="388" y="54"/>
                    </a:lnTo>
                    <a:lnTo>
                      <a:pt x="392" y="34"/>
                    </a:lnTo>
                    <a:lnTo>
                      <a:pt x="372" y="30"/>
                    </a:lnTo>
                    <a:lnTo>
                      <a:pt x="354" y="26"/>
                    </a:lnTo>
                    <a:lnTo>
                      <a:pt x="336" y="4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60" name="Freeform 16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830763" y="2897188"/>
                <a:ext cx="452437" cy="919162"/>
              </a:xfrm>
              <a:custGeom>
                <a:avLst/>
                <a:gdLst>
                  <a:gd name="T0" fmla="*/ 2147483647 w 277"/>
                  <a:gd name="T1" fmla="*/ 0 h 585"/>
                  <a:gd name="T2" fmla="*/ 2147483647 w 277"/>
                  <a:gd name="T3" fmla="*/ 2147483647 h 585"/>
                  <a:gd name="T4" fmla="*/ 2147483647 w 277"/>
                  <a:gd name="T5" fmla="*/ 2147483647 h 585"/>
                  <a:gd name="T6" fmla="*/ 2147483647 w 277"/>
                  <a:gd name="T7" fmla="*/ 2147483647 h 585"/>
                  <a:gd name="T8" fmla="*/ 2147483647 w 277"/>
                  <a:gd name="T9" fmla="*/ 2147483647 h 585"/>
                  <a:gd name="T10" fmla="*/ 2147483647 w 277"/>
                  <a:gd name="T11" fmla="*/ 2147483647 h 585"/>
                  <a:gd name="T12" fmla="*/ 2147483647 w 277"/>
                  <a:gd name="T13" fmla="*/ 2147483647 h 585"/>
                  <a:gd name="T14" fmla="*/ 2147483647 w 277"/>
                  <a:gd name="T15" fmla="*/ 2147483647 h 585"/>
                  <a:gd name="T16" fmla="*/ 2147483647 w 277"/>
                  <a:gd name="T17" fmla="*/ 2147483647 h 585"/>
                  <a:gd name="T18" fmla="*/ 2147483647 w 277"/>
                  <a:gd name="T19" fmla="*/ 2147483647 h 585"/>
                  <a:gd name="T20" fmla="*/ 2147483647 w 277"/>
                  <a:gd name="T21" fmla="*/ 2147483647 h 585"/>
                  <a:gd name="T22" fmla="*/ 2147483647 w 277"/>
                  <a:gd name="T23" fmla="*/ 2147483647 h 585"/>
                  <a:gd name="T24" fmla="*/ 2147483647 w 277"/>
                  <a:gd name="T25" fmla="*/ 2147483647 h 585"/>
                  <a:gd name="T26" fmla="*/ 2147483647 w 277"/>
                  <a:gd name="T27" fmla="*/ 2147483647 h 585"/>
                  <a:gd name="T28" fmla="*/ 2147483647 w 277"/>
                  <a:gd name="T29" fmla="*/ 2147483647 h 585"/>
                  <a:gd name="T30" fmla="*/ 2147483647 w 277"/>
                  <a:gd name="T31" fmla="*/ 2147483647 h 585"/>
                  <a:gd name="T32" fmla="*/ 2147483647 w 277"/>
                  <a:gd name="T33" fmla="*/ 2147483647 h 585"/>
                  <a:gd name="T34" fmla="*/ 2147483647 w 277"/>
                  <a:gd name="T35" fmla="*/ 2147483647 h 585"/>
                  <a:gd name="T36" fmla="*/ 2147483647 w 277"/>
                  <a:gd name="T37" fmla="*/ 2147483647 h 585"/>
                  <a:gd name="T38" fmla="*/ 2147483647 w 277"/>
                  <a:gd name="T39" fmla="*/ 2147483647 h 585"/>
                  <a:gd name="T40" fmla="*/ 2147483647 w 277"/>
                  <a:gd name="T41" fmla="*/ 2147483647 h 585"/>
                  <a:gd name="T42" fmla="*/ 2147483647 w 277"/>
                  <a:gd name="T43" fmla="*/ 2147483647 h 585"/>
                  <a:gd name="T44" fmla="*/ 2147483647 w 277"/>
                  <a:gd name="T45" fmla="*/ 2147483647 h 585"/>
                  <a:gd name="T46" fmla="*/ 2147483647 w 277"/>
                  <a:gd name="T47" fmla="*/ 2147483647 h 585"/>
                  <a:gd name="T48" fmla="*/ 2147483647 w 277"/>
                  <a:gd name="T49" fmla="*/ 2147483647 h 585"/>
                  <a:gd name="T50" fmla="*/ 2147483647 w 277"/>
                  <a:gd name="T51" fmla="*/ 2147483647 h 585"/>
                  <a:gd name="T52" fmla="*/ 2147483647 w 277"/>
                  <a:gd name="T53" fmla="*/ 2147483647 h 585"/>
                  <a:gd name="T54" fmla="*/ 2147483647 w 277"/>
                  <a:gd name="T55" fmla="*/ 2147483647 h 585"/>
                  <a:gd name="T56" fmla="*/ 2147483647 w 277"/>
                  <a:gd name="T57" fmla="*/ 2147483647 h 585"/>
                  <a:gd name="T58" fmla="*/ 2147483647 w 277"/>
                  <a:gd name="T59" fmla="*/ 2147483647 h 585"/>
                  <a:gd name="T60" fmla="*/ 2147483647 w 277"/>
                  <a:gd name="T61" fmla="*/ 2147483647 h 585"/>
                  <a:gd name="T62" fmla="*/ 2147483647 w 277"/>
                  <a:gd name="T63" fmla="*/ 2147483647 h 585"/>
                  <a:gd name="T64" fmla="*/ 2147483647 w 277"/>
                  <a:gd name="T65" fmla="*/ 2147483647 h 585"/>
                  <a:gd name="T66" fmla="*/ 2147483647 w 277"/>
                  <a:gd name="T67" fmla="*/ 2147483647 h 585"/>
                  <a:gd name="T68" fmla="*/ 2147483647 w 277"/>
                  <a:gd name="T69" fmla="*/ 2147483647 h 585"/>
                  <a:gd name="T70" fmla="*/ 2147483647 w 277"/>
                  <a:gd name="T71" fmla="*/ 2147483647 h 585"/>
                  <a:gd name="T72" fmla="*/ 2147483647 w 277"/>
                  <a:gd name="T73" fmla="*/ 2147483647 h 585"/>
                  <a:gd name="T74" fmla="*/ 0 w 277"/>
                  <a:gd name="T75" fmla="*/ 2147483647 h 585"/>
                  <a:gd name="T76" fmla="*/ 2147483647 w 277"/>
                  <a:gd name="T77" fmla="*/ 2147483647 h 585"/>
                  <a:gd name="T78" fmla="*/ 2147483647 w 277"/>
                  <a:gd name="T79" fmla="*/ 2147483647 h 585"/>
                  <a:gd name="T80" fmla="*/ 2147483647 w 277"/>
                  <a:gd name="T81" fmla="*/ 2147483647 h 585"/>
                  <a:gd name="T82" fmla="*/ 0 w 277"/>
                  <a:gd name="T83" fmla="*/ 2147483647 h 585"/>
                  <a:gd name="T84" fmla="*/ 2147483647 w 277"/>
                  <a:gd name="T85" fmla="*/ 2147483647 h 585"/>
                  <a:gd name="T86" fmla="*/ 2147483647 w 277"/>
                  <a:gd name="T87" fmla="*/ 2147483647 h 585"/>
                  <a:gd name="T88" fmla="*/ 2147483647 w 277"/>
                  <a:gd name="T89" fmla="*/ 2147483647 h 585"/>
                  <a:gd name="T90" fmla="*/ 2147483647 w 277"/>
                  <a:gd name="T91" fmla="*/ 2147483647 h 585"/>
                  <a:gd name="T92" fmla="*/ 2147483647 w 277"/>
                  <a:gd name="T93" fmla="*/ 2147483647 h 585"/>
                  <a:gd name="T94" fmla="*/ 2147483647 w 277"/>
                  <a:gd name="T95" fmla="*/ 2147483647 h 585"/>
                  <a:gd name="T96" fmla="*/ 2147483647 w 277"/>
                  <a:gd name="T97" fmla="*/ 2147483647 h 585"/>
                  <a:gd name="T98" fmla="*/ 2147483647 w 277"/>
                  <a:gd name="T99" fmla="*/ 2147483647 h 585"/>
                  <a:gd name="T100" fmla="*/ 2147483647 w 277"/>
                  <a:gd name="T101" fmla="*/ 2147483647 h 585"/>
                  <a:gd name="T102" fmla="*/ 2147483647 w 277"/>
                  <a:gd name="T103" fmla="*/ 2147483647 h 585"/>
                  <a:gd name="T104" fmla="*/ 2147483647 w 277"/>
                  <a:gd name="T105" fmla="*/ 2147483647 h 585"/>
                  <a:gd name="T106" fmla="*/ 2147483647 w 277"/>
                  <a:gd name="T107" fmla="*/ 2147483647 h 585"/>
                  <a:gd name="T108" fmla="*/ 2147483647 w 277"/>
                  <a:gd name="T109" fmla="*/ 2147483647 h 585"/>
                  <a:gd name="T110" fmla="*/ 2147483647 w 277"/>
                  <a:gd name="T111" fmla="*/ 2147483647 h 585"/>
                  <a:gd name="T112" fmla="*/ 2147483647 w 277"/>
                  <a:gd name="T113" fmla="*/ 2147483647 h 585"/>
                  <a:gd name="T114" fmla="*/ 2147483647 w 277"/>
                  <a:gd name="T115" fmla="*/ 2147483647 h 585"/>
                  <a:gd name="T116" fmla="*/ 2147483647 w 277"/>
                  <a:gd name="T117" fmla="*/ 2147483647 h 585"/>
                  <a:gd name="T118" fmla="*/ 2147483647 w 277"/>
                  <a:gd name="T119" fmla="*/ 2147483647 h 585"/>
                  <a:gd name="T120" fmla="*/ 2147483647 w 277"/>
                  <a:gd name="T121" fmla="*/ 2147483647 h 585"/>
                  <a:gd name="T122" fmla="*/ 2147483647 w 277"/>
                  <a:gd name="T123" fmla="*/ 0 h 58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77"/>
                  <a:gd name="T187" fmla="*/ 0 h 585"/>
                  <a:gd name="T188" fmla="*/ 277 w 277"/>
                  <a:gd name="T189" fmla="*/ 585 h 58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77" h="585">
                    <a:moveTo>
                      <a:pt x="240" y="0"/>
                    </a:moveTo>
                    <a:lnTo>
                      <a:pt x="254" y="4"/>
                    </a:lnTo>
                    <a:lnTo>
                      <a:pt x="266" y="20"/>
                    </a:lnTo>
                    <a:lnTo>
                      <a:pt x="268" y="52"/>
                    </a:lnTo>
                    <a:lnTo>
                      <a:pt x="250" y="54"/>
                    </a:lnTo>
                    <a:lnTo>
                      <a:pt x="254" y="72"/>
                    </a:lnTo>
                    <a:lnTo>
                      <a:pt x="268" y="98"/>
                    </a:lnTo>
                    <a:lnTo>
                      <a:pt x="276" y="140"/>
                    </a:lnTo>
                    <a:lnTo>
                      <a:pt x="272" y="154"/>
                    </a:lnTo>
                    <a:lnTo>
                      <a:pt x="244" y="170"/>
                    </a:lnTo>
                    <a:lnTo>
                      <a:pt x="238" y="206"/>
                    </a:lnTo>
                    <a:lnTo>
                      <a:pt x="238" y="252"/>
                    </a:lnTo>
                    <a:lnTo>
                      <a:pt x="250" y="266"/>
                    </a:lnTo>
                    <a:lnTo>
                      <a:pt x="262" y="270"/>
                    </a:lnTo>
                    <a:lnTo>
                      <a:pt x="264" y="318"/>
                    </a:lnTo>
                    <a:lnTo>
                      <a:pt x="240" y="352"/>
                    </a:lnTo>
                    <a:lnTo>
                      <a:pt x="236" y="380"/>
                    </a:lnTo>
                    <a:lnTo>
                      <a:pt x="238" y="398"/>
                    </a:lnTo>
                    <a:lnTo>
                      <a:pt x="250" y="404"/>
                    </a:lnTo>
                    <a:lnTo>
                      <a:pt x="252" y="430"/>
                    </a:lnTo>
                    <a:lnTo>
                      <a:pt x="258" y="446"/>
                    </a:lnTo>
                    <a:lnTo>
                      <a:pt x="252" y="466"/>
                    </a:lnTo>
                    <a:lnTo>
                      <a:pt x="242" y="472"/>
                    </a:lnTo>
                    <a:lnTo>
                      <a:pt x="234" y="494"/>
                    </a:lnTo>
                    <a:lnTo>
                      <a:pt x="202" y="508"/>
                    </a:lnTo>
                    <a:lnTo>
                      <a:pt x="196" y="528"/>
                    </a:lnTo>
                    <a:lnTo>
                      <a:pt x="160" y="524"/>
                    </a:lnTo>
                    <a:lnTo>
                      <a:pt x="152" y="544"/>
                    </a:lnTo>
                    <a:lnTo>
                      <a:pt x="116" y="536"/>
                    </a:lnTo>
                    <a:lnTo>
                      <a:pt x="84" y="566"/>
                    </a:lnTo>
                    <a:lnTo>
                      <a:pt x="34" y="584"/>
                    </a:lnTo>
                    <a:lnTo>
                      <a:pt x="10" y="582"/>
                    </a:lnTo>
                    <a:lnTo>
                      <a:pt x="10" y="526"/>
                    </a:lnTo>
                    <a:lnTo>
                      <a:pt x="22" y="510"/>
                    </a:lnTo>
                    <a:lnTo>
                      <a:pt x="18" y="486"/>
                    </a:lnTo>
                    <a:lnTo>
                      <a:pt x="10" y="468"/>
                    </a:lnTo>
                    <a:lnTo>
                      <a:pt x="10" y="386"/>
                    </a:lnTo>
                    <a:lnTo>
                      <a:pt x="0" y="374"/>
                    </a:lnTo>
                    <a:lnTo>
                      <a:pt x="8" y="356"/>
                    </a:lnTo>
                    <a:lnTo>
                      <a:pt x="18" y="358"/>
                    </a:lnTo>
                    <a:lnTo>
                      <a:pt x="18" y="296"/>
                    </a:lnTo>
                    <a:lnTo>
                      <a:pt x="0" y="266"/>
                    </a:lnTo>
                    <a:lnTo>
                      <a:pt x="2" y="250"/>
                    </a:lnTo>
                    <a:lnTo>
                      <a:pt x="8" y="234"/>
                    </a:lnTo>
                    <a:lnTo>
                      <a:pt x="24" y="214"/>
                    </a:lnTo>
                    <a:lnTo>
                      <a:pt x="36" y="216"/>
                    </a:lnTo>
                    <a:lnTo>
                      <a:pt x="36" y="196"/>
                    </a:lnTo>
                    <a:lnTo>
                      <a:pt x="40" y="160"/>
                    </a:lnTo>
                    <a:lnTo>
                      <a:pt x="42" y="134"/>
                    </a:lnTo>
                    <a:lnTo>
                      <a:pt x="74" y="128"/>
                    </a:lnTo>
                    <a:lnTo>
                      <a:pt x="96" y="110"/>
                    </a:lnTo>
                    <a:lnTo>
                      <a:pt x="94" y="92"/>
                    </a:lnTo>
                    <a:lnTo>
                      <a:pt x="106" y="88"/>
                    </a:lnTo>
                    <a:lnTo>
                      <a:pt x="116" y="88"/>
                    </a:lnTo>
                    <a:lnTo>
                      <a:pt x="118" y="78"/>
                    </a:lnTo>
                    <a:lnTo>
                      <a:pt x="136" y="68"/>
                    </a:lnTo>
                    <a:lnTo>
                      <a:pt x="134" y="54"/>
                    </a:lnTo>
                    <a:lnTo>
                      <a:pt x="170" y="54"/>
                    </a:lnTo>
                    <a:lnTo>
                      <a:pt x="180" y="40"/>
                    </a:lnTo>
                    <a:lnTo>
                      <a:pt x="206" y="34"/>
                    </a:lnTo>
                    <a:lnTo>
                      <a:pt x="234" y="16"/>
                    </a:lnTo>
                    <a:lnTo>
                      <a:pt x="240" y="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61" name="Freeform 17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316413" y="3128963"/>
                <a:ext cx="644525" cy="1077912"/>
              </a:xfrm>
              <a:custGeom>
                <a:avLst/>
                <a:gdLst>
                  <a:gd name="T0" fmla="*/ 2147483647 w 393"/>
                  <a:gd name="T1" fmla="*/ 0 h 685"/>
                  <a:gd name="T2" fmla="*/ 2147483647 w 393"/>
                  <a:gd name="T3" fmla="*/ 2147483647 h 685"/>
                  <a:gd name="T4" fmla="*/ 2147483647 w 393"/>
                  <a:gd name="T5" fmla="*/ 2147483647 h 685"/>
                  <a:gd name="T6" fmla="*/ 2147483647 w 393"/>
                  <a:gd name="T7" fmla="*/ 2147483647 h 685"/>
                  <a:gd name="T8" fmla="*/ 2147483647 w 393"/>
                  <a:gd name="T9" fmla="*/ 2147483647 h 685"/>
                  <a:gd name="T10" fmla="*/ 2147483647 w 393"/>
                  <a:gd name="T11" fmla="*/ 2147483647 h 685"/>
                  <a:gd name="T12" fmla="*/ 2147483647 w 393"/>
                  <a:gd name="T13" fmla="*/ 2147483647 h 685"/>
                  <a:gd name="T14" fmla="*/ 2147483647 w 393"/>
                  <a:gd name="T15" fmla="*/ 2147483647 h 685"/>
                  <a:gd name="T16" fmla="*/ 2147483647 w 393"/>
                  <a:gd name="T17" fmla="*/ 2147483647 h 685"/>
                  <a:gd name="T18" fmla="*/ 2147483647 w 393"/>
                  <a:gd name="T19" fmla="*/ 2147483647 h 685"/>
                  <a:gd name="T20" fmla="*/ 2147483647 w 393"/>
                  <a:gd name="T21" fmla="*/ 2147483647 h 685"/>
                  <a:gd name="T22" fmla="*/ 2147483647 w 393"/>
                  <a:gd name="T23" fmla="*/ 2147483647 h 685"/>
                  <a:gd name="T24" fmla="*/ 2147483647 w 393"/>
                  <a:gd name="T25" fmla="*/ 2147483647 h 685"/>
                  <a:gd name="T26" fmla="*/ 2147483647 w 393"/>
                  <a:gd name="T27" fmla="*/ 2147483647 h 685"/>
                  <a:gd name="T28" fmla="*/ 2147483647 w 393"/>
                  <a:gd name="T29" fmla="*/ 2147483647 h 685"/>
                  <a:gd name="T30" fmla="*/ 2147483647 w 393"/>
                  <a:gd name="T31" fmla="*/ 2147483647 h 685"/>
                  <a:gd name="T32" fmla="*/ 2147483647 w 393"/>
                  <a:gd name="T33" fmla="*/ 2147483647 h 685"/>
                  <a:gd name="T34" fmla="*/ 2147483647 w 393"/>
                  <a:gd name="T35" fmla="*/ 2147483647 h 685"/>
                  <a:gd name="T36" fmla="*/ 2147483647 w 393"/>
                  <a:gd name="T37" fmla="*/ 2147483647 h 685"/>
                  <a:gd name="T38" fmla="*/ 2147483647 w 393"/>
                  <a:gd name="T39" fmla="*/ 2147483647 h 685"/>
                  <a:gd name="T40" fmla="*/ 2147483647 w 393"/>
                  <a:gd name="T41" fmla="*/ 2147483647 h 685"/>
                  <a:gd name="T42" fmla="*/ 0 w 393"/>
                  <a:gd name="T43" fmla="*/ 2147483647 h 685"/>
                  <a:gd name="T44" fmla="*/ 2147483647 w 393"/>
                  <a:gd name="T45" fmla="*/ 2147483647 h 685"/>
                  <a:gd name="T46" fmla="*/ 2147483647 w 393"/>
                  <a:gd name="T47" fmla="*/ 2147483647 h 685"/>
                  <a:gd name="T48" fmla="*/ 2147483647 w 393"/>
                  <a:gd name="T49" fmla="*/ 2147483647 h 685"/>
                  <a:gd name="T50" fmla="*/ 2147483647 w 393"/>
                  <a:gd name="T51" fmla="*/ 2147483647 h 685"/>
                  <a:gd name="T52" fmla="*/ 2147483647 w 393"/>
                  <a:gd name="T53" fmla="*/ 2147483647 h 685"/>
                  <a:gd name="T54" fmla="*/ 2147483647 w 393"/>
                  <a:gd name="T55" fmla="*/ 2147483647 h 685"/>
                  <a:gd name="T56" fmla="*/ 2147483647 w 393"/>
                  <a:gd name="T57" fmla="*/ 2147483647 h 685"/>
                  <a:gd name="T58" fmla="*/ 2147483647 w 393"/>
                  <a:gd name="T59" fmla="*/ 2147483647 h 685"/>
                  <a:gd name="T60" fmla="*/ 2147483647 w 393"/>
                  <a:gd name="T61" fmla="*/ 2147483647 h 685"/>
                  <a:gd name="T62" fmla="*/ 2147483647 w 393"/>
                  <a:gd name="T63" fmla="*/ 2147483647 h 685"/>
                  <a:gd name="T64" fmla="*/ 2147483647 w 393"/>
                  <a:gd name="T65" fmla="*/ 2147483647 h 685"/>
                  <a:gd name="T66" fmla="*/ 2147483647 w 393"/>
                  <a:gd name="T67" fmla="*/ 2147483647 h 685"/>
                  <a:gd name="T68" fmla="*/ 2147483647 w 393"/>
                  <a:gd name="T69" fmla="*/ 2147483647 h 685"/>
                  <a:gd name="T70" fmla="*/ 2147483647 w 393"/>
                  <a:gd name="T71" fmla="*/ 2147483647 h 685"/>
                  <a:gd name="T72" fmla="*/ 2147483647 w 393"/>
                  <a:gd name="T73" fmla="*/ 2147483647 h 685"/>
                  <a:gd name="T74" fmla="*/ 2147483647 w 393"/>
                  <a:gd name="T75" fmla="*/ 2147483647 h 685"/>
                  <a:gd name="T76" fmla="*/ 2147483647 w 393"/>
                  <a:gd name="T77" fmla="*/ 2147483647 h 685"/>
                  <a:gd name="T78" fmla="*/ 2147483647 w 393"/>
                  <a:gd name="T79" fmla="*/ 2147483647 h 685"/>
                  <a:gd name="T80" fmla="*/ 2147483647 w 393"/>
                  <a:gd name="T81" fmla="*/ 2147483647 h 685"/>
                  <a:gd name="T82" fmla="*/ 2147483647 w 393"/>
                  <a:gd name="T83" fmla="*/ 2147483647 h 685"/>
                  <a:gd name="T84" fmla="*/ 2147483647 w 393"/>
                  <a:gd name="T85" fmla="*/ 2147483647 h 685"/>
                  <a:gd name="T86" fmla="*/ 2147483647 w 393"/>
                  <a:gd name="T87" fmla="*/ 2147483647 h 685"/>
                  <a:gd name="T88" fmla="*/ 2147483647 w 393"/>
                  <a:gd name="T89" fmla="*/ 2147483647 h 685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393"/>
                  <a:gd name="T136" fmla="*/ 0 h 685"/>
                  <a:gd name="T137" fmla="*/ 393 w 393"/>
                  <a:gd name="T138" fmla="*/ 685 h 685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393" h="685">
                    <a:moveTo>
                      <a:pt x="356" y="8"/>
                    </a:moveTo>
                    <a:lnTo>
                      <a:pt x="322" y="0"/>
                    </a:lnTo>
                    <a:lnTo>
                      <a:pt x="290" y="8"/>
                    </a:lnTo>
                    <a:lnTo>
                      <a:pt x="276" y="32"/>
                    </a:lnTo>
                    <a:lnTo>
                      <a:pt x="256" y="40"/>
                    </a:lnTo>
                    <a:lnTo>
                      <a:pt x="248" y="52"/>
                    </a:lnTo>
                    <a:lnTo>
                      <a:pt x="242" y="72"/>
                    </a:lnTo>
                    <a:lnTo>
                      <a:pt x="232" y="80"/>
                    </a:lnTo>
                    <a:lnTo>
                      <a:pt x="232" y="110"/>
                    </a:lnTo>
                    <a:lnTo>
                      <a:pt x="214" y="126"/>
                    </a:lnTo>
                    <a:lnTo>
                      <a:pt x="210" y="162"/>
                    </a:lnTo>
                    <a:lnTo>
                      <a:pt x="190" y="162"/>
                    </a:lnTo>
                    <a:lnTo>
                      <a:pt x="184" y="170"/>
                    </a:lnTo>
                    <a:lnTo>
                      <a:pt x="160" y="160"/>
                    </a:lnTo>
                    <a:lnTo>
                      <a:pt x="148" y="144"/>
                    </a:lnTo>
                    <a:lnTo>
                      <a:pt x="122" y="146"/>
                    </a:lnTo>
                    <a:lnTo>
                      <a:pt x="104" y="176"/>
                    </a:lnTo>
                    <a:lnTo>
                      <a:pt x="98" y="198"/>
                    </a:lnTo>
                    <a:lnTo>
                      <a:pt x="86" y="202"/>
                    </a:lnTo>
                    <a:lnTo>
                      <a:pt x="88" y="230"/>
                    </a:lnTo>
                    <a:lnTo>
                      <a:pt x="104" y="236"/>
                    </a:lnTo>
                    <a:lnTo>
                      <a:pt x="112" y="252"/>
                    </a:lnTo>
                    <a:lnTo>
                      <a:pt x="122" y="260"/>
                    </a:lnTo>
                    <a:lnTo>
                      <a:pt x="156" y="258"/>
                    </a:lnTo>
                    <a:lnTo>
                      <a:pt x="176" y="272"/>
                    </a:lnTo>
                    <a:lnTo>
                      <a:pt x="192" y="284"/>
                    </a:lnTo>
                    <a:lnTo>
                      <a:pt x="198" y="308"/>
                    </a:lnTo>
                    <a:lnTo>
                      <a:pt x="190" y="318"/>
                    </a:lnTo>
                    <a:lnTo>
                      <a:pt x="190" y="366"/>
                    </a:lnTo>
                    <a:lnTo>
                      <a:pt x="170" y="368"/>
                    </a:lnTo>
                    <a:lnTo>
                      <a:pt x="168" y="382"/>
                    </a:lnTo>
                    <a:lnTo>
                      <a:pt x="140" y="378"/>
                    </a:lnTo>
                    <a:lnTo>
                      <a:pt x="136" y="404"/>
                    </a:lnTo>
                    <a:lnTo>
                      <a:pt x="124" y="418"/>
                    </a:lnTo>
                    <a:lnTo>
                      <a:pt x="104" y="404"/>
                    </a:lnTo>
                    <a:lnTo>
                      <a:pt x="42" y="410"/>
                    </a:lnTo>
                    <a:lnTo>
                      <a:pt x="44" y="440"/>
                    </a:lnTo>
                    <a:lnTo>
                      <a:pt x="54" y="446"/>
                    </a:lnTo>
                    <a:lnTo>
                      <a:pt x="44" y="462"/>
                    </a:lnTo>
                    <a:lnTo>
                      <a:pt x="46" y="488"/>
                    </a:lnTo>
                    <a:lnTo>
                      <a:pt x="44" y="524"/>
                    </a:lnTo>
                    <a:lnTo>
                      <a:pt x="24" y="536"/>
                    </a:lnTo>
                    <a:lnTo>
                      <a:pt x="2" y="536"/>
                    </a:lnTo>
                    <a:lnTo>
                      <a:pt x="0" y="580"/>
                    </a:lnTo>
                    <a:lnTo>
                      <a:pt x="10" y="604"/>
                    </a:lnTo>
                    <a:lnTo>
                      <a:pt x="20" y="620"/>
                    </a:lnTo>
                    <a:lnTo>
                      <a:pt x="38" y="626"/>
                    </a:lnTo>
                    <a:lnTo>
                      <a:pt x="46" y="612"/>
                    </a:lnTo>
                    <a:lnTo>
                      <a:pt x="60" y="604"/>
                    </a:lnTo>
                    <a:lnTo>
                      <a:pt x="78" y="608"/>
                    </a:lnTo>
                    <a:lnTo>
                      <a:pt x="84" y="628"/>
                    </a:lnTo>
                    <a:lnTo>
                      <a:pt x="142" y="626"/>
                    </a:lnTo>
                    <a:lnTo>
                      <a:pt x="156" y="648"/>
                    </a:lnTo>
                    <a:lnTo>
                      <a:pt x="170" y="660"/>
                    </a:lnTo>
                    <a:lnTo>
                      <a:pt x="216" y="656"/>
                    </a:lnTo>
                    <a:lnTo>
                      <a:pt x="240" y="672"/>
                    </a:lnTo>
                    <a:lnTo>
                      <a:pt x="240" y="684"/>
                    </a:lnTo>
                    <a:lnTo>
                      <a:pt x="286" y="684"/>
                    </a:lnTo>
                    <a:lnTo>
                      <a:pt x="296" y="666"/>
                    </a:lnTo>
                    <a:lnTo>
                      <a:pt x="282" y="660"/>
                    </a:lnTo>
                    <a:lnTo>
                      <a:pt x="284" y="638"/>
                    </a:lnTo>
                    <a:lnTo>
                      <a:pt x="298" y="620"/>
                    </a:lnTo>
                    <a:lnTo>
                      <a:pt x="324" y="614"/>
                    </a:lnTo>
                    <a:lnTo>
                      <a:pt x="322" y="594"/>
                    </a:lnTo>
                    <a:lnTo>
                      <a:pt x="314" y="576"/>
                    </a:lnTo>
                    <a:lnTo>
                      <a:pt x="294" y="562"/>
                    </a:lnTo>
                    <a:lnTo>
                      <a:pt x="304" y="550"/>
                    </a:lnTo>
                    <a:lnTo>
                      <a:pt x="332" y="554"/>
                    </a:lnTo>
                    <a:lnTo>
                      <a:pt x="386" y="558"/>
                    </a:lnTo>
                    <a:lnTo>
                      <a:pt x="392" y="552"/>
                    </a:lnTo>
                    <a:lnTo>
                      <a:pt x="390" y="526"/>
                    </a:lnTo>
                    <a:lnTo>
                      <a:pt x="378" y="524"/>
                    </a:lnTo>
                    <a:lnTo>
                      <a:pt x="374" y="486"/>
                    </a:lnTo>
                    <a:lnTo>
                      <a:pt x="358" y="478"/>
                    </a:lnTo>
                    <a:lnTo>
                      <a:pt x="348" y="460"/>
                    </a:lnTo>
                    <a:lnTo>
                      <a:pt x="350" y="432"/>
                    </a:lnTo>
                    <a:lnTo>
                      <a:pt x="328" y="428"/>
                    </a:lnTo>
                    <a:lnTo>
                      <a:pt x="324" y="374"/>
                    </a:lnTo>
                    <a:lnTo>
                      <a:pt x="340" y="360"/>
                    </a:lnTo>
                    <a:lnTo>
                      <a:pt x="326" y="314"/>
                    </a:lnTo>
                    <a:lnTo>
                      <a:pt x="326" y="236"/>
                    </a:lnTo>
                    <a:lnTo>
                      <a:pt x="316" y="222"/>
                    </a:lnTo>
                    <a:lnTo>
                      <a:pt x="326" y="208"/>
                    </a:lnTo>
                    <a:lnTo>
                      <a:pt x="336" y="212"/>
                    </a:lnTo>
                    <a:lnTo>
                      <a:pt x="332" y="140"/>
                    </a:lnTo>
                    <a:lnTo>
                      <a:pt x="314" y="114"/>
                    </a:lnTo>
                    <a:lnTo>
                      <a:pt x="318" y="90"/>
                    </a:lnTo>
                    <a:lnTo>
                      <a:pt x="338" y="70"/>
                    </a:lnTo>
                    <a:lnTo>
                      <a:pt x="350" y="68"/>
                    </a:lnTo>
                    <a:lnTo>
                      <a:pt x="356" y="8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62" name="Freeform 18"/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657725" y="3981450"/>
                <a:ext cx="992188" cy="592138"/>
              </a:xfrm>
              <a:custGeom>
                <a:avLst/>
                <a:gdLst>
                  <a:gd name="T0" fmla="*/ 2147483647 w 606"/>
                  <a:gd name="T1" fmla="*/ 2147483647 h 378"/>
                  <a:gd name="T2" fmla="*/ 2147483647 w 606"/>
                  <a:gd name="T3" fmla="*/ 2147483647 h 378"/>
                  <a:gd name="T4" fmla="*/ 2147483647 w 606"/>
                  <a:gd name="T5" fmla="*/ 2147483647 h 378"/>
                  <a:gd name="T6" fmla="*/ 2147483647 w 606"/>
                  <a:gd name="T7" fmla="*/ 2147483647 h 378"/>
                  <a:gd name="T8" fmla="*/ 2147483647 w 606"/>
                  <a:gd name="T9" fmla="*/ 2147483647 h 378"/>
                  <a:gd name="T10" fmla="*/ 2147483647 w 606"/>
                  <a:gd name="T11" fmla="*/ 2147483647 h 378"/>
                  <a:gd name="T12" fmla="*/ 2147483647 w 606"/>
                  <a:gd name="T13" fmla="*/ 2147483647 h 378"/>
                  <a:gd name="T14" fmla="*/ 2147483647 w 606"/>
                  <a:gd name="T15" fmla="*/ 2147483647 h 378"/>
                  <a:gd name="T16" fmla="*/ 2147483647 w 606"/>
                  <a:gd name="T17" fmla="*/ 2147483647 h 378"/>
                  <a:gd name="T18" fmla="*/ 2147483647 w 606"/>
                  <a:gd name="T19" fmla="*/ 2147483647 h 378"/>
                  <a:gd name="T20" fmla="*/ 2147483647 w 606"/>
                  <a:gd name="T21" fmla="*/ 2147483647 h 378"/>
                  <a:gd name="T22" fmla="*/ 2147483647 w 606"/>
                  <a:gd name="T23" fmla="*/ 2147483647 h 378"/>
                  <a:gd name="T24" fmla="*/ 2147483647 w 606"/>
                  <a:gd name="T25" fmla="*/ 2147483647 h 378"/>
                  <a:gd name="T26" fmla="*/ 2147483647 w 606"/>
                  <a:gd name="T27" fmla="*/ 0 h 378"/>
                  <a:gd name="T28" fmla="*/ 2147483647 w 606"/>
                  <a:gd name="T29" fmla="*/ 2147483647 h 378"/>
                  <a:gd name="T30" fmla="*/ 2147483647 w 606"/>
                  <a:gd name="T31" fmla="*/ 2147483647 h 378"/>
                  <a:gd name="T32" fmla="*/ 2147483647 w 606"/>
                  <a:gd name="T33" fmla="*/ 2147483647 h 378"/>
                  <a:gd name="T34" fmla="*/ 2147483647 w 606"/>
                  <a:gd name="T35" fmla="*/ 2147483647 h 378"/>
                  <a:gd name="T36" fmla="*/ 2147483647 w 606"/>
                  <a:gd name="T37" fmla="*/ 2147483647 h 378"/>
                  <a:gd name="T38" fmla="*/ 2147483647 w 606"/>
                  <a:gd name="T39" fmla="*/ 2147483647 h 378"/>
                  <a:gd name="T40" fmla="*/ 2147483647 w 606"/>
                  <a:gd name="T41" fmla="*/ 2147483647 h 378"/>
                  <a:gd name="T42" fmla="*/ 2147483647 w 606"/>
                  <a:gd name="T43" fmla="*/ 2147483647 h 378"/>
                  <a:gd name="T44" fmla="*/ 2147483647 w 606"/>
                  <a:gd name="T45" fmla="*/ 2147483647 h 378"/>
                  <a:gd name="T46" fmla="*/ 2147483647 w 606"/>
                  <a:gd name="T47" fmla="*/ 2147483647 h 378"/>
                  <a:gd name="T48" fmla="*/ 2147483647 w 606"/>
                  <a:gd name="T49" fmla="*/ 2147483647 h 378"/>
                  <a:gd name="T50" fmla="*/ 2147483647 w 606"/>
                  <a:gd name="T51" fmla="*/ 2147483647 h 378"/>
                  <a:gd name="T52" fmla="*/ 2147483647 w 606"/>
                  <a:gd name="T53" fmla="*/ 2147483647 h 378"/>
                  <a:gd name="T54" fmla="*/ 2147483647 w 606"/>
                  <a:gd name="T55" fmla="*/ 2147483647 h 378"/>
                  <a:gd name="T56" fmla="*/ 2147483647 w 606"/>
                  <a:gd name="T57" fmla="*/ 2147483647 h 378"/>
                  <a:gd name="T58" fmla="*/ 2147483647 w 606"/>
                  <a:gd name="T59" fmla="*/ 2147483647 h 378"/>
                  <a:gd name="T60" fmla="*/ 2147483647 w 606"/>
                  <a:gd name="T61" fmla="*/ 2147483647 h 378"/>
                  <a:gd name="T62" fmla="*/ 2147483647 w 606"/>
                  <a:gd name="T63" fmla="*/ 2147483647 h 378"/>
                  <a:gd name="T64" fmla="*/ 2147483647 w 606"/>
                  <a:gd name="T65" fmla="*/ 2147483647 h 378"/>
                  <a:gd name="T66" fmla="*/ 2147483647 w 606"/>
                  <a:gd name="T67" fmla="*/ 2147483647 h 378"/>
                  <a:gd name="T68" fmla="*/ 2147483647 w 606"/>
                  <a:gd name="T69" fmla="*/ 2147483647 h 378"/>
                  <a:gd name="T70" fmla="*/ 2147483647 w 606"/>
                  <a:gd name="T71" fmla="*/ 2147483647 h 378"/>
                  <a:gd name="T72" fmla="*/ 2147483647 w 606"/>
                  <a:gd name="T73" fmla="*/ 2147483647 h 378"/>
                  <a:gd name="T74" fmla="*/ 2147483647 w 606"/>
                  <a:gd name="T75" fmla="*/ 2147483647 h 378"/>
                  <a:gd name="T76" fmla="*/ 2147483647 w 606"/>
                  <a:gd name="T77" fmla="*/ 2147483647 h 378"/>
                  <a:gd name="T78" fmla="*/ 2147483647 w 606"/>
                  <a:gd name="T79" fmla="*/ 2147483647 h 378"/>
                  <a:gd name="T80" fmla="*/ 2147483647 w 606"/>
                  <a:gd name="T81" fmla="*/ 2147483647 h 37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606"/>
                  <a:gd name="T124" fmla="*/ 0 h 378"/>
                  <a:gd name="T125" fmla="*/ 606 w 606"/>
                  <a:gd name="T126" fmla="*/ 378 h 378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606" h="378">
                    <a:moveTo>
                      <a:pt x="606" y="270"/>
                    </a:moveTo>
                    <a:lnTo>
                      <a:pt x="598" y="262"/>
                    </a:lnTo>
                    <a:lnTo>
                      <a:pt x="574" y="218"/>
                    </a:lnTo>
                    <a:lnTo>
                      <a:pt x="576" y="192"/>
                    </a:lnTo>
                    <a:lnTo>
                      <a:pt x="570" y="164"/>
                    </a:lnTo>
                    <a:lnTo>
                      <a:pt x="550" y="144"/>
                    </a:lnTo>
                    <a:lnTo>
                      <a:pt x="536" y="130"/>
                    </a:lnTo>
                    <a:lnTo>
                      <a:pt x="510" y="136"/>
                    </a:lnTo>
                    <a:lnTo>
                      <a:pt x="496" y="142"/>
                    </a:lnTo>
                    <a:lnTo>
                      <a:pt x="470" y="138"/>
                    </a:lnTo>
                    <a:lnTo>
                      <a:pt x="468" y="126"/>
                    </a:lnTo>
                    <a:lnTo>
                      <a:pt x="452" y="110"/>
                    </a:lnTo>
                    <a:lnTo>
                      <a:pt x="432" y="104"/>
                    </a:lnTo>
                    <a:lnTo>
                      <a:pt x="416" y="118"/>
                    </a:lnTo>
                    <a:lnTo>
                      <a:pt x="396" y="116"/>
                    </a:lnTo>
                    <a:lnTo>
                      <a:pt x="394" y="90"/>
                    </a:lnTo>
                    <a:lnTo>
                      <a:pt x="376" y="68"/>
                    </a:lnTo>
                    <a:lnTo>
                      <a:pt x="334" y="68"/>
                    </a:lnTo>
                    <a:lnTo>
                      <a:pt x="324" y="80"/>
                    </a:lnTo>
                    <a:lnTo>
                      <a:pt x="286" y="84"/>
                    </a:lnTo>
                    <a:lnTo>
                      <a:pt x="280" y="66"/>
                    </a:lnTo>
                    <a:lnTo>
                      <a:pt x="250" y="58"/>
                    </a:lnTo>
                    <a:lnTo>
                      <a:pt x="230" y="38"/>
                    </a:lnTo>
                    <a:lnTo>
                      <a:pt x="224" y="28"/>
                    </a:lnTo>
                    <a:lnTo>
                      <a:pt x="200" y="34"/>
                    </a:lnTo>
                    <a:lnTo>
                      <a:pt x="178" y="14"/>
                    </a:lnTo>
                    <a:lnTo>
                      <a:pt x="138" y="12"/>
                    </a:lnTo>
                    <a:lnTo>
                      <a:pt x="94" y="0"/>
                    </a:lnTo>
                    <a:lnTo>
                      <a:pt x="80" y="18"/>
                    </a:lnTo>
                    <a:lnTo>
                      <a:pt x="90" y="30"/>
                    </a:lnTo>
                    <a:lnTo>
                      <a:pt x="104" y="44"/>
                    </a:lnTo>
                    <a:lnTo>
                      <a:pt x="112" y="72"/>
                    </a:lnTo>
                    <a:lnTo>
                      <a:pt x="96" y="74"/>
                    </a:lnTo>
                    <a:lnTo>
                      <a:pt x="78" y="84"/>
                    </a:lnTo>
                    <a:lnTo>
                      <a:pt x="70" y="100"/>
                    </a:lnTo>
                    <a:lnTo>
                      <a:pt x="66" y="116"/>
                    </a:lnTo>
                    <a:lnTo>
                      <a:pt x="74" y="130"/>
                    </a:lnTo>
                    <a:lnTo>
                      <a:pt x="86" y="136"/>
                    </a:lnTo>
                    <a:lnTo>
                      <a:pt x="120" y="134"/>
                    </a:lnTo>
                    <a:lnTo>
                      <a:pt x="116" y="174"/>
                    </a:lnTo>
                    <a:lnTo>
                      <a:pt x="126" y="196"/>
                    </a:lnTo>
                    <a:lnTo>
                      <a:pt x="114" y="216"/>
                    </a:lnTo>
                    <a:lnTo>
                      <a:pt x="90" y="232"/>
                    </a:lnTo>
                    <a:lnTo>
                      <a:pt x="66" y="240"/>
                    </a:lnTo>
                    <a:lnTo>
                      <a:pt x="48" y="258"/>
                    </a:lnTo>
                    <a:lnTo>
                      <a:pt x="10" y="260"/>
                    </a:lnTo>
                    <a:lnTo>
                      <a:pt x="0" y="304"/>
                    </a:lnTo>
                    <a:lnTo>
                      <a:pt x="16" y="338"/>
                    </a:lnTo>
                    <a:lnTo>
                      <a:pt x="36" y="364"/>
                    </a:lnTo>
                    <a:lnTo>
                      <a:pt x="62" y="378"/>
                    </a:lnTo>
                    <a:lnTo>
                      <a:pt x="74" y="376"/>
                    </a:lnTo>
                    <a:lnTo>
                      <a:pt x="82" y="348"/>
                    </a:lnTo>
                    <a:lnTo>
                      <a:pt x="104" y="342"/>
                    </a:lnTo>
                    <a:lnTo>
                      <a:pt x="108" y="332"/>
                    </a:lnTo>
                    <a:lnTo>
                      <a:pt x="156" y="332"/>
                    </a:lnTo>
                    <a:lnTo>
                      <a:pt x="162" y="312"/>
                    </a:lnTo>
                    <a:lnTo>
                      <a:pt x="136" y="298"/>
                    </a:lnTo>
                    <a:lnTo>
                      <a:pt x="146" y="288"/>
                    </a:lnTo>
                    <a:lnTo>
                      <a:pt x="186" y="288"/>
                    </a:lnTo>
                    <a:lnTo>
                      <a:pt x="192" y="304"/>
                    </a:lnTo>
                    <a:lnTo>
                      <a:pt x="266" y="302"/>
                    </a:lnTo>
                    <a:lnTo>
                      <a:pt x="280" y="328"/>
                    </a:lnTo>
                    <a:lnTo>
                      <a:pt x="304" y="334"/>
                    </a:lnTo>
                    <a:lnTo>
                      <a:pt x="324" y="334"/>
                    </a:lnTo>
                    <a:lnTo>
                      <a:pt x="334" y="306"/>
                    </a:lnTo>
                    <a:lnTo>
                      <a:pt x="344" y="308"/>
                    </a:lnTo>
                    <a:lnTo>
                      <a:pt x="352" y="332"/>
                    </a:lnTo>
                    <a:lnTo>
                      <a:pt x="372" y="332"/>
                    </a:lnTo>
                    <a:lnTo>
                      <a:pt x="378" y="310"/>
                    </a:lnTo>
                    <a:lnTo>
                      <a:pt x="404" y="302"/>
                    </a:lnTo>
                    <a:lnTo>
                      <a:pt x="402" y="338"/>
                    </a:lnTo>
                    <a:lnTo>
                      <a:pt x="416" y="350"/>
                    </a:lnTo>
                    <a:lnTo>
                      <a:pt x="436" y="352"/>
                    </a:lnTo>
                    <a:lnTo>
                      <a:pt x="460" y="330"/>
                    </a:lnTo>
                    <a:lnTo>
                      <a:pt x="480" y="324"/>
                    </a:lnTo>
                    <a:lnTo>
                      <a:pt x="502" y="332"/>
                    </a:lnTo>
                    <a:lnTo>
                      <a:pt x="514" y="318"/>
                    </a:lnTo>
                    <a:lnTo>
                      <a:pt x="512" y="304"/>
                    </a:lnTo>
                    <a:lnTo>
                      <a:pt x="538" y="308"/>
                    </a:lnTo>
                    <a:lnTo>
                      <a:pt x="544" y="294"/>
                    </a:lnTo>
                    <a:lnTo>
                      <a:pt x="578" y="290"/>
                    </a:lnTo>
                    <a:lnTo>
                      <a:pt x="594" y="288"/>
                    </a:lnTo>
                    <a:lnTo>
                      <a:pt x="606" y="27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63" name="Freeform 19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2824163" y="2636838"/>
                <a:ext cx="1822450" cy="1497012"/>
              </a:xfrm>
              <a:custGeom>
                <a:avLst/>
                <a:gdLst>
                  <a:gd name="T0" fmla="*/ 2147483647 w 1111"/>
                  <a:gd name="T1" fmla="*/ 2147483647 h 949"/>
                  <a:gd name="T2" fmla="*/ 2147483647 w 1111"/>
                  <a:gd name="T3" fmla="*/ 2147483647 h 949"/>
                  <a:gd name="T4" fmla="*/ 2147483647 w 1111"/>
                  <a:gd name="T5" fmla="*/ 2147483647 h 949"/>
                  <a:gd name="T6" fmla="*/ 2147483647 w 1111"/>
                  <a:gd name="T7" fmla="*/ 2147483647 h 949"/>
                  <a:gd name="T8" fmla="*/ 2147483647 w 1111"/>
                  <a:gd name="T9" fmla="*/ 2147483647 h 949"/>
                  <a:gd name="T10" fmla="*/ 2147483647 w 1111"/>
                  <a:gd name="T11" fmla="*/ 2147483647 h 949"/>
                  <a:gd name="T12" fmla="*/ 2147483647 w 1111"/>
                  <a:gd name="T13" fmla="*/ 2147483647 h 949"/>
                  <a:gd name="T14" fmla="*/ 2147483647 w 1111"/>
                  <a:gd name="T15" fmla="*/ 2147483647 h 949"/>
                  <a:gd name="T16" fmla="*/ 2147483647 w 1111"/>
                  <a:gd name="T17" fmla="*/ 2147483647 h 949"/>
                  <a:gd name="T18" fmla="*/ 2147483647 w 1111"/>
                  <a:gd name="T19" fmla="*/ 2147483647 h 949"/>
                  <a:gd name="T20" fmla="*/ 2147483647 w 1111"/>
                  <a:gd name="T21" fmla="*/ 2147483647 h 949"/>
                  <a:gd name="T22" fmla="*/ 2147483647 w 1111"/>
                  <a:gd name="T23" fmla="*/ 2147483647 h 949"/>
                  <a:gd name="T24" fmla="*/ 2147483647 w 1111"/>
                  <a:gd name="T25" fmla="*/ 2147483647 h 949"/>
                  <a:gd name="T26" fmla="*/ 2147483647 w 1111"/>
                  <a:gd name="T27" fmla="*/ 2147483647 h 949"/>
                  <a:gd name="T28" fmla="*/ 2147483647 w 1111"/>
                  <a:gd name="T29" fmla="*/ 2147483647 h 949"/>
                  <a:gd name="T30" fmla="*/ 2147483647 w 1111"/>
                  <a:gd name="T31" fmla="*/ 2147483647 h 949"/>
                  <a:gd name="T32" fmla="*/ 2147483647 w 1111"/>
                  <a:gd name="T33" fmla="*/ 2147483647 h 949"/>
                  <a:gd name="T34" fmla="*/ 2147483647 w 1111"/>
                  <a:gd name="T35" fmla="*/ 2147483647 h 949"/>
                  <a:gd name="T36" fmla="*/ 2147483647 w 1111"/>
                  <a:gd name="T37" fmla="*/ 2147483647 h 949"/>
                  <a:gd name="T38" fmla="*/ 2147483647 w 1111"/>
                  <a:gd name="T39" fmla="*/ 2147483647 h 949"/>
                  <a:gd name="T40" fmla="*/ 2147483647 w 1111"/>
                  <a:gd name="T41" fmla="*/ 2147483647 h 949"/>
                  <a:gd name="T42" fmla="*/ 2147483647 w 1111"/>
                  <a:gd name="T43" fmla="*/ 2147483647 h 949"/>
                  <a:gd name="T44" fmla="*/ 2147483647 w 1111"/>
                  <a:gd name="T45" fmla="*/ 2147483647 h 949"/>
                  <a:gd name="T46" fmla="*/ 2147483647 w 1111"/>
                  <a:gd name="T47" fmla="*/ 2147483647 h 949"/>
                  <a:gd name="T48" fmla="*/ 2147483647 w 1111"/>
                  <a:gd name="T49" fmla="*/ 2147483647 h 949"/>
                  <a:gd name="T50" fmla="*/ 2147483647 w 1111"/>
                  <a:gd name="T51" fmla="*/ 2147483647 h 949"/>
                  <a:gd name="T52" fmla="*/ 2147483647 w 1111"/>
                  <a:gd name="T53" fmla="*/ 2147483647 h 949"/>
                  <a:gd name="T54" fmla="*/ 2147483647 w 1111"/>
                  <a:gd name="T55" fmla="*/ 2147483647 h 949"/>
                  <a:gd name="T56" fmla="*/ 2147483647 w 1111"/>
                  <a:gd name="T57" fmla="*/ 2147483647 h 949"/>
                  <a:gd name="T58" fmla="*/ 2147483647 w 1111"/>
                  <a:gd name="T59" fmla="*/ 2147483647 h 949"/>
                  <a:gd name="T60" fmla="*/ 2147483647 w 1111"/>
                  <a:gd name="T61" fmla="*/ 2147483647 h 949"/>
                  <a:gd name="T62" fmla="*/ 2147483647 w 1111"/>
                  <a:gd name="T63" fmla="*/ 2147483647 h 949"/>
                  <a:gd name="T64" fmla="*/ 2147483647 w 1111"/>
                  <a:gd name="T65" fmla="*/ 2147483647 h 949"/>
                  <a:gd name="T66" fmla="*/ 2147483647 w 1111"/>
                  <a:gd name="T67" fmla="*/ 2147483647 h 949"/>
                  <a:gd name="T68" fmla="*/ 2147483647 w 1111"/>
                  <a:gd name="T69" fmla="*/ 2147483647 h 949"/>
                  <a:gd name="T70" fmla="*/ 2147483647 w 1111"/>
                  <a:gd name="T71" fmla="*/ 2147483647 h 949"/>
                  <a:gd name="T72" fmla="*/ 2147483647 w 1111"/>
                  <a:gd name="T73" fmla="*/ 2147483647 h 949"/>
                  <a:gd name="T74" fmla="*/ 2147483647 w 1111"/>
                  <a:gd name="T75" fmla="*/ 2147483647 h 949"/>
                  <a:gd name="T76" fmla="*/ 2147483647 w 1111"/>
                  <a:gd name="T77" fmla="*/ 2147483647 h 949"/>
                  <a:gd name="T78" fmla="*/ 2147483647 w 1111"/>
                  <a:gd name="T79" fmla="*/ 2147483647 h 949"/>
                  <a:gd name="T80" fmla="*/ 2147483647 w 1111"/>
                  <a:gd name="T81" fmla="*/ 2147483647 h 949"/>
                  <a:gd name="T82" fmla="*/ 2147483647 w 1111"/>
                  <a:gd name="T83" fmla="*/ 2147483647 h 949"/>
                  <a:gd name="T84" fmla="*/ 2147483647 w 1111"/>
                  <a:gd name="T85" fmla="*/ 2147483647 h 949"/>
                  <a:gd name="T86" fmla="*/ 2147483647 w 1111"/>
                  <a:gd name="T87" fmla="*/ 2147483647 h 949"/>
                  <a:gd name="T88" fmla="*/ 2147483647 w 1111"/>
                  <a:gd name="T89" fmla="*/ 2147483647 h 949"/>
                  <a:gd name="T90" fmla="*/ 2147483647 w 1111"/>
                  <a:gd name="T91" fmla="*/ 2147483647 h 949"/>
                  <a:gd name="T92" fmla="*/ 2147483647 w 1111"/>
                  <a:gd name="T93" fmla="*/ 2147483647 h 949"/>
                  <a:gd name="T94" fmla="*/ 2147483647 w 1111"/>
                  <a:gd name="T95" fmla="*/ 2147483647 h 94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111"/>
                  <a:gd name="T145" fmla="*/ 0 h 949"/>
                  <a:gd name="T146" fmla="*/ 1111 w 1111"/>
                  <a:gd name="T147" fmla="*/ 949 h 949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111" h="949">
                    <a:moveTo>
                      <a:pt x="1032" y="466"/>
                    </a:moveTo>
                    <a:lnTo>
                      <a:pt x="1020" y="458"/>
                    </a:lnTo>
                    <a:lnTo>
                      <a:pt x="1014" y="442"/>
                    </a:lnTo>
                    <a:lnTo>
                      <a:pt x="1010" y="430"/>
                    </a:lnTo>
                    <a:lnTo>
                      <a:pt x="988" y="432"/>
                    </a:lnTo>
                    <a:lnTo>
                      <a:pt x="976" y="422"/>
                    </a:lnTo>
                    <a:lnTo>
                      <a:pt x="978" y="386"/>
                    </a:lnTo>
                    <a:lnTo>
                      <a:pt x="978" y="360"/>
                    </a:lnTo>
                    <a:lnTo>
                      <a:pt x="968" y="350"/>
                    </a:lnTo>
                    <a:lnTo>
                      <a:pt x="964" y="334"/>
                    </a:lnTo>
                    <a:lnTo>
                      <a:pt x="960" y="320"/>
                    </a:lnTo>
                    <a:lnTo>
                      <a:pt x="952" y="322"/>
                    </a:lnTo>
                    <a:lnTo>
                      <a:pt x="938" y="340"/>
                    </a:lnTo>
                    <a:lnTo>
                      <a:pt x="934" y="356"/>
                    </a:lnTo>
                    <a:lnTo>
                      <a:pt x="920" y="376"/>
                    </a:lnTo>
                    <a:lnTo>
                      <a:pt x="910" y="404"/>
                    </a:lnTo>
                    <a:lnTo>
                      <a:pt x="906" y="418"/>
                    </a:lnTo>
                    <a:lnTo>
                      <a:pt x="892" y="422"/>
                    </a:lnTo>
                    <a:lnTo>
                      <a:pt x="884" y="444"/>
                    </a:lnTo>
                    <a:lnTo>
                      <a:pt x="872" y="454"/>
                    </a:lnTo>
                    <a:lnTo>
                      <a:pt x="868" y="474"/>
                    </a:lnTo>
                    <a:lnTo>
                      <a:pt x="850" y="480"/>
                    </a:lnTo>
                    <a:lnTo>
                      <a:pt x="834" y="486"/>
                    </a:lnTo>
                    <a:lnTo>
                      <a:pt x="814" y="494"/>
                    </a:lnTo>
                    <a:lnTo>
                      <a:pt x="802" y="498"/>
                    </a:lnTo>
                    <a:lnTo>
                      <a:pt x="780" y="504"/>
                    </a:lnTo>
                    <a:lnTo>
                      <a:pt x="762" y="488"/>
                    </a:lnTo>
                    <a:lnTo>
                      <a:pt x="750" y="474"/>
                    </a:lnTo>
                    <a:lnTo>
                      <a:pt x="734" y="474"/>
                    </a:lnTo>
                    <a:lnTo>
                      <a:pt x="730" y="452"/>
                    </a:lnTo>
                    <a:lnTo>
                      <a:pt x="734" y="438"/>
                    </a:lnTo>
                    <a:lnTo>
                      <a:pt x="738" y="424"/>
                    </a:lnTo>
                    <a:lnTo>
                      <a:pt x="754" y="414"/>
                    </a:lnTo>
                    <a:lnTo>
                      <a:pt x="750" y="394"/>
                    </a:lnTo>
                    <a:lnTo>
                      <a:pt x="776" y="380"/>
                    </a:lnTo>
                    <a:lnTo>
                      <a:pt x="776" y="362"/>
                    </a:lnTo>
                    <a:lnTo>
                      <a:pt x="762" y="338"/>
                    </a:lnTo>
                    <a:lnTo>
                      <a:pt x="738" y="332"/>
                    </a:lnTo>
                    <a:lnTo>
                      <a:pt x="722" y="338"/>
                    </a:lnTo>
                    <a:lnTo>
                      <a:pt x="716" y="344"/>
                    </a:lnTo>
                    <a:lnTo>
                      <a:pt x="648" y="344"/>
                    </a:lnTo>
                    <a:lnTo>
                      <a:pt x="630" y="342"/>
                    </a:lnTo>
                    <a:lnTo>
                      <a:pt x="628" y="350"/>
                    </a:lnTo>
                    <a:lnTo>
                      <a:pt x="630" y="366"/>
                    </a:lnTo>
                    <a:lnTo>
                      <a:pt x="636" y="380"/>
                    </a:lnTo>
                    <a:lnTo>
                      <a:pt x="626" y="388"/>
                    </a:lnTo>
                    <a:lnTo>
                      <a:pt x="600" y="392"/>
                    </a:lnTo>
                    <a:lnTo>
                      <a:pt x="590" y="372"/>
                    </a:lnTo>
                    <a:lnTo>
                      <a:pt x="578" y="364"/>
                    </a:lnTo>
                    <a:lnTo>
                      <a:pt x="556" y="366"/>
                    </a:lnTo>
                    <a:lnTo>
                      <a:pt x="556" y="338"/>
                    </a:lnTo>
                    <a:lnTo>
                      <a:pt x="538" y="326"/>
                    </a:lnTo>
                    <a:lnTo>
                      <a:pt x="534" y="312"/>
                    </a:lnTo>
                    <a:lnTo>
                      <a:pt x="514" y="296"/>
                    </a:lnTo>
                    <a:lnTo>
                      <a:pt x="500" y="276"/>
                    </a:lnTo>
                    <a:lnTo>
                      <a:pt x="482" y="266"/>
                    </a:lnTo>
                    <a:lnTo>
                      <a:pt x="478" y="246"/>
                    </a:lnTo>
                    <a:lnTo>
                      <a:pt x="492" y="238"/>
                    </a:lnTo>
                    <a:lnTo>
                      <a:pt x="504" y="230"/>
                    </a:lnTo>
                    <a:lnTo>
                      <a:pt x="506" y="204"/>
                    </a:lnTo>
                    <a:lnTo>
                      <a:pt x="514" y="200"/>
                    </a:lnTo>
                    <a:lnTo>
                      <a:pt x="510" y="188"/>
                    </a:lnTo>
                    <a:lnTo>
                      <a:pt x="500" y="180"/>
                    </a:lnTo>
                    <a:lnTo>
                      <a:pt x="484" y="186"/>
                    </a:lnTo>
                    <a:lnTo>
                      <a:pt x="430" y="188"/>
                    </a:lnTo>
                    <a:lnTo>
                      <a:pt x="416" y="196"/>
                    </a:lnTo>
                    <a:lnTo>
                      <a:pt x="396" y="206"/>
                    </a:lnTo>
                    <a:lnTo>
                      <a:pt x="380" y="200"/>
                    </a:lnTo>
                    <a:lnTo>
                      <a:pt x="384" y="176"/>
                    </a:lnTo>
                    <a:lnTo>
                      <a:pt x="394" y="176"/>
                    </a:lnTo>
                    <a:lnTo>
                      <a:pt x="396" y="164"/>
                    </a:lnTo>
                    <a:lnTo>
                      <a:pt x="370" y="142"/>
                    </a:lnTo>
                    <a:lnTo>
                      <a:pt x="356" y="118"/>
                    </a:lnTo>
                    <a:lnTo>
                      <a:pt x="346" y="74"/>
                    </a:lnTo>
                    <a:lnTo>
                      <a:pt x="334" y="36"/>
                    </a:lnTo>
                    <a:lnTo>
                      <a:pt x="324" y="14"/>
                    </a:lnTo>
                    <a:lnTo>
                      <a:pt x="320" y="0"/>
                    </a:lnTo>
                    <a:lnTo>
                      <a:pt x="270" y="0"/>
                    </a:lnTo>
                    <a:lnTo>
                      <a:pt x="256" y="12"/>
                    </a:lnTo>
                    <a:lnTo>
                      <a:pt x="248" y="44"/>
                    </a:lnTo>
                    <a:lnTo>
                      <a:pt x="232" y="66"/>
                    </a:lnTo>
                    <a:lnTo>
                      <a:pt x="220" y="80"/>
                    </a:lnTo>
                    <a:lnTo>
                      <a:pt x="212" y="68"/>
                    </a:lnTo>
                    <a:lnTo>
                      <a:pt x="188" y="68"/>
                    </a:lnTo>
                    <a:lnTo>
                      <a:pt x="182" y="78"/>
                    </a:lnTo>
                    <a:lnTo>
                      <a:pt x="144" y="88"/>
                    </a:lnTo>
                    <a:lnTo>
                      <a:pt x="112" y="110"/>
                    </a:lnTo>
                    <a:lnTo>
                      <a:pt x="100" y="138"/>
                    </a:lnTo>
                    <a:lnTo>
                      <a:pt x="78" y="140"/>
                    </a:lnTo>
                    <a:lnTo>
                      <a:pt x="68" y="158"/>
                    </a:lnTo>
                    <a:lnTo>
                      <a:pt x="64" y="188"/>
                    </a:lnTo>
                    <a:lnTo>
                      <a:pt x="32" y="190"/>
                    </a:lnTo>
                    <a:lnTo>
                      <a:pt x="8" y="196"/>
                    </a:lnTo>
                    <a:lnTo>
                      <a:pt x="0" y="222"/>
                    </a:lnTo>
                    <a:lnTo>
                      <a:pt x="6" y="252"/>
                    </a:lnTo>
                    <a:lnTo>
                      <a:pt x="6" y="278"/>
                    </a:lnTo>
                    <a:lnTo>
                      <a:pt x="10" y="294"/>
                    </a:lnTo>
                    <a:lnTo>
                      <a:pt x="48" y="294"/>
                    </a:lnTo>
                    <a:lnTo>
                      <a:pt x="76" y="288"/>
                    </a:lnTo>
                    <a:lnTo>
                      <a:pt x="106" y="292"/>
                    </a:lnTo>
                    <a:lnTo>
                      <a:pt x="134" y="302"/>
                    </a:lnTo>
                    <a:lnTo>
                      <a:pt x="170" y="328"/>
                    </a:lnTo>
                    <a:lnTo>
                      <a:pt x="202" y="334"/>
                    </a:lnTo>
                    <a:lnTo>
                      <a:pt x="232" y="358"/>
                    </a:lnTo>
                    <a:lnTo>
                      <a:pt x="262" y="358"/>
                    </a:lnTo>
                    <a:lnTo>
                      <a:pt x="284" y="332"/>
                    </a:lnTo>
                    <a:lnTo>
                      <a:pt x="300" y="308"/>
                    </a:lnTo>
                    <a:lnTo>
                      <a:pt x="312" y="310"/>
                    </a:lnTo>
                    <a:lnTo>
                      <a:pt x="324" y="332"/>
                    </a:lnTo>
                    <a:lnTo>
                      <a:pt x="354" y="336"/>
                    </a:lnTo>
                    <a:lnTo>
                      <a:pt x="374" y="334"/>
                    </a:lnTo>
                    <a:lnTo>
                      <a:pt x="386" y="324"/>
                    </a:lnTo>
                    <a:lnTo>
                      <a:pt x="410" y="328"/>
                    </a:lnTo>
                    <a:lnTo>
                      <a:pt x="438" y="344"/>
                    </a:lnTo>
                    <a:lnTo>
                      <a:pt x="448" y="364"/>
                    </a:lnTo>
                    <a:lnTo>
                      <a:pt x="458" y="378"/>
                    </a:lnTo>
                    <a:lnTo>
                      <a:pt x="488" y="376"/>
                    </a:lnTo>
                    <a:lnTo>
                      <a:pt x="492" y="362"/>
                    </a:lnTo>
                    <a:lnTo>
                      <a:pt x="504" y="380"/>
                    </a:lnTo>
                    <a:lnTo>
                      <a:pt x="514" y="412"/>
                    </a:lnTo>
                    <a:lnTo>
                      <a:pt x="558" y="436"/>
                    </a:lnTo>
                    <a:lnTo>
                      <a:pt x="590" y="460"/>
                    </a:lnTo>
                    <a:lnTo>
                      <a:pt x="598" y="474"/>
                    </a:lnTo>
                    <a:lnTo>
                      <a:pt x="626" y="468"/>
                    </a:lnTo>
                    <a:lnTo>
                      <a:pt x="650" y="484"/>
                    </a:lnTo>
                    <a:lnTo>
                      <a:pt x="662" y="528"/>
                    </a:lnTo>
                    <a:lnTo>
                      <a:pt x="662" y="556"/>
                    </a:lnTo>
                    <a:lnTo>
                      <a:pt x="678" y="576"/>
                    </a:lnTo>
                    <a:lnTo>
                      <a:pt x="680" y="608"/>
                    </a:lnTo>
                    <a:lnTo>
                      <a:pt x="698" y="616"/>
                    </a:lnTo>
                    <a:lnTo>
                      <a:pt x="690" y="628"/>
                    </a:lnTo>
                    <a:lnTo>
                      <a:pt x="682" y="640"/>
                    </a:lnTo>
                    <a:lnTo>
                      <a:pt x="670" y="668"/>
                    </a:lnTo>
                    <a:lnTo>
                      <a:pt x="648" y="670"/>
                    </a:lnTo>
                    <a:lnTo>
                      <a:pt x="644" y="708"/>
                    </a:lnTo>
                    <a:lnTo>
                      <a:pt x="604" y="718"/>
                    </a:lnTo>
                    <a:lnTo>
                      <a:pt x="606" y="770"/>
                    </a:lnTo>
                    <a:lnTo>
                      <a:pt x="582" y="780"/>
                    </a:lnTo>
                    <a:lnTo>
                      <a:pt x="550" y="780"/>
                    </a:lnTo>
                    <a:lnTo>
                      <a:pt x="552" y="806"/>
                    </a:lnTo>
                    <a:lnTo>
                      <a:pt x="584" y="810"/>
                    </a:lnTo>
                    <a:lnTo>
                      <a:pt x="600" y="812"/>
                    </a:lnTo>
                    <a:lnTo>
                      <a:pt x="620" y="822"/>
                    </a:lnTo>
                    <a:lnTo>
                      <a:pt x="650" y="838"/>
                    </a:lnTo>
                    <a:lnTo>
                      <a:pt x="654" y="816"/>
                    </a:lnTo>
                    <a:lnTo>
                      <a:pt x="654" y="794"/>
                    </a:lnTo>
                    <a:lnTo>
                      <a:pt x="676" y="784"/>
                    </a:lnTo>
                    <a:lnTo>
                      <a:pt x="692" y="790"/>
                    </a:lnTo>
                    <a:lnTo>
                      <a:pt x="694" y="806"/>
                    </a:lnTo>
                    <a:lnTo>
                      <a:pt x="716" y="816"/>
                    </a:lnTo>
                    <a:lnTo>
                      <a:pt x="722" y="832"/>
                    </a:lnTo>
                    <a:lnTo>
                      <a:pt x="760" y="834"/>
                    </a:lnTo>
                    <a:lnTo>
                      <a:pt x="782" y="866"/>
                    </a:lnTo>
                    <a:lnTo>
                      <a:pt x="800" y="870"/>
                    </a:lnTo>
                    <a:lnTo>
                      <a:pt x="800" y="902"/>
                    </a:lnTo>
                    <a:lnTo>
                      <a:pt x="810" y="918"/>
                    </a:lnTo>
                    <a:lnTo>
                      <a:pt x="818" y="944"/>
                    </a:lnTo>
                    <a:lnTo>
                      <a:pt x="834" y="948"/>
                    </a:lnTo>
                    <a:lnTo>
                      <a:pt x="858" y="946"/>
                    </a:lnTo>
                    <a:lnTo>
                      <a:pt x="870" y="936"/>
                    </a:lnTo>
                    <a:lnTo>
                      <a:pt x="872" y="918"/>
                    </a:lnTo>
                    <a:lnTo>
                      <a:pt x="904" y="912"/>
                    </a:lnTo>
                    <a:lnTo>
                      <a:pt x="918" y="900"/>
                    </a:lnTo>
                    <a:lnTo>
                      <a:pt x="912" y="882"/>
                    </a:lnTo>
                    <a:lnTo>
                      <a:pt x="914" y="870"/>
                    </a:lnTo>
                    <a:lnTo>
                      <a:pt x="918" y="852"/>
                    </a:lnTo>
                    <a:lnTo>
                      <a:pt x="938" y="852"/>
                    </a:lnTo>
                    <a:lnTo>
                      <a:pt x="958" y="836"/>
                    </a:lnTo>
                    <a:lnTo>
                      <a:pt x="958" y="776"/>
                    </a:lnTo>
                    <a:lnTo>
                      <a:pt x="964" y="762"/>
                    </a:lnTo>
                    <a:lnTo>
                      <a:pt x="958" y="748"/>
                    </a:lnTo>
                    <a:lnTo>
                      <a:pt x="956" y="730"/>
                    </a:lnTo>
                    <a:lnTo>
                      <a:pt x="958" y="724"/>
                    </a:lnTo>
                    <a:lnTo>
                      <a:pt x="1000" y="720"/>
                    </a:lnTo>
                    <a:lnTo>
                      <a:pt x="1012" y="720"/>
                    </a:lnTo>
                    <a:lnTo>
                      <a:pt x="1030" y="732"/>
                    </a:lnTo>
                    <a:lnTo>
                      <a:pt x="1048" y="720"/>
                    </a:lnTo>
                    <a:lnTo>
                      <a:pt x="1052" y="700"/>
                    </a:lnTo>
                    <a:lnTo>
                      <a:pt x="1062" y="692"/>
                    </a:lnTo>
                    <a:lnTo>
                      <a:pt x="1076" y="696"/>
                    </a:lnTo>
                    <a:lnTo>
                      <a:pt x="1084" y="682"/>
                    </a:lnTo>
                    <a:lnTo>
                      <a:pt x="1102" y="676"/>
                    </a:lnTo>
                    <a:lnTo>
                      <a:pt x="1104" y="626"/>
                    </a:lnTo>
                    <a:lnTo>
                      <a:pt x="1110" y="616"/>
                    </a:lnTo>
                    <a:lnTo>
                      <a:pt x="1106" y="592"/>
                    </a:lnTo>
                    <a:lnTo>
                      <a:pt x="1082" y="574"/>
                    </a:lnTo>
                    <a:lnTo>
                      <a:pt x="1064" y="568"/>
                    </a:lnTo>
                    <a:lnTo>
                      <a:pt x="1030" y="570"/>
                    </a:lnTo>
                    <a:lnTo>
                      <a:pt x="1016" y="546"/>
                    </a:lnTo>
                    <a:lnTo>
                      <a:pt x="1000" y="538"/>
                    </a:lnTo>
                    <a:lnTo>
                      <a:pt x="998" y="518"/>
                    </a:lnTo>
                    <a:lnTo>
                      <a:pt x="1012" y="514"/>
                    </a:lnTo>
                    <a:lnTo>
                      <a:pt x="1018" y="486"/>
                    </a:lnTo>
                    <a:lnTo>
                      <a:pt x="1032" y="46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64" name="Freeform 20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3289300" y="3865563"/>
                <a:ext cx="1577975" cy="1155700"/>
              </a:xfrm>
              <a:custGeom>
                <a:avLst/>
                <a:gdLst>
                  <a:gd name="T0" fmla="*/ 2147483647 w 963"/>
                  <a:gd name="T1" fmla="*/ 2147483647 h 735"/>
                  <a:gd name="T2" fmla="*/ 2147483647 w 963"/>
                  <a:gd name="T3" fmla="*/ 2147483647 h 735"/>
                  <a:gd name="T4" fmla="*/ 2147483647 w 963"/>
                  <a:gd name="T5" fmla="*/ 2147483647 h 735"/>
                  <a:gd name="T6" fmla="*/ 2147483647 w 963"/>
                  <a:gd name="T7" fmla="*/ 2147483647 h 735"/>
                  <a:gd name="T8" fmla="*/ 2147483647 w 963"/>
                  <a:gd name="T9" fmla="*/ 2147483647 h 735"/>
                  <a:gd name="T10" fmla="*/ 2147483647 w 963"/>
                  <a:gd name="T11" fmla="*/ 2147483647 h 735"/>
                  <a:gd name="T12" fmla="*/ 2147483647 w 963"/>
                  <a:gd name="T13" fmla="*/ 2147483647 h 735"/>
                  <a:gd name="T14" fmla="*/ 2147483647 w 963"/>
                  <a:gd name="T15" fmla="*/ 2147483647 h 735"/>
                  <a:gd name="T16" fmla="*/ 2147483647 w 963"/>
                  <a:gd name="T17" fmla="*/ 2147483647 h 735"/>
                  <a:gd name="T18" fmla="*/ 2147483647 w 963"/>
                  <a:gd name="T19" fmla="*/ 2147483647 h 735"/>
                  <a:gd name="T20" fmla="*/ 2147483647 w 963"/>
                  <a:gd name="T21" fmla="*/ 2147483647 h 735"/>
                  <a:gd name="T22" fmla="*/ 2147483647 w 963"/>
                  <a:gd name="T23" fmla="*/ 2147483647 h 735"/>
                  <a:gd name="T24" fmla="*/ 2147483647 w 963"/>
                  <a:gd name="T25" fmla="*/ 2147483647 h 735"/>
                  <a:gd name="T26" fmla="*/ 2147483647 w 963"/>
                  <a:gd name="T27" fmla="*/ 2147483647 h 735"/>
                  <a:gd name="T28" fmla="*/ 2147483647 w 963"/>
                  <a:gd name="T29" fmla="*/ 2147483647 h 735"/>
                  <a:gd name="T30" fmla="*/ 2147483647 w 963"/>
                  <a:gd name="T31" fmla="*/ 2147483647 h 735"/>
                  <a:gd name="T32" fmla="*/ 2147483647 w 963"/>
                  <a:gd name="T33" fmla="*/ 2147483647 h 735"/>
                  <a:gd name="T34" fmla="*/ 2147483647 w 963"/>
                  <a:gd name="T35" fmla="*/ 2147483647 h 735"/>
                  <a:gd name="T36" fmla="*/ 2147483647 w 963"/>
                  <a:gd name="T37" fmla="*/ 2147483647 h 735"/>
                  <a:gd name="T38" fmla="*/ 2147483647 w 963"/>
                  <a:gd name="T39" fmla="*/ 2147483647 h 735"/>
                  <a:gd name="T40" fmla="*/ 2147483647 w 963"/>
                  <a:gd name="T41" fmla="*/ 2147483647 h 735"/>
                  <a:gd name="T42" fmla="*/ 2147483647 w 963"/>
                  <a:gd name="T43" fmla="*/ 2147483647 h 735"/>
                  <a:gd name="T44" fmla="*/ 2147483647 w 963"/>
                  <a:gd name="T45" fmla="*/ 2147483647 h 735"/>
                  <a:gd name="T46" fmla="*/ 2147483647 w 963"/>
                  <a:gd name="T47" fmla="*/ 2147483647 h 735"/>
                  <a:gd name="T48" fmla="*/ 2147483647 w 963"/>
                  <a:gd name="T49" fmla="*/ 2147483647 h 735"/>
                  <a:gd name="T50" fmla="*/ 2147483647 w 963"/>
                  <a:gd name="T51" fmla="*/ 2147483647 h 735"/>
                  <a:gd name="T52" fmla="*/ 2147483647 w 963"/>
                  <a:gd name="T53" fmla="*/ 2147483647 h 735"/>
                  <a:gd name="T54" fmla="*/ 2147483647 w 963"/>
                  <a:gd name="T55" fmla="*/ 2147483647 h 735"/>
                  <a:gd name="T56" fmla="*/ 2147483647 w 963"/>
                  <a:gd name="T57" fmla="*/ 2147483647 h 735"/>
                  <a:gd name="T58" fmla="*/ 2147483647 w 963"/>
                  <a:gd name="T59" fmla="*/ 2147483647 h 735"/>
                  <a:gd name="T60" fmla="*/ 2147483647 w 963"/>
                  <a:gd name="T61" fmla="*/ 2147483647 h 735"/>
                  <a:gd name="T62" fmla="*/ 2147483647 w 963"/>
                  <a:gd name="T63" fmla="*/ 2147483647 h 735"/>
                  <a:gd name="T64" fmla="*/ 2147483647 w 963"/>
                  <a:gd name="T65" fmla="*/ 2147483647 h 735"/>
                  <a:gd name="T66" fmla="*/ 2147483647 w 963"/>
                  <a:gd name="T67" fmla="*/ 2147483647 h 735"/>
                  <a:gd name="T68" fmla="*/ 2147483647 w 963"/>
                  <a:gd name="T69" fmla="*/ 2147483647 h 735"/>
                  <a:gd name="T70" fmla="*/ 2147483647 w 963"/>
                  <a:gd name="T71" fmla="*/ 2147483647 h 735"/>
                  <a:gd name="T72" fmla="*/ 2147483647 w 963"/>
                  <a:gd name="T73" fmla="*/ 2147483647 h 735"/>
                  <a:gd name="T74" fmla="*/ 2147483647 w 963"/>
                  <a:gd name="T75" fmla="*/ 2147483647 h 735"/>
                  <a:gd name="T76" fmla="*/ 2147483647 w 963"/>
                  <a:gd name="T77" fmla="*/ 2147483647 h 735"/>
                  <a:gd name="T78" fmla="*/ 2147483647 w 963"/>
                  <a:gd name="T79" fmla="*/ 2147483647 h 735"/>
                  <a:gd name="T80" fmla="*/ 2147483647 w 963"/>
                  <a:gd name="T81" fmla="*/ 2147483647 h 735"/>
                  <a:gd name="T82" fmla="*/ 2147483647 w 963"/>
                  <a:gd name="T83" fmla="*/ 2147483647 h 735"/>
                  <a:gd name="T84" fmla="*/ 2147483647 w 963"/>
                  <a:gd name="T85" fmla="*/ 2147483647 h 735"/>
                  <a:gd name="T86" fmla="*/ 2147483647 w 963"/>
                  <a:gd name="T87" fmla="*/ 2147483647 h 735"/>
                  <a:gd name="T88" fmla="*/ 2147483647 w 963"/>
                  <a:gd name="T89" fmla="*/ 2147483647 h 735"/>
                  <a:gd name="T90" fmla="*/ 2147483647 w 963"/>
                  <a:gd name="T91" fmla="*/ 0 h 73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963"/>
                  <a:gd name="T139" fmla="*/ 0 h 735"/>
                  <a:gd name="T140" fmla="*/ 963 w 963"/>
                  <a:gd name="T141" fmla="*/ 735 h 735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963" h="735">
                    <a:moveTo>
                      <a:pt x="362" y="50"/>
                    </a:moveTo>
                    <a:lnTo>
                      <a:pt x="370" y="82"/>
                    </a:lnTo>
                    <a:lnTo>
                      <a:pt x="356" y="92"/>
                    </a:lnTo>
                    <a:lnTo>
                      <a:pt x="312" y="90"/>
                    </a:lnTo>
                    <a:lnTo>
                      <a:pt x="282" y="96"/>
                    </a:lnTo>
                    <a:lnTo>
                      <a:pt x="274" y="116"/>
                    </a:lnTo>
                    <a:lnTo>
                      <a:pt x="260" y="138"/>
                    </a:lnTo>
                    <a:lnTo>
                      <a:pt x="226" y="142"/>
                    </a:lnTo>
                    <a:lnTo>
                      <a:pt x="212" y="128"/>
                    </a:lnTo>
                    <a:lnTo>
                      <a:pt x="164" y="126"/>
                    </a:lnTo>
                    <a:lnTo>
                      <a:pt x="144" y="124"/>
                    </a:lnTo>
                    <a:lnTo>
                      <a:pt x="116" y="84"/>
                    </a:lnTo>
                    <a:lnTo>
                      <a:pt x="100" y="70"/>
                    </a:lnTo>
                    <a:lnTo>
                      <a:pt x="88" y="38"/>
                    </a:lnTo>
                    <a:lnTo>
                      <a:pt x="86" y="22"/>
                    </a:lnTo>
                    <a:lnTo>
                      <a:pt x="56" y="22"/>
                    </a:lnTo>
                    <a:lnTo>
                      <a:pt x="22" y="10"/>
                    </a:lnTo>
                    <a:lnTo>
                      <a:pt x="8" y="4"/>
                    </a:lnTo>
                    <a:lnTo>
                      <a:pt x="0" y="16"/>
                    </a:lnTo>
                    <a:lnTo>
                      <a:pt x="6" y="36"/>
                    </a:lnTo>
                    <a:lnTo>
                      <a:pt x="20" y="54"/>
                    </a:lnTo>
                    <a:lnTo>
                      <a:pt x="16" y="74"/>
                    </a:lnTo>
                    <a:lnTo>
                      <a:pt x="8" y="94"/>
                    </a:lnTo>
                    <a:lnTo>
                      <a:pt x="6" y="118"/>
                    </a:lnTo>
                    <a:lnTo>
                      <a:pt x="20" y="142"/>
                    </a:lnTo>
                    <a:lnTo>
                      <a:pt x="40" y="172"/>
                    </a:lnTo>
                    <a:lnTo>
                      <a:pt x="60" y="212"/>
                    </a:lnTo>
                    <a:lnTo>
                      <a:pt x="84" y="248"/>
                    </a:lnTo>
                    <a:lnTo>
                      <a:pt x="80" y="282"/>
                    </a:lnTo>
                    <a:lnTo>
                      <a:pt x="86" y="320"/>
                    </a:lnTo>
                    <a:lnTo>
                      <a:pt x="90" y="340"/>
                    </a:lnTo>
                    <a:lnTo>
                      <a:pt x="100" y="366"/>
                    </a:lnTo>
                    <a:lnTo>
                      <a:pt x="98" y="436"/>
                    </a:lnTo>
                    <a:lnTo>
                      <a:pt x="112" y="444"/>
                    </a:lnTo>
                    <a:lnTo>
                      <a:pt x="108" y="488"/>
                    </a:lnTo>
                    <a:lnTo>
                      <a:pt x="118" y="514"/>
                    </a:lnTo>
                    <a:lnTo>
                      <a:pt x="136" y="510"/>
                    </a:lnTo>
                    <a:lnTo>
                      <a:pt x="146" y="488"/>
                    </a:lnTo>
                    <a:lnTo>
                      <a:pt x="168" y="492"/>
                    </a:lnTo>
                    <a:lnTo>
                      <a:pt x="194" y="510"/>
                    </a:lnTo>
                    <a:lnTo>
                      <a:pt x="192" y="542"/>
                    </a:lnTo>
                    <a:lnTo>
                      <a:pt x="212" y="560"/>
                    </a:lnTo>
                    <a:lnTo>
                      <a:pt x="240" y="568"/>
                    </a:lnTo>
                    <a:lnTo>
                      <a:pt x="238" y="596"/>
                    </a:lnTo>
                    <a:lnTo>
                      <a:pt x="254" y="628"/>
                    </a:lnTo>
                    <a:lnTo>
                      <a:pt x="272" y="632"/>
                    </a:lnTo>
                    <a:lnTo>
                      <a:pt x="274" y="666"/>
                    </a:lnTo>
                    <a:lnTo>
                      <a:pt x="302" y="692"/>
                    </a:lnTo>
                    <a:lnTo>
                      <a:pt x="308" y="722"/>
                    </a:lnTo>
                    <a:lnTo>
                      <a:pt x="328" y="734"/>
                    </a:lnTo>
                    <a:lnTo>
                      <a:pt x="346" y="726"/>
                    </a:lnTo>
                    <a:lnTo>
                      <a:pt x="370" y="724"/>
                    </a:lnTo>
                    <a:lnTo>
                      <a:pt x="388" y="706"/>
                    </a:lnTo>
                    <a:lnTo>
                      <a:pt x="404" y="678"/>
                    </a:lnTo>
                    <a:lnTo>
                      <a:pt x="392" y="670"/>
                    </a:lnTo>
                    <a:lnTo>
                      <a:pt x="386" y="636"/>
                    </a:lnTo>
                    <a:lnTo>
                      <a:pt x="406" y="618"/>
                    </a:lnTo>
                    <a:lnTo>
                      <a:pt x="412" y="594"/>
                    </a:lnTo>
                    <a:lnTo>
                      <a:pt x="432" y="578"/>
                    </a:lnTo>
                    <a:lnTo>
                      <a:pt x="438" y="542"/>
                    </a:lnTo>
                    <a:lnTo>
                      <a:pt x="468" y="540"/>
                    </a:lnTo>
                    <a:lnTo>
                      <a:pt x="474" y="516"/>
                    </a:lnTo>
                    <a:lnTo>
                      <a:pt x="490" y="512"/>
                    </a:lnTo>
                    <a:lnTo>
                      <a:pt x="502" y="546"/>
                    </a:lnTo>
                    <a:lnTo>
                      <a:pt x="516" y="572"/>
                    </a:lnTo>
                    <a:lnTo>
                      <a:pt x="536" y="560"/>
                    </a:lnTo>
                    <a:lnTo>
                      <a:pt x="566" y="564"/>
                    </a:lnTo>
                    <a:lnTo>
                      <a:pt x="572" y="582"/>
                    </a:lnTo>
                    <a:lnTo>
                      <a:pt x="600" y="604"/>
                    </a:lnTo>
                    <a:lnTo>
                      <a:pt x="616" y="592"/>
                    </a:lnTo>
                    <a:lnTo>
                      <a:pt x="646" y="588"/>
                    </a:lnTo>
                    <a:lnTo>
                      <a:pt x="664" y="570"/>
                    </a:lnTo>
                    <a:lnTo>
                      <a:pt x="650" y="554"/>
                    </a:lnTo>
                    <a:lnTo>
                      <a:pt x="628" y="546"/>
                    </a:lnTo>
                    <a:lnTo>
                      <a:pt x="626" y="524"/>
                    </a:lnTo>
                    <a:lnTo>
                      <a:pt x="668" y="518"/>
                    </a:lnTo>
                    <a:lnTo>
                      <a:pt x="704" y="508"/>
                    </a:lnTo>
                    <a:lnTo>
                      <a:pt x="718" y="488"/>
                    </a:lnTo>
                    <a:lnTo>
                      <a:pt x="748" y="488"/>
                    </a:lnTo>
                    <a:lnTo>
                      <a:pt x="742" y="446"/>
                    </a:lnTo>
                    <a:lnTo>
                      <a:pt x="770" y="446"/>
                    </a:lnTo>
                    <a:lnTo>
                      <a:pt x="788" y="468"/>
                    </a:lnTo>
                    <a:lnTo>
                      <a:pt x="816" y="464"/>
                    </a:lnTo>
                    <a:lnTo>
                      <a:pt x="822" y="494"/>
                    </a:lnTo>
                    <a:lnTo>
                      <a:pt x="850" y="508"/>
                    </a:lnTo>
                    <a:lnTo>
                      <a:pt x="860" y="526"/>
                    </a:lnTo>
                    <a:lnTo>
                      <a:pt x="870" y="530"/>
                    </a:lnTo>
                    <a:lnTo>
                      <a:pt x="890" y="524"/>
                    </a:lnTo>
                    <a:lnTo>
                      <a:pt x="900" y="514"/>
                    </a:lnTo>
                    <a:lnTo>
                      <a:pt x="900" y="466"/>
                    </a:lnTo>
                    <a:lnTo>
                      <a:pt x="900" y="444"/>
                    </a:lnTo>
                    <a:lnTo>
                      <a:pt x="872" y="432"/>
                    </a:lnTo>
                    <a:lnTo>
                      <a:pt x="858" y="412"/>
                    </a:lnTo>
                    <a:lnTo>
                      <a:pt x="842" y="386"/>
                    </a:lnTo>
                    <a:lnTo>
                      <a:pt x="836" y="370"/>
                    </a:lnTo>
                    <a:lnTo>
                      <a:pt x="842" y="354"/>
                    </a:lnTo>
                    <a:lnTo>
                      <a:pt x="850" y="334"/>
                    </a:lnTo>
                    <a:lnTo>
                      <a:pt x="884" y="334"/>
                    </a:lnTo>
                    <a:lnTo>
                      <a:pt x="902" y="314"/>
                    </a:lnTo>
                    <a:lnTo>
                      <a:pt x="924" y="306"/>
                    </a:lnTo>
                    <a:lnTo>
                      <a:pt x="940" y="294"/>
                    </a:lnTo>
                    <a:lnTo>
                      <a:pt x="952" y="286"/>
                    </a:lnTo>
                    <a:lnTo>
                      <a:pt x="962" y="268"/>
                    </a:lnTo>
                    <a:lnTo>
                      <a:pt x="952" y="240"/>
                    </a:lnTo>
                    <a:lnTo>
                      <a:pt x="954" y="208"/>
                    </a:lnTo>
                    <a:lnTo>
                      <a:pt x="950" y="204"/>
                    </a:lnTo>
                    <a:lnTo>
                      <a:pt x="914" y="206"/>
                    </a:lnTo>
                    <a:lnTo>
                      <a:pt x="904" y="214"/>
                    </a:lnTo>
                    <a:lnTo>
                      <a:pt x="866" y="210"/>
                    </a:lnTo>
                    <a:lnTo>
                      <a:pt x="866" y="198"/>
                    </a:lnTo>
                    <a:lnTo>
                      <a:pt x="842" y="184"/>
                    </a:lnTo>
                    <a:lnTo>
                      <a:pt x="804" y="190"/>
                    </a:lnTo>
                    <a:lnTo>
                      <a:pt x="786" y="182"/>
                    </a:lnTo>
                    <a:lnTo>
                      <a:pt x="770" y="156"/>
                    </a:lnTo>
                    <a:lnTo>
                      <a:pt x="734" y="156"/>
                    </a:lnTo>
                    <a:lnTo>
                      <a:pt x="708" y="156"/>
                    </a:lnTo>
                    <a:lnTo>
                      <a:pt x="706" y="136"/>
                    </a:lnTo>
                    <a:lnTo>
                      <a:pt x="692" y="130"/>
                    </a:lnTo>
                    <a:lnTo>
                      <a:pt x="678" y="134"/>
                    </a:lnTo>
                    <a:lnTo>
                      <a:pt x="662" y="144"/>
                    </a:lnTo>
                    <a:lnTo>
                      <a:pt x="656" y="152"/>
                    </a:lnTo>
                    <a:lnTo>
                      <a:pt x="636" y="136"/>
                    </a:lnTo>
                    <a:lnTo>
                      <a:pt x="632" y="122"/>
                    </a:lnTo>
                    <a:lnTo>
                      <a:pt x="616" y="130"/>
                    </a:lnTo>
                    <a:lnTo>
                      <a:pt x="590" y="132"/>
                    </a:lnTo>
                    <a:lnTo>
                      <a:pt x="584" y="142"/>
                    </a:lnTo>
                    <a:lnTo>
                      <a:pt x="576" y="162"/>
                    </a:lnTo>
                    <a:lnTo>
                      <a:pt x="548" y="166"/>
                    </a:lnTo>
                    <a:lnTo>
                      <a:pt x="534" y="156"/>
                    </a:lnTo>
                    <a:lnTo>
                      <a:pt x="520" y="120"/>
                    </a:lnTo>
                    <a:lnTo>
                      <a:pt x="518" y="88"/>
                    </a:lnTo>
                    <a:lnTo>
                      <a:pt x="500" y="82"/>
                    </a:lnTo>
                    <a:lnTo>
                      <a:pt x="476" y="50"/>
                    </a:lnTo>
                    <a:lnTo>
                      <a:pt x="438" y="48"/>
                    </a:lnTo>
                    <a:lnTo>
                      <a:pt x="432" y="32"/>
                    </a:lnTo>
                    <a:lnTo>
                      <a:pt x="408" y="22"/>
                    </a:lnTo>
                    <a:lnTo>
                      <a:pt x="408" y="6"/>
                    </a:lnTo>
                    <a:lnTo>
                      <a:pt x="388" y="0"/>
                    </a:lnTo>
                    <a:lnTo>
                      <a:pt x="368" y="10"/>
                    </a:lnTo>
                    <a:lnTo>
                      <a:pt x="362" y="5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65" name="Freeform 21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029075" y="4565650"/>
                <a:ext cx="771525" cy="655638"/>
              </a:xfrm>
              <a:custGeom>
                <a:avLst/>
                <a:gdLst>
                  <a:gd name="T0" fmla="*/ 2147483647 w 471"/>
                  <a:gd name="T1" fmla="*/ 2147483647 h 417"/>
                  <a:gd name="T2" fmla="*/ 2147483647 w 471"/>
                  <a:gd name="T3" fmla="*/ 2147483647 h 417"/>
                  <a:gd name="T4" fmla="*/ 2147483647 w 471"/>
                  <a:gd name="T5" fmla="*/ 2147483647 h 417"/>
                  <a:gd name="T6" fmla="*/ 0 w 471"/>
                  <a:gd name="T7" fmla="*/ 2147483647 h 417"/>
                  <a:gd name="T8" fmla="*/ 2147483647 w 471"/>
                  <a:gd name="T9" fmla="*/ 2147483647 h 417"/>
                  <a:gd name="T10" fmla="*/ 2147483647 w 471"/>
                  <a:gd name="T11" fmla="*/ 2147483647 h 417"/>
                  <a:gd name="T12" fmla="*/ 2147483647 w 471"/>
                  <a:gd name="T13" fmla="*/ 2147483647 h 417"/>
                  <a:gd name="T14" fmla="*/ 2147483647 w 471"/>
                  <a:gd name="T15" fmla="*/ 2147483647 h 417"/>
                  <a:gd name="T16" fmla="*/ 2147483647 w 471"/>
                  <a:gd name="T17" fmla="*/ 2147483647 h 417"/>
                  <a:gd name="T18" fmla="*/ 2147483647 w 471"/>
                  <a:gd name="T19" fmla="*/ 2147483647 h 417"/>
                  <a:gd name="T20" fmla="*/ 2147483647 w 471"/>
                  <a:gd name="T21" fmla="*/ 2147483647 h 417"/>
                  <a:gd name="T22" fmla="*/ 2147483647 w 471"/>
                  <a:gd name="T23" fmla="*/ 2147483647 h 417"/>
                  <a:gd name="T24" fmla="*/ 2147483647 w 471"/>
                  <a:gd name="T25" fmla="*/ 2147483647 h 417"/>
                  <a:gd name="T26" fmla="*/ 2147483647 w 471"/>
                  <a:gd name="T27" fmla="*/ 2147483647 h 417"/>
                  <a:gd name="T28" fmla="*/ 2147483647 w 471"/>
                  <a:gd name="T29" fmla="*/ 2147483647 h 417"/>
                  <a:gd name="T30" fmla="*/ 2147483647 w 471"/>
                  <a:gd name="T31" fmla="*/ 2147483647 h 417"/>
                  <a:gd name="T32" fmla="*/ 2147483647 w 471"/>
                  <a:gd name="T33" fmla="*/ 2147483647 h 417"/>
                  <a:gd name="T34" fmla="*/ 2147483647 w 471"/>
                  <a:gd name="T35" fmla="*/ 2147483647 h 417"/>
                  <a:gd name="T36" fmla="*/ 2147483647 w 471"/>
                  <a:gd name="T37" fmla="*/ 2147483647 h 417"/>
                  <a:gd name="T38" fmla="*/ 2147483647 w 471"/>
                  <a:gd name="T39" fmla="*/ 2147483647 h 417"/>
                  <a:gd name="T40" fmla="*/ 2147483647 w 471"/>
                  <a:gd name="T41" fmla="*/ 2147483647 h 417"/>
                  <a:gd name="T42" fmla="*/ 2147483647 w 471"/>
                  <a:gd name="T43" fmla="*/ 2147483647 h 417"/>
                  <a:gd name="T44" fmla="*/ 2147483647 w 471"/>
                  <a:gd name="T45" fmla="*/ 2147483647 h 417"/>
                  <a:gd name="T46" fmla="*/ 2147483647 w 471"/>
                  <a:gd name="T47" fmla="*/ 2147483647 h 417"/>
                  <a:gd name="T48" fmla="*/ 2147483647 w 471"/>
                  <a:gd name="T49" fmla="*/ 2147483647 h 417"/>
                  <a:gd name="T50" fmla="*/ 2147483647 w 471"/>
                  <a:gd name="T51" fmla="*/ 2147483647 h 417"/>
                  <a:gd name="T52" fmla="*/ 2147483647 w 471"/>
                  <a:gd name="T53" fmla="*/ 2147483647 h 417"/>
                  <a:gd name="T54" fmla="*/ 2147483647 w 471"/>
                  <a:gd name="T55" fmla="*/ 2147483647 h 417"/>
                  <a:gd name="T56" fmla="*/ 2147483647 w 471"/>
                  <a:gd name="T57" fmla="*/ 0 h 417"/>
                  <a:gd name="T58" fmla="*/ 2147483647 w 471"/>
                  <a:gd name="T59" fmla="*/ 2147483647 h 417"/>
                  <a:gd name="T60" fmla="*/ 2147483647 w 471"/>
                  <a:gd name="T61" fmla="*/ 2147483647 h 417"/>
                  <a:gd name="T62" fmla="*/ 2147483647 w 471"/>
                  <a:gd name="T63" fmla="*/ 2147483647 h 417"/>
                  <a:gd name="T64" fmla="*/ 2147483647 w 471"/>
                  <a:gd name="T65" fmla="*/ 2147483647 h 417"/>
                  <a:gd name="T66" fmla="*/ 2147483647 w 471"/>
                  <a:gd name="T67" fmla="*/ 2147483647 h 417"/>
                  <a:gd name="T68" fmla="*/ 2147483647 w 471"/>
                  <a:gd name="T69" fmla="*/ 2147483647 h 417"/>
                  <a:gd name="T70" fmla="*/ 2147483647 w 471"/>
                  <a:gd name="T71" fmla="*/ 2147483647 h 417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71"/>
                  <a:gd name="T109" fmla="*/ 0 h 417"/>
                  <a:gd name="T110" fmla="*/ 471 w 471"/>
                  <a:gd name="T111" fmla="*/ 417 h 417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71" h="417">
                    <a:moveTo>
                      <a:pt x="138" y="146"/>
                    </a:moveTo>
                    <a:lnTo>
                      <a:pt x="138" y="164"/>
                    </a:lnTo>
                    <a:lnTo>
                      <a:pt x="108" y="180"/>
                    </a:lnTo>
                    <a:lnTo>
                      <a:pt x="64" y="178"/>
                    </a:lnTo>
                    <a:lnTo>
                      <a:pt x="44" y="176"/>
                    </a:lnTo>
                    <a:lnTo>
                      <a:pt x="16" y="180"/>
                    </a:lnTo>
                    <a:lnTo>
                      <a:pt x="2" y="200"/>
                    </a:lnTo>
                    <a:lnTo>
                      <a:pt x="0" y="246"/>
                    </a:lnTo>
                    <a:lnTo>
                      <a:pt x="12" y="268"/>
                    </a:lnTo>
                    <a:lnTo>
                      <a:pt x="26" y="260"/>
                    </a:lnTo>
                    <a:lnTo>
                      <a:pt x="24" y="244"/>
                    </a:lnTo>
                    <a:lnTo>
                      <a:pt x="48" y="242"/>
                    </a:lnTo>
                    <a:lnTo>
                      <a:pt x="64" y="248"/>
                    </a:lnTo>
                    <a:lnTo>
                      <a:pt x="76" y="274"/>
                    </a:lnTo>
                    <a:lnTo>
                      <a:pt x="68" y="294"/>
                    </a:lnTo>
                    <a:lnTo>
                      <a:pt x="62" y="316"/>
                    </a:lnTo>
                    <a:lnTo>
                      <a:pt x="68" y="342"/>
                    </a:lnTo>
                    <a:lnTo>
                      <a:pt x="70" y="412"/>
                    </a:lnTo>
                    <a:lnTo>
                      <a:pt x="96" y="416"/>
                    </a:lnTo>
                    <a:lnTo>
                      <a:pt x="96" y="398"/>
                    </a:lnTo>
                    <a:lnTo>
                      <a:pt x="122" y="394"/>
                    </a:lnTo>
                    <a:lnTo>
                      <a:pt x="148" y="392"/>
                    </a:lnTo>
                    <a:lnTo>
                      <a:pt x="152" y="414"/>
                    </a:lnTo>
                    <a:lnTo>
                      <a:pt x="198" y="416"/>
                    </a:lnTo>
                    <a:lnTo>
                      <a:pt x="202" y="390"/>
                    </a:lnTo>
                    <a:lnTo>
                      <a:pt x="218" y="376"/>
                    </a:lnTo>
                    <a:lnTo>
                      <a:pt x="240" y="378"/>
                    </a:lnTo>
                    <a:lnTo>
                      <a:pt x="268" y="360"/>
                    </a:lnTo>
                    <a:lnTo>
                      <a:pt x="272" y="344"/>
                    </a:lnTo>
                    <a:lnTo>
                      <a:pt x="290" y="344"/>
                    </a:lnTo>
                    <a:lnTo>
                      <a:pt x="300" y="368"/>
                    </a:lnTo>
                    <a:lnTo>
                      <a:pt x="334" y="368"/>
                    </a:lnTo>
                    <a:lnTo>
                      <a:pt x="344" y="384"/>
                    </a:lnTo>
                    <a:lnTo>
                      <a:pt x="358" y="378"/>
                    </a:lnTo>
                    <a:lnTo>
                      <a:pt x="374" y="354"/>
                    </a:lnTo>
                    <a:lnTo>
                      <a:pt x="378" y="342"/>
                    </a:lnTo>
                    <a:lnTo>
                      <a:pt x="410" y="346"/>
                    </a:lnTo>
                    <a:lnTo>
                      <a:pt x="418" y="334"/>
                    </a:lnTo>
                    <a:lnTo>
                      <a:pt x="438" y="328"/>
                    </a:lnTo>
                    <a:lnTo>
                      <a:pt x="440" y="306"/>
                    </a:lnTo>
                    <a:lnTo>
                      <a:pt x="470" y="296"/>
                    </a:lnTo>
                    <a:lnTo>
                      <a:pt x="466" y="276"/>
                    </a:lnTo>
                    <a:lnTo>
                      <a:pt x="456" y="270"/>
                    </a:lnTo>
                    <a:lnTo>
                      <a:pt x="462" y="236"/>
                    </a:lnTo>
                    <a:lnTo>
                      <a:pt x="468" y="212"/>
                    </a:lnTo>
                    <a:lnTo>
                      <a:pt x="448" y="208"/>
                    </a:lnTo>
                    <a:lnTo>
                      <a:pt x="434" y="206"/>
                    </a:lnTo>
                    <a:lnTo>
                      <a:pt x="430" y="184"/>
                    </a:lnTo>
                    <a:lnTo>
                      <a:pt x="458" y="170"/>
                    </a:lnTo>
                    <a:lnTo>
                      <a:pt x="456" y="118"/>
                    </a:lnTo>
                    <a:lnTo>
                      <a:pt x="454" y="96"/>
                    </a:lnTo>
                    <a:lnTo>
                      <a:pt x="434" y="74"/>
                    </a:lnTo>
                    <a:lnTo>
                      <a:pt x="412" y="80"/>
                    </a:lnTo>
                    <a:lnTo>
                      <a:pt x="402" y="62"/>
                    </a:lnTo>
                    <a:lnTo>
                      <a:pt x="376" y="50"/>
                    </a:lnTo>
                    <a:lnTo>
                      <a:pt x="370" y="14"/>
                    </a:lnTo>
                    <a:lnTo>
                      <a:pt x="340" y="20"/>
                    </a:lnTo>
                    <a:lnTo>
                      <a:pt x="322" y="0"/>
                    </a:lnTo>
                    <a:lnTo>
                      <a:pt x="286" y="0"/>
                    </a:lnTo>
                    <a:lnTo>
                      <a:pt x="294" y="40"/>
                    </a:lnTo>
                    <a:lnTo>
                      <a:pt x="264" y="40"/>
                    </a:lnTo>
                    <a:lnTo>
                      <a:pt x="246" y="64"/>
                    </a:lnTo>
                    <a:lnTo>
                      <a:pt x="196" y="72"/>
                    </a:lnTo>
                    <a:lnTo>
                      <a:pt x="176" y="76"/>
                    </a:lnTo>
                    <a:lnTo>
                      <a:pt x="174" y="102"/>
                    </a:lnTo>
                    <a:lnTo>
                      <a:pt x="188" y="114"/>
                    </a:lnTo>
                    <a:lnTo>
                      <a:pt x="200" y="116"/>
                    </a:lnTo>
                    <a:lnTo>
                      <a:pt x="206" y="126"/>
                    </a:lnTo>
                    <a:lnTo>
                      <a:pt x="188" y="140"/>
                    </a:lnTo>
                    <a:lnTo>
                      <a:pt x="164" y="140"/>
                    </a:lnTo>
                    <a:lnTo>
                      <a:pt x="152" y="152"/>
                    </a:lnTo>
                    <a:lnTo>
                      <a:pt x="138" y="14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66" name="Freeform 22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3198813" y="4576763"/>
                <a:ext cx="1166812" cy="1135062"/>
              </a:xfrm>
              <a:custGeom>
                <a:avLst/>
                <a:gdLst>
                  <a:gd name="T0" fmla="*/ 2147483647 w 709"/>
                  <a:gd name="T1" fmla="*/ 2147483647 h 721"/>
                  <a:gd name="T2" fmla="*/ 2147483647 w 709"/>
                  <a:gd name="T3" fmla="*/ 2147483647 h 721"/>
                  <a:gd name="T4" fmla="*/ 2147483647 w 709"/>
                  <a:gd name="T5" fmla="*/ 2147483647 h 721"/>
                  <a:gd name="T6" fmla="*/ 2147483647 w 709"/>
                  <a:gd name="T7" fmla="*/ 2147483647 h 721"/>
                  <a:gd name="T8" fmla="*/ 2147483647 w 709"/>
                  <a:gd name="T9" fmla="*/ 2147483647 h 721"/>
                  <a:gd name="T10" fmla="*/ 2147483647 w 709"/>
                  <a:gd name="T11" fmla="*/ 2147483647 h 721"/>
                  <a:gd name="T12" fmla="*/ 2147483647 w 709"/>
                  <a:gd name="T13" fmla="*/ 2147483647 h 721"/>
                  <a:gd name="T14" fmla="*/ 2147483647 w 709"/>
                  <a:gd name="T15" fmla="*/ 2147483647 h 721"/>
                  <a:gd name="T16" fmla="*/ 2147483647 w 709"/>
                  <a:gd name="T17" fmla="*/ 2147483647 h 721"/>
                  <a:gd name="T18" fmla="*/ 2147483647 w 709"/>
                  <a:gd name="T19" fmla="*/ 2147483647 h 721"/>
                  <a:gd name="T20" fmla="*/ 2147483647 w 709"/>
                  <a:gd name="T21" fmla="*/ 2147483647 h 721"/>
                  <a:gd name="T22" fmla="*/ 2147483647 w 709"/>
                  <a:gd name="T23" fmla="*/ 2147483647 h 721"/>
                  <a:gd name="T24" fmla="*/ 2147483647 w 709"/>
                  <a:gd name="T25" fmla="*/ 2147483647 h 721"/>
                  <a:gd name="T26" fmla="*/ 2147483647 w 709"/>
                  <a:gd name="T27" fmla="*/ 2147483647 h 721"/>
                  <a:gd name="T28" fmla="*/ 2147483647 w 709"/>
                  <a:gd name="T29" fmla="*/ 2147483647 h 721"/>
                  <a:gd name="T30" fmla="*/ 2147483647 w 709"/>
                  <a:gd name="T31" fmla="*/ 2147483647 h 721"/>
                  <a:gd name="T32" fmla="*/ 2147483647 w 709"/>
                  <a:gd name="T33" fmla="*/ 2147483647 h 721"/>
                  <a:gd name="T34" fmla="*/ 2147483647 w 709"/>
                  <a:gd name="T35" fmla="*/ 2147483647 h 721"/>
                  <a:gd name="T36" fmla="*/ 2147483647 w 709"/>
                  <a:gd name="T37" fmla="*/ 2147483647 h 721"/>
                  <a:gd name="T38" fmla="*/ 2147483647 w 709"/>
                  <a:gd name="T39" fmla="*/ 2147483647 h 721"/>
                  <a:gd name="T40" fmla="*/ 2147483647 w 709"/>
                  <a:gd name="T41" fmla="*/ 2147483647 h 721"/>
                  <a:gd name="T42" fmla="*/ 2147483647 w 709"/>
                  <a:gd name="T43" fmla="*/ 2147483647 h 721"/>
                  <a:gd name="T44" fmla="*/ 2147483647 w 709"/>
                  <a:gd name="T45" fmla="*/ 2147483647 h 721"/>
                  <a:gd name="T46" fmla="*/ 2147483647 w 709"/>
                  <a:gd name="T47" fmla="*/ 2147483647 h 721"/>
                  <a:gd name="T48" fmla="*/ 2147483647 w 709"/>
                  <a:gd name="T49" fmla="*/ 2147483647 h 721"/>
                  <a:gd name="T50" fmla="*/ 2147483647 w 709"/>
                  <a:gd name="T51" fmla="*/ 2147483647 h 721"/>
                  <a:gd name="T52" fmla="*/ 2147483647 w 709"/>
                  <a:gd name="T53" fmla="*/ 2147483647 h 721"/>
                  <a:gd name="T54" fmla="*/ 2147483647 w 709"/>
                  <a:gd name="T55" fmla="*/ 2147483647 h 721"/>
                  <a:gd name="T56" fmla="*/ 2147483647 w 709"/>
                  <a:gd name="T57" fmla="*/ 2147483647 h 721"/>
                  <a:gd name="T58" fmla="*/ 2147483647 w 709"/>
                  <a:gd name="T59" fmla="*/ 2147483647 h 721"/>
                  <a:gd name="T60" fmla="*/ 2147483647 w 709"/>
                  <a:gd name="T61" fmla="*/ 2147483647 h 721"/>
                  <a:gd name="T62" fmla="*/ 2147483647 w 709"/>
                  <a:gd name="T63" fmla="*/ 2147483647 h 721"/>
                  <a:gd name="T64" fmla="*/ 2147483647 w 709"/>
                  <a:gd name="T65" fmla="*/ 2147483647 h 721"/>
                  <a:gd name="T66" fmla="*/ 2147483647 w 709"/>
                  <a:gd name="T67" fmla="*/ 2147483647 h 721"/>
                  <a:gd name="T68" fmla="*/ 2147483647 w 709"/>
                  <a:gd name="T69" fmla="*/ 2147483647 h 721"/>
                  <a:gd name="T70" fmla="*/ 2147483647 w 709"/>
                  <a:gd name="T71" fmla="*/ 2147483647 h 721"/>
                  <a:gd name="T72" fmla="*/ 2147483647 w 709"/>
                  <a:gd name="T73" fmla="*/ 2147483647 h 721"/>
                  <a:gd name="T74" fmla="*/ 2147483647 w 709"/>
                  <a:gd name="T75" fmla="*/ 2147483647 h 721"/>
                  <a:gd name="T76" fmla="*/ 2147483647 w 709"/>
                  <a:gd name="T77" fmla="*/ 2147483647 h 721"/>
                  <a:gd name="T78" fmla="*/ 2147483647 w 709"/>
                  <a:gd name="T79" fmla="*/ 2147483647 h 721"/>
                  <a:gd name="T80" fmla="*/ 2147483647 w 709"/>
                  <a:gd name="T81" fmla="*/ 2147483647 h 721"/>
                  <a:gd name="T82" fmla="*/ 2147483647 w 709"/>
                  <a:gd name="T83" fmla="*/ 2147483647 h 721"/>
                  <a:gd name="T84" fmla="*/ 2147483647 w 709"/>
                  <a:gd name="T85" fmla="*/ 0 h 721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09"/>
                  <a:gd name="T130" fmla="*/ 0 h 721"/>
                  <a:gd name="T131" fmla="*/ 709 w 709"/>
                  <a:gd name="T132" fmla="*/ 721 h 721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09" h="721">
                    <a:moveTo>
                      <a:pt x="170" y="0"/>
                    </a:moveTo>
                    <a:lnTo>
                      <a:pt x="138" y="4"/>
                    </a:lnTo>
                    <a:lnTo>
                      <a:pt x="124" y="14"/>
                    </a:lnTo>
                    <a:lnTo>
                      <a:pt x="120" y="66"/>
                    </a:lnTo>
                    <a:lnTo>
                      <a:pt x="88" y="74"/>
                    </a:lnTo>
                    <a:lnTo>
                      <a:pt x="78" y="130"/>
                    </a:lnTo>
                    <a:lnTo>
                      <a:pt x="98" y="142"/>
                    </a:lnTo>
                    <a:lnTo>
                      <a:pt x="124" y="160"/>
                    </a:lnTo>
                    <a:lnTo>
                      <a:pt x="120" y="230"/>
                    </a:lnTo>
                    <a:lnTo>
                      <a:pt x="118" y="270"/>
                    </a:lnTo>
                    <a:lnTo>
                      <a:pt x="98" y="290"/>
                    </a:lnTo>
                    <a:lnTo>
                      <a:pt x="76" y="298"/>
                    </a:lnTo>
                    <a:lnTo>
                      <a:pt x="54" y="308"/>
                    </a:lnTo>
                    <a:lnTo>
                      <a:pt x="44" y="332"/>
                    </a:lnTo>
                    <a:lnTo>
                      <a:pt x="40" y="358"/>
                    </a:lnTo>
                    <a:lnTo>
                      <a:pt x="0" y="384"/>
                    </a:lnTo>
                    <a:lnTo>
                      <a:pt x="0" y="406"/>
                    </a:lnTo>
                    <a:lnTo>
                      <a:pt x="18" y="432"/>
                    </a:lnTo>
                    <a:lnTo>
                      <a:pt x="10" y="446"/>
                    </a:lnTo>
                    <a:lnTo>
                      <a:pt x="10" y="462"/>
                    </a:lnTo>
                    <a:lnTo>
                      <a:pt x="20" y="470"/>
                    </a:lnTo>
                    <a:lnTo>
                      <a:pt x="38" y="468"/>
                    </a:lnTo>
                    <a:lnTo>
                      <a:pt x="42" y="458"/>
                    </a:lnTo>
                    <a:lnTo>
                      <a:pt x="64" y="456"/>
                    </a:lnTo>
                    <a:lnTo>
                      <a:pt x="72" y="442"/>
                    </a:lnTo>
                    <a:lnTo>
                      <a:pt x="86" y="452"/>
                    </a:lnTo>
                    <a:lnTo>
                      <a:pt x="100" y="478"/>
                    </a:lnTo>
                    <a:lnTo>
                      <a:pt x="122" y="524"/>
                    </a:lnTo>
                    <a:lnTo>
                      <a:pt x="134" y="554"/>
                    </a:lnTo>
                    <a:lnTo>
                      <a:pt x="162" y="558"/>
                    </a:lnTo>
                    <a:lnTo>
                      <a:pt x="166" y="578"/>
                    </a:lnTo>
                    <a:lnTo>
                      <a:pt x="156" y="588"/>
                    </a:lnTo>
                    <a:lnTo>
                      <a:pt x="150" y="614"/>
                    </a:lnTo>
                    <a:lnTo>
                      <a:pt x="160" y="636"/>
                    </a:lnTo>
                    <a:lnTo>
                      <a:pt x="196" y="646"/>
                    </a:lnTo>
                    <a:lnTo>
                      <a:pt x="216" y="650"/>
                    </a:lnTo>
                    <a:lnTo>
                      <a:pt x="220" y="670"/>
                    </a:lnTo>
                    <a:lnTo>
                      <a:pt x="230" y="686"/>
                    </a:lnTo>
                    <a:lnTo>
                      <a:pt x="252" y="684"/>
                    </a:lnTo>
                    <a:lnTo>
                      <a:pt x="254" y="668"/>
                    </a:lnTo>
                    <a:lnTo>
                      <a:pt x="288" y="668"/>
                    </a:lnTo>
                    <a:lnTo>
                      <a:pt x="310" y="694"/>
                    </a:lnTo>
                    <a:lnTo>
                      <a:pt x="320" y="710"/>
                    </a:lnTo>
                    <a:lnTo>
                      <a:pt x="336" y="720"/>
                    </a:lnTo>
                    <a:lnTo>
                      <a:pt x="348" y="710"/>
                    </a:lnTo>
                    <a:lnTo>
                      <a:pt x="364" y="690"/>
                    </a:lnTo>
                    <a:lnTo>
                      <a:pt x="358" y="664"/>
                    </a:lnTo>
                    <a:lnTo>
                      <a:pt x="338" y="642"/>
                    </a:lnTo>
                    <a:lnTo>
                      <a:pt x="344" y="618"/>
                    </a:lnTo>
                    <a:lnTo>
                      <a:pt x="358" y="604"/>
                    </a:lnTo>
                    <a:lnTo>
                      <a:pt x="414" y="600"/>
                    </a:lnTo>
                    <a:lnTo>
                      <a:pt x="426" y="584"/>
                    </a:lnTo>
                    <a:lnTo>
                      <a:pt x="472" y="584"/>
                    </a:lnTo>
                    <a:lnTo>
                      <a:pt x="500" y="596"/>
                    </a:lnTo>
                    <a:lnTo>
                      <a:pt x="544" y="592"/>
                    </a:lnTo>
                    <a:lnTo>
                      <a:pt x="552" y="576"/>
                    </a:lnTo>
                    <a:lnTo>
                      <a:pt x="590" y="576"/>
                    </a:lnTo>
                    <a:lnTo>
                      <a:pt x="620" y="546"/>
                    </a:lnTo>
                    <a:lnTo>
                      <a:pt x="630" y="534"/>
                    </a:lnTo>
                    <a:lnTo>
                      <a:pt x="658" y="534"/>
                    </a:lnTo>
                    <a:lnTo>
                      <a:pt x="672" y="516"/>
                    </a:lnTo>
                    <a:lnTo>
                      <a:pt x="688" y="514"/>
                    </a:lnTo>
                    <a:lnTo>
                      <a:pt x="706" y="506"/>
                    </a:lnTo>
                    <a:lnTo>
                      <a:pt x="708" y="478"/>
                    </a:lnTo>
                    <a:lnTo>
                      <a:pt x="698" y="468"/>
                    </a:lnTo>
                    <a:lnTo>
                      <a:pt x="644" y="466"/>
                    </a:lnTo>
                    <a:lnTo>
                      <a:pt x="628" y="458"/>
                    </a:lnTo>
                    <a:lnTo>
                      <a:pt x="628" y="442"/>
                    </a:lnTo>
                    <a:lnTo>
                      <a:pt x="606" y="436"/>
                    </a:lnTo>
                    <a:lnTo>
                      <a:pt x="580" y="440"/>
                    </a:lnTo>
                    <a:lnTo>
                      <a:pt x="574" y="418"/>
                    </a:lnTo>
                    <a:lnTo>
                      <a:pt x="576" y="380"/>
                    </a:lnTo>
                    <a:lnTo>
                      <a:pt x="574" y="330"/>
                    </a:lnTo>
                    <a:lnTo>
                      <a:pt x="568" y="310"/>
                    </a:lnTo>
                    <a:lnTo>
                      <a:pt x="584" y="264"/>
                    </a:lnTo>
                    <a:lnTo>
                      <a:pt x="570" y="236"/>
                    </a:lnTo>
                    <a:lnTo>
                      <a:pt x="548" y="228"/>
                    </a:lnTo>
                    <a:lnTo>
                      <a:pt x="528" y="230"/>
                    </a:lnTo>
                    <a:lnTo>
                      <a:pt x="522" y="234"/>
                    </a:lnTo>
                    <a:lnTo>
                      <a:pt x="526" y="254"/>
                    </a:lnTo>
                    <a:lnTo>
                      <a:pt x="514" y="252"/>
                    </a:lnTo>
                    <a:lnTo>
                      <a:pt x="502" y="224"/>
                    </a:lnTo>
                    <a:lnTo>
                      <a:pt x="508" y="214"/>
                    </a:lnTo>
                    <a:lnTo>
                      <a:pt x="510" y="184"/>
                    </a:lnTo>
                    <a:lnTo>
                      <a:pt x="526" y="174"/>
                    </a:lnTo>
                    <a:lnTo>
                      <a:pt x="554" y="170"/>
                    </a:lnTo>
                    <a:lnTo>
                      <a:pt x="590" y="174"/>
                    </a:lnTo>
                    <a:lnTo>
                      <a:pt x="616" y="178"/>
                    </a:lnTo>
                    <a:lnTo>
                      <a:pt x="646" y="158"/>
                    </a:lnTo>
                    <a:lnTo>
                      <a:pt x="646" y="142"/>
                    </a:lnTo>
                    <a:lnTo>
                      <a:pt x="634" y="134"/>
                    </a:lnTo>
                    <a:lnTo>
                      <a:pt x="624" y="108"/>
                    </a:lnTo>
                    <a:lnTo>
                      <a:pt x="584" y="102"/>
                    </a:lnTo>
                    <a:lnTo>
                      <a:pt x="572" y="114"/>
                    </a:lnTo>
                    <a:lnTo>
                      <a:pt x="544" y="56"/>
                    </a:lnTo>
                    <a:lnTo>
                      <a:pt x="532" y="56"/>
                    </a:lnTo>
                    <a:lnTo>
                      <a:pt x="524" y="68"/>
                    </a:lnTo>
                    <a:lnTo>
                      <a:pt x="518" y="84"/>
                    </a:lnTo>
                    <a:lnTo>
                      <a:pt x="484" y="88"/>
                    </a:lnTo>
                    <a:lnTo>
                      <a:pt x="484" y="116"/>
                    </a:lnTo>
                    <a:lnTo>
                      <a:pt x="460" y="142"/>
                    </a:lnTo>
                    <a:lnTo>
                      <a:pt x="456" y="164"/>
                    </a:lnTo>
                    <a:lnTo>
                      <a:pt x="438" y="180"/>
                    </a:lnTo>
                    <a:lnTo>
                      <a:pt x="440" y="208"/>
                    </a:lnTo>
                    <a:lnTo>
                      <a:pt x="448" y="228"/>
                    </a:lnTo>
                    <a:lnTo>
                      <a:pt x="446" y="236"/>
                    </a:lnTo>
                    <a:lnTo>
                      <a:pt x="428" y="262"/>
                    </a:lnTo>
                    <a:lnTo>
                      <a:pt x="412" y="268"/>
                    </a:lnTo>
                    <a:lnTo>
                      <a:pt x="396" y="270"/>
                    </a:lnTo>
                    <a:lnTo>
                      <a:pt x="376" y="276"/>
                    </a:lnTo>
                    <a:lnTo>
                      <a:pt x="362" y="262"/>
                    </a:lnTo>
                    <a:lnTo>
                      <a:pt x="362" y="238"/>
                    </a:lnTo>
                    <a:lnTo>
                      <a:pt x="330" y="210"/>
                    </a:lnTo>
                    <a:lnTo>
                      <a:pt x="328" y="180"/>
                    </a:lnTo>
                    <a:lnTo>
                      <a:pt x="324" y="174"/>
                    </a:lnTo>
                    <a:lnTo>
                      <a:pt x="312" y="174"/>
                    </a:lnTo>
                    <a:lnTo>
                      <a:pt x="292" y="136"/>
                    </a:lnTo>
                    <a:lnTo>
                      <a:pt x="296" y="112"/>
                    </a:lnTo>
                    <a:lnTo>
                      <a:pt x="264" y="102"/>
                    </a:lnTo>
                    <a:lnTo>
                      <a:pt x="248" y="88"/>
                    </a:lnTo>
                    <a:lnTo>
                      <a:pt x="250" y="80"/>
                    </a:lnTo>
                    <a:lnTo>
                      <a:pt x="252" y="56"/>
                    </a:lnTo>
                    <a:lnTo>
                      <a:pt x="226" y="38"/>
                    </a:lnTo>
                    <a:lnTo>
                      <a:pt x="196" y="32"/>
                    </a:lnTo>
                    <a:lnTo>
                      <a:pt x="184" y="54"/>
                    </a:lnTo>
                    <a:lnTo>
                      <a:pt x="176" y="52"/>
                    </a:lnTo>
                    <a:lnTo>
                      <a:pt x="172" y="54"/>
                    </a:lnTo>
                    <a:lnTo>
                      <a:pt x="164" y="28"/>
                    </a:lnTo>
                    <a:lnTo>
                      <a:pt x="170" y="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67" name="Freeform 23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137025" y="4968875"/>
                <a:ext cx="1014413" cy="701675"/>
              </a:xfrm>
              <a:custGeom>
                <a:avLst/>
                <a:gdLst>
                  <a:gd name="T0" fmla="*/ 2147483647 w 619"/>
                  <a:gd name="T1" fmla="*/ 2147483647 h 445"/>
                  <a:gd name="T2" fmla="*/ 2147483647 w 619"/>
                  <a:gd name="T3" fmla="*/ 2147483647 h 445"/>
                  <a:gd name="T4" fmla="*/ 2147483647 w 619"/>
                  <a:gd name="T5" fmla="*/ 2147483647 h 445"/>
                  <a:gd name="T6" fmla="*/ 2147483647 w 619"/>
                  <a:gd name="T7" fmla="*/ 2147483647 h 445"/>
                  <a:gd name="T8" fmla="*/ 2147483647 w 619"/>
                  <a:gd name="T9" fmla="*/ 2147483647 h 445"/>
                  <a:gd name="T10" fmla="*/ 2147483647 w 619"/>
                  <a:gd name="T11" fmla="*/ 2147483647 h 445"/>
                  <a:gd name="T12" fmla="*/ 2147483647 w 619"/>
                  <a:gd name="T13" fmla="*/ 2147483647 h 445"/>
                  <a:gd name="T14" fmla="*/ 2147483647 w 619"/>
                  <a:gd name="T15" fmla="*/ 2147483647 h 445"/>
                  <a:gd name="T16" fmla="*/ 2147483647 w 619"/>
                  <a:gd name="T17" fmla="*/ 2147483647 h 445"/>
                  <a:gd name="T18" fmla="*/ 2147483647 w 619"/>
                  <a:gd name="T19" fmla="*/ 2147483647 h 445"/>
                  <a:gd name="T20" fmla="*/ 2147483647 w 619"/>
                  <a:gd name="T21" fmla="*/ 2147483647 h 445"/>
                  <a:gd name="T22" fmla="*/ 2147483647 w 619"/>
                  <a:gd name="T23" fmla="*/ 2147483647 h 445"/>
                  <a:gd name="T24" fmla="*/ 2147483647 w 619"/>
                  <a:gd name="T25" fmla="*/ 2147483647 h 445"/>
                  <a:gd name="T26" fmla="*/ 2147483647 w 619"/>
                  <a:gd name="T27" fmla="*/ 2147483647 h 445"/>
                  <a:gd name="T28" fmla="*/ 2147483647 w 619"/>
                  <a:gd name="T29" fmla="*/ 2147483647 h 445"/>
                  <a:gd name="T30" fmla="*/ 2147483647 w 619"/>
                  <a:gd name="T31" fmla="*/ 2147483647 h 445"/>
                  <a:gd name="T32" fmla="*/ 2147483647 w 619"/>
                  <a:gd name="T33" fmla="*/ 2147483647 h 445"/>
                  <a:gd name="T34" fmla="*/ 2147483647 w 619"/>
                  <a:gd name="T35" fmla="*/ 2147483647 h 445"/>
                  <a:gd name="T36" fmla="*/ 2147483647 w 619"/>
                  <a:gd name="T37" fmla="*/ 2147483647 h 445"/>
                  <a:gd name="T38" fmla="*/ 2147483647 w 619"/>
                  <a:gd name="T39" fmla="*/ 2147483647 h 445"/>
                  <a:gd name="T40" fmla="*/ 2147483647 w 619"/>
                  <a:gd name="T41" fmla="*/ 0 h 445"/>
                  <a:gd name="T42" fmla="*/ 2147483647 w 619"/>
                  <a:gd name="T43" fmla="*/ 2147483647 h 445"/>
                  <a:gd name="T44" fmla="*/ 2147483647 w 619"/>
                  <a:gd name="T45" fmla="*/ 2147483647 h 445"/>
                  <a:gd name="T46" fmla="*/ 2147483647 w 619"/>
                  <a:gd name="T47" fmla="*/ 2147483647 h 445"/>
                  <a:gd name="T48" fmla="*/ 2147483647 w 619"/>
                  <a:gd name="T49" fmla="*/ 2147483647 h 445"/>
                  <a:gd name="T50" fmla="*/ 2147483647 w 619"/>
                  <a:gd name="T51" fmla="*/ 2147483647 h 445"/>
                  <a:gd name="T52" fmla="*/ 2147483647 w 619"/>
                  <a:gd name="T53" fmla="*/ 2147483647 h 445"/>
                  <a:gd name="T54" fmla="*/ 2147483647 w 619"/>
                  <a:gd name="T55" fmla="*/ 2147483647 h 445"/>
                  <a:gd name="T56" fmla="*/ 2147483647 w 619"/>
                  <a:gd name="T57" fmla="*/ 2147483647 h 445"/>
                  <a:gd name="T58" fmla="*/ 2147483647 w 619"/>
                  <a:gd name="T59" fmla="*/ 2147483647 h 445"/>
                  <a:gd name="T60" fmla="*/ 2147483647 w 619"/>
                  <a:gd name="T61" fmla="*/ 2147483647 h 445"/>
                  <a:gd name="T62" fmla="*/ 2147483647 w 619"/>
                  <a:gd name="T63" fmla="*/ 2147483647 h 445"/>
                  <a:gd name="T64" fmla="*/ 2147483647 w 619"/>
                  <a:gd name="T65" fmla="*/ 2147483647 h 445"/>
                  <a:gd name="T66" fmla="*/ 2147483647 w 619"/>
                  <a:gd name="T67" fmla="*/ 2147483647 h 445"/>
                  <a:gd name="T68" fmla="*/ 2147483647 w 619"/>
                  <a:gd name="T69" fmla="*/ 2147483647 h 445"/>
                  <a:gd name="T70" fmla="*/ 2147483647 w 619"/>
                  <a:gd name="T71" fmla="*/ 2147483647 h 445"/>
                  <a:gd name="T72" fmla="*/ 0 w 619"/>
                  <a:gd name="T73" fmla="*/ 2147483647 h 445"/>
                  <a:gd name="T74" fmla="*/ 2147483647 w 619"/>
                  <a:gd name="T75" fmla="*/ 2147483647 h 445"/>
                  <a:gd name="T76" fmla="*/ 2147483647 w 619"/>
                  <a:gd name="T77" fmla="*/ 2147483647 h 445"/>
                  <a:gd name="T78" fmla="*/ 2147483647 w 619"/>
                  <a:gd name="T79" fmla="*/ 2147483647 h 445"/>
                  <a:gd name="T80" fmla="*/ 2147483647 w 619"/>
                  <a:gd name="T81" fmla="*/ 2147483647 h 445"/>
                  <a:gd name="T82" fmla="*/ 2147483647 w 619"/>
                  <a:gd name="T83" fmla="*/ 2147483647 h 445"/>
                  <a:gd name="T84" fmla="*/ 2147483647 w 619"/>
                  <a:gd name="T85" fmla="*/ 2147483647 h 44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619"/>
                  <a:gd name="T130" fmla="*/ 0 h 445"/>
                  <a:gd name="T131" fmla="*/ 619 w 619"/>
                  <a:gd name="T132" fmla="*/ 445 h 445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619" h="445">
                    <a:moveTo>
                      <a:pt x="84" y="282"/>
                    </a:moveTo>
                    <a:lnTo>
                      <a:pt x="98" y="304"/>
                    </a:lnTo>
                    <a:lnTo>
                      <a:pt x="118" y="312"/>
                    </a:lnTo>
                    <a:lnTo>
                      <a:pt x="134" y="314"/>
                    </a:lnTo>
                    <a:lnTo>
                      <a:pt x="136" y="324"/>
                    </a:lnTo>
                    <a:lnTo>
                      <a:pt x="168" y="324"/>
                    </a:lnTo>
                    <a:lnTo>
                      <a:pt x="178" y="348"/>
                    </a:lnTo>
                    <a:lnTo>
                      <a:pt x="178" y="390"/>
                    </a:lnTo>
                    <a:lnTo>
                      <a:pt x="208" y="402"/>
                    </a:lnTo>
                    <a:lnTo>
                      <a:pt x="218" y="418"/>
                    </a:lnTo>
                    <a:lnTo>
                      <a:pt x="252" y="416"/>
                    </a:lnTo>
                    <a:lnTo>
                      <a:pt x="268" y="430"/>
                    </a:lnTo>
                    <a:lnTo>
                      <a:pt x="290" y="442"/>
                    </a:lnTo>
                    <a:lnTo>
                      <a:pt x="306" y="436"/>
                    </a:lnTo>
                    <a:lnTo>
                      <a:pt x="318" y="418"/>
                    </a:lnTo>
                    <a:lnTo>
                      <a:pt x="330" y="406"/>
                    </a:lnTo>
                    <a:lnTo>
                      <a:pt x="360" y="410"/>
                    </a:lnTo>
                    <a:lnTo>
                      <a:pt x="378" y="430"/>
                    </a:lnTo>
                    <a:lnTo>
                      <a:pt x="392" y="442"/>
                    </a:lnTo>
                    <a:lnTo>
                      <a:pt x="412" y="444"/>
                    </a:lnTo>
                    <a:lnTo>
                      <a:pt x="434" y="422"/>
                    </a:lnTo>
                    <a:lnTo>
                      <a:pt x="452" y="410"/>
                    </a:lnTo>
                    <a:lnTo>
                      <a:pt x="470" y="398"/>
                    </a:lnTo>
                    <a:lnTo>
                      <a:pt x="482" y="372"/>
                    </a:lnTo>
                    <a:lnTo>
                      <a:pt x="518" y="350"/>
                    </a:lnTo>
                    <a:lnTo>
                      <a:pt x="518" y="324"/>
                    </a:lnTo>
                    <a:lnTo>
                      <a:pt x="546" y="318"/>
                    </a:lnTo>
                    <a:lnTo>
                      <a:pt x="560" y="306"/>
                    </a:lnTo>
                    <a:lnTo>
                      <a:pt x="558" y="286"/>
                    </a:lnTo>
                    <a:lnTo>
                      <a:pt x="564" y="266"/>
                    </a:lnTo>
                    <a:lnTo>
                      <a:pt x="578" y="256"/>
                    </a:lnTo>
                    <a:lnTo>
                      <a:pt x="588" y="226"/>
                    </a:lnTo>
                    <a:lnTo>
                      <a:pt x="616" y="196"/>
                    </a:lnTo>
                    <a:lnTo>
                      <a:pt x="618" y="172"/>
                    </a:lnTo>
                    <a:lnTo>
                      <a:pt x="604" y="144"/>
                    </a:lnTo>
                    <a:lnTo>
                      <a:pt x="572" y="144"/>
                    </a:lnTo>
                    <a:lnTo>
                      <a:pt x="564" y="120"/>
                    </a:lnTo>
                    <a:lnTo>
                      <a:pt x="532" y="120"/>
                    </a:lnTo>
                    <a:lnTo>
                      <a:pt x="538" y="92"/>
                    </a:lnTo>
                    <a:lnTo>
                      <a:pt x="560" y="68"/>
                    </a:lnTo>
                    <a:lnTo>
                      <a:pt x="556" y="38"/>
                    </a:lnTo>
                    <a:lnTo>
                      <a:pt x="540" y="0"/>
                    </a:lnTo>
                    <a:lnTo>
                      <a:pt x="518" y="6"/>
                    </a:lnTo>
                    <a:lnTo>
                      <a:pt x="498" y="20"/>
                    </a:lnTo>
                    <a:lnTo>
                      <a:pt x="484" y="24"/>
                    </a:lnTo>
                    <a:lnTo>
                      <a:pt x="450" y="32"/>
                    </a:lnTo>
                    <a:lnTo>
                      <a:pt x="422" y="44"/>
                    </a:lnTo>
                    <a:lnTo>
                      <a:pt x="396" y="32"/>
                    </a:lnTo>
                    <a:lnTo>
                      <a:pt x="378" y="42"/>
                    </a:lnTo>
                    <a:lnTo>
                      <a:pt x="372" y="44"/>
                    </a:lnTo>
                    <a:lnTo>
                      <a:pt x="370" y="66"/>
                    </a:lnTo>
                    <a:lnTo>
                      <a:pt x="344" y="70"/>
                    </a:lnTo>
                    <a:lnTo>
                      <a:pt x="338" y="82"/>
                    </a:lnTo>
                    <a:lnTo>
                      <a:pt x="308" y="78"/>
                    </a:lnTo>
                    <a:lnTo>
                      <a:pt x="300" y="100"/>
                    </a:lnTo>
                    <a:lnTo>
                      <a:pt x="282" y="122"/>
                    </a:lnTo>
                    <a:lnTo>
                      <a:pt x="270" y="106"/>
                    </a:lnTo>
                    <a:lnTo>
                      <a:pt x="238" y="104"/>
                    </a:lnTo>
                    <a:lnTo>
                      <a:pt x="232" y="94"/>
                    </a:lnTo>
                    <a:lnTo>
                      <a:pt x="226" y="82"/>
                    </a:lnTo>
                    <a:lnTo>
                      <a:pt x="202" y="82"/>
                    </a:lnTo>
                    <a:lnTo>
                      <a:pt x="198" y="100"/>
                    </a:lnTo>
                    <a:lnTo>
                      <a:pt x="174" y="112"/>
                    </a:lnTo>
                    <a:lnTo>
                      <a:pt x="160" y="114"/>
                    </a:lnTo>
                    <a:lnTo>
                      <a:pt x="144" y="114"/>
                    </a:lnTo>
                    <a:lnTo>
                      <a:pt x="126" y="136"/>
                    </a:lnTo>
                    <a:lnTo>
                      <a:pt x="128" y="152"/>
                    </a:lnTo>
                    <a:lnTo>
                      <a:pt x="94" y="150"/>
                    </a:lnTo>
                    <a:lnTo>
                      <a:pt x="90" y="150"/>
                    </a:lnTo>
                    <a:lnTo>
                      <a:pt x="82" y="130"/>
                    </a:lnTo>
                    <a:lnTo>
                      <a:pt x="22" y="136"/>
                    </a:lnTo>
                    <a:lnTo>
                      <a:pt x="26" y="154"/>
                    </a:lnTo>
                    <a:lnTo>
                      <a:pt x="2" y="146"/>
                    </a:lnTo>
                    <a:lnTo>
                      <a:pt x="0" y="170"/>
                    </a:lnTo>
                    <a:lnTo>
                      <a:pt x="6" y="192"/>
                    </a:lnTo>
                    <a:lnTo>
                      <a:pt x="34" y="190"/>
                    </a:lnTo>
                    <a:lnTo>
                      <a:pt x="52" y="194"/>
                    </a:lnTo>
                    <a:lnTo>
                      <a:pt x="56" y="206"/>
                    </a:lnTo>
                    <a:lnTo>
                      <a:pt x="64" y="218"/>
                    </a:lnTo>
                    <a:lnTo>
                      <a:pt x="100" y="220"/>
                    </a:lnTo>
                    <a:lnTo>
                      <a:pt x="128" y="222"/>
                    </a:lnTo>
                    <a:lnTo>
                      <a:pt x="134" y="236"/>
                    </a:lnTo>
                    <a:lnTo>
                      <a:pt x="130" y="256"/>
                    </a:lnTo>
                    <a:lnTo>
                      <a:pt x="108" y="262"/>
                    </a:lnTo>
                    <a:lnTo>
                      <a:pt x="94" y="264"/>
                    </a:lnTo>
                    <a:lnTo>
                      <a:pt x="84" y="282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68" name="Freeform 24"/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702175" y="5854700"/>
                <a:ext cx="341313" cy="258763"/>
              </a:xfrm>
              <a:custGeom>
                <a:avLst/>
                <a:gdLst>
                  <a:gd name="T0" fmla="*/ 2147483647 w 209"/>
                  <a:gd name="T1" fmla="*/ 2147483647 h 165"/>
                  <a:gd name="T2" fmla="*/ 2147483647 w 209"/>
                  <a:gd name="T3" fmla="*/ 2147483647 h 165"/>
                  <a:gd name="T4" fmla="*/ 2147483647 w 209"/>
                  <a:gd name="T5" fmla="*/ 2147483647 h 165"/>
                  <a:gd name="T6" fmla="*/ 2147483647 w 209"/>
                  <a:gd name="T7" fmla="*/ 2147483647 h 165"/>
                  <a:gd name="T8" fmla="*/ 2147483647 w 209"/>
                  <a:gd name="T9" fmla="*/ 2147483647 h 165"/>
                  <a:gd name="T10" fmla="*/ 2147483647 w 209"/>
                  <a:gd name="T11" fmla="*/ 2147483647 h 165"/>
                  <a:gd name="T12" fmla="*/ 2147483647 w 209"/>
                  <a:gd name="T13" fmla="*/ 0 h 165"/>
                  <a:gd name="T14" fmla="*/ 2147483647 w 209"/>
                  <a:gd name="T15" fmla="*/ 0 h 165"/>
                  <a:gd name="T16" fmla="*/ 2147483647 w 209"/>
                  <a:gd name="T17" fmla="*/ 2147483647 h 165"/>
                  <a:gd name="T18" fmla="*/ 2147483647 w 209"/>
                  <a:gd name="T19" fmla="*/ 2147483647 h 165"/>
                  <a:gd name="T20" fmla="*/ 2147483647 w 209"/>
                  <a:gd name="T21" fmla="*/ 2147483647 h 165"/>
                  <a:gd name="T22" fmla="*/ 2147483647 w 209"/>
                  <a:gd name="T23" fmla="*/ 2147483647 h 165"/>
                  <a:gd name="T24" fmla="*/ 2147483647 w 209"/>
                  <a:gd name="T25" fmla="*/ 2147483647 h 165"/>
                  <a:gd name="T26" fmla="*/ 2147483647 w 209"/>
                  <a:gd name="T27" fmla="*/ 2147483647 h 165"/>
                  <a:gd name="T28" fmla="*/ 2147483647 w 209"/>
                  <a:gd name="T29" fmla="*/ 2147483647 h 165"/>
                  <a:gd name="T30" fmla="*/ 2147483647 w 209"/>
                  <a:gd name="T31" fmla="*/ 2147483647 h 165"/>
                  <a:gd name="T32" fmla="*/ 2147483647 w 209"/>
                  <a:gd name="T33" fmla="*/ 2147483647 h 165"/>
                  <a:gd name="T34" fmla="*/ 2147483647 w 209"/>
                  <a:gd name="T35" fmla="*/ 2147483647 h 165"/>
                  <a:gd name="T36" fmla="*/ 2147483647 w 209"/>
                  <a:gd name="T37" fmla="*/ 2147483647 h 165"/>
                  <a:gd name="T38" fmla="*/ 2147483647 w 209"/>
                  <a:gd name="T39" fmla="*/ 2147483647 h 165"/>
                  <a:gd name="T40" fmla="*/ 2147483647 w 209"/>
                  <a:gd name="T41" fmla="*/ 2147483647 h 165"/>
                  <a:gd name="T42" fmla="*/ 2147483647 w 209"/>
                  <a:gd name="T43" fmla="*/ 2147483647 h 165"/>
                  <a:gd name="T44" fmla="*/ 0 w 209"/>
                  <a:gd name="T45" fmla="*/ 2147483647 h 165"/>
                  <a:gd name="T46" fmla="*/ 2147483647 w 209"/>
                  <a:gd name="T47" fmla="*/ 2147483647 h 165"/>
                  <a:gd name="T48" fmla="*/ 2147483647 w 209"/>
                  <a:gd name="T49" fmla="*/ 2147483647 h 165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209"/>
                  <a:gd name="T76" fmla="*/ 0 h 165"/>
                  <a:gd name="T77" fmla="*/ 209 w 209"/>
                  <a:gd name="T78" fmla="*/ 165 h 165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209" h="165">
                    <a:moveTo>
                      <a:pt x="14" y="66"/>
                    </a:moveTo>
                    <a:lnTo>
                      <a:pt x="40" y="36"/>
                    </a:lnTo>
                    <a:lnTo>
                      <a:pt x="54" y="16"/>
                    </a:lnTo>
                    <a:lnTo>
                      <a:pt x="78" y="16"/>
                    </a:lnTo>
                    <a:lnTo>
                      <a:pt x="98" y="26"/>
                    </a:lnTo>
                    <a:lnTo>
                      <a:pt x="114" y="12"/>
                    </a:lnTo>
                    <a:lnTo>
                      <a:pt x="122" y="0"/>
                    </a:lnTo>
                    <a:lnTo>
                      <a:pt x="162" y="0"/>
                    </a:lnTo>
                    <a:lnTo>
                      <a:pt x="196" y="2"/>
                    </a:lnTo>
                    <a:lnTo>
                      <a:pt x="206" y="14"/>
                    </a:lnTo>
                    <a:lnTo>
                      <a:pt x="208" y="42"/>
                    </a:lnTo>
                    <a:lnTo>
                      <a:pt x="198" y="60"/>
                    </a:lnTo>
                    <a:lnTo>
                      <a:pt x="176" y="66"/>
                    </a:lnTo>
                    <a:lnTo>
                      <a:pt x="170" y="92"/>
                    </a:lnTo>
                    <a:lnTo>
                      <a:pt x="170" y="114"/>
                    </a:lnTo>
                    <a:lnTo>
                      <a:pt x="154" y="122"/>
                    </a:lnTo>
                    <a:lnTo>
                      <a:pt x="134" y="124"/>
                    </a:lnTo>
                    <a:lnTo>
                      <a:pt x="118" y="148"/>
                    </a:lnTo>
                    <a:lnTo>
                      <a:pt x="104" y="160"/>
                    </a:lnTo>
                    <a:lnTo>
                      <a:pt x="74" y="164"/>
                    </a:lnTo>
                    <a:lnTo>
                      <a:pt x="40" y="160"/>
                    </a:lnTo>
                    <a:lnTo>
                      <a:pt x="28" y="146"/>
                    </a:lnTo>
                    <a:lnTo>
                      <a:pt x="0" y="126"/>
                    </a:lnTo>
                    <a:lnTo>
                      <a:pt x="4" y="92"/>
                    </a:lnTo>
                    <a:lnTo>
                      <a:pt x="14" y="6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69" name="Freeform 25"/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829175" y="5051425"/>
                <a:ext cx="1016000" cy="739775"/>
              </a:xfrm>
              <a:custGeom>
                <a:avLst/>
                <a:gdLst>
                  <a:gd name="T0" fmla="*/ 0 w 621"/>
                  <a:gd name="T1" fmla="*/ 2147483647 h 469"/>
                  <a:gd name="T2" fmla="*/ 2147483647 w 621"/>
                  <a:gd name="T3" fmla="*/ 2147483647 h 469"/>
                  <a:gd name="T4" fmla="*/ 2147483647 w 621"/>
                  <a:gd name="T5" fmla="*/ 2147483647 h 469"/>
                  <a:gd name="T6" fmla="*/ 2147483647 w 621"/>
                  <a:gd name="T7" fmla="*/ 2147483647 h 469"/>
                  <a:gd name="T8" fmla="*/ 2147483647 w 621"/>
                  <a:gd name="T9" fmla="*/ 2147483647 h 469"/>
                  <a:gd name="T10" fmla="*/ 2147483647 w 621"/>
                  <a:gd name="T11" fmla="*/ 2147483647 h 469"/>
                  <a:gd name="T12" fmla="*/ 2147483647 w 621"/>
                  <a:gd name="T13" fmla="*/ 2147483647 h 469"/>
                  <a:gd name="T14" fmla="*/ 2147483647 w 621"/>
                  <a:gd name="T15" fmla="*/ 2147483647 h 469"/>
                  <a:gd name="T16" fmla="*/ 2147483647 w 621"/>
                  <a:gd name="T17" fmla="*/ 2147483647 h 469"/>
                  <a:gd name="T18" fmla="*/ 2147483647 w 621"/>
                  <a:gd name="T19" fmla="*/ 2147483647 h 469"/>
                  <a:gd name="T20" fmla="*/ 2147483647 w 621"/>
                  <a:gd name="T21" fmla="*/ 2147483647 h 469"/>
                  <a:gd name="T22" fmla="*/ 2147483647 w 621"/>
                  <a:gd name="T23" fmla="*/ 2147483647 h 469"/>
                  <a:gd name="T24" fmla="*/ 2147483647 w 621"/>
                  <a:gd name="T25" fmla="*/ 2147483647 h 469"/>
                  <a:gd name="T26" fmla="*/ 2147483647 w 621"/>
                  <a:gd name="T27" fmla="*/ 2147483647 h 469"/>
                  <a:gd name="T28" fmla="*/ 2147483647 w 621"/>
                  <a:gd name="T29" fmla="*/ 2147483647 h 469"/>
                  <a:gd name="T30" fmla="*/ 2147483647 w 621"/>
                  <a:gd name="T31" fmla="*/ 2147483647 h 469"/>
                  <a:gd name="T32" fmla="*/ 2147483647 w 621"/>
                  <a:gd name="T33" fmla="*/ 2147483647 h 469"/>
                  <a:gd name="T34" fmla="*/ 2147483647 w 621"/>
                  <a:gd name="T35" fmla="*/ 2147483647 h 469"/>
                  <a:gd name="T36" fmla="*/ 2147483647 w 621"/>
                  <a:gd name="T37" fmla="*/ 2147483647 h 469"/>
                  <a:gd name="T38" fmla="*/ 2147483647 w 621"/>
                  <a:gd name="T39" fmla="*/ 2147483647 h 469"/>
                  <a:gd name="T40" fmla="*/ 2147483647 w 621"/>
                  <a:gd name="T41" fmla="*/ 2147483647 h 469"/>
                  <a:gd name="T42" fmla="*/ 2147483647 w 621"/>
                  <a:gd name="T43" fmla="*/ 2147483647 h 469"/>
                  <a:gd name="T44" fmla="*/ 2147483647 w 621"/>
                  <a:gd name="T45" fmla="*/ 0 h 469"/>
                  <a:gd name="T46" fmla="*/ 2147483647 w 621"/>
                  <a:gd name="T47" fmla="*/ 2147483647 h 469"/>
                  <a:gd name="T48" fmla="*/ 2147483647 w 621"/>
                  <a:gd name="T49" fmla="*/ 2147483647 h 469"/>
                  <a:gd name="T50" fmla="*/ 2147483647 w 621"/>
                  <a:gd name="T51" fmla="*/ 2147483647 h 469"/>
                  <a:gd name="T52" fmla="*/ 2147483647 w 621"/>
                  <a:gd name="T53" fmla="*/ 2147483647 h 469"/>
                  <a:gd name="T54" fmla="*/ 2147483647 w 621"/>
                  <a:gd name="T55" fmla="*/ 2147483647 h 469"/>
                  <a:gd name="T56" fmla="*/ 2147483647 w 621"/>
                  <a:gd name="T57" fmla="*/ 2147483647 h 469"/>
                  <a:gd name="T58" fmla="*/ 2147483647 w 621"/>
                  <a:gd name="T59" fmla="*/ 2147483647 h 469"/>
                  <a:gd name="T60" fmla="*/ 2147483647 w 621"/>
                  <a:gd name="T61" fmla="*/ 2147483647 h 469"/>
                  <a:gd name="T62" fmla="*/ 2147483647 w 621"/>
                  <a:gd name="T63" fmla="*/ 2147483647 h 469"/>
                  <a:gd name="T64" fmla="*/ 2147483647 w 621"/>
                  <a:gd name="T65" fmla="*/ 2147483647 h 469"/>
                  <a:gd name="T66" fmla="*/ 2147483647 w 621"/>
                  <a:gd name="T67" fmla="*/ 2147483647 h 469"/>
                  <a:gd name="T68" fmla="*/ 2147483647 w 621"/>
                  <a:gd name="T69" fmla="*/ 2147483647 h 469"/>
                  <a:gd name="T70" fmla="*/ 2147483647 w 621"/>
                  <a:gd name="T71" fmla="*/ 2147483647 h 469"/>
                  <a:gd name="T72" fmla="*/ 2147483647 w 621"/>
                  <a:gd name="T73" fmla="*/ 2147483647 h 469"/>
                  <a:gd name="T74" fmla="*/ 2147483647 w 621"/>
                  <a:gd name="T75" fmla="*/ 2147483647 h 469"/>
                  <a:gd name="T76" fmla="*/ 2147483647 w 621"/>
                  <a:gd name="T77" fmla="*/ 2147483647 h 469"/>
                  <a:gd name="T78" fmla="*/ 2147483647 w 621"/>
                  <a:gd name="T79" fmla="*/ 2147483647 h 469"/>
                  <a:gd name="T80" fmla="*/ 2147483647 w 621"/>
                  <a:gd name="T81" fmla="*/ 2147483647 h 469"/>
                  <a:gd name="T82" fmla="*/ 2147483647 w 621"/>
                  <a:gd name="T83" fmla="*/ 2147483647 h 469"/>
                  <a:gd name="T84" fmla="*/ 2147483647 w 621"/>
                  <a:gd name="T85" fmla="*/ 2147483647 h 469"/>
                  <a:gd name="T86" fmla="*/ 2147483647 w 621"/>
                  <a:gd name="T87" fmla="*/ 2147483647 h 469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621"/>
                  <a:gd name="T133" fmla="*/ 0 h 469"/>
                  <a:gd name="T134" fmla="*/ 621 w 621"/>
                  <a:gd name="T135" fmla="*/ 469 h 469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621" h="469">
                    <a:moveTo>
                      <a:pt x="2" y="368"/>
                    </a:moveTo>
                    <a:lnTo>
                      <a:pt x="0" y="374"/>
                    </a:lnTo>
                    <a:lnTo>
                      <a:pt x="24" y="390"/>
                    </a:lnTo>
                    <a:lnTo>
                      <a:pt x="16" y="430"/>
                    </a:lnTo>
                    <a:lnTo>
                      <a:pt x="26" y="460"/>
                    </a:lnTo>
                    <a:lnTo>
                      <a:pt x="54" y="468"/>
                    </a:lnTo>
                    <a:lnTo>
                      <a:pt x="78" y="464"/>
                    </a:lnTo>
                    <a:lnTo>
                      <a:pt x="74" y="446"/>
                    </a:lnTo>
                    <a:lnTo>
                      <a:pt x="58" y="432"/>
                    </a:lnTo>
                    <a:lnTo>
                      <a:pt x="58" y="412"/>
                    </a:lnTo>
                    <a:lnTo>
                      <a:pt x="102" y="386"/>
                    </a:lnTo>
                    <a:lnTo>
                      <a:pt x="118" y="366"/>
                    </a:lnTo>
                    <a:lnTo>
                      <a:pt x="174" y="364"/>
                    </a:lnTo>
                    <a:lnTo>
                      <a:pt x="204" y="356"/>
                    </a:lnTo>
                    <a:lnTo>
                      <a:pt x="208" y="342"/>
                    </a:lnTo>
                    <a:lnTo>
                      <a:pt x="236" y="346"/>
                    </a:lnTo>
                    <a:lnTo>
                      <a:pt x="250" y="328"/>
                    </a:lnTo>
                    <a:lnTo>
                      <a:pt x="300" y="330"/>
                    </a:lnTo>
                    <a:lnTo>
                      <a:pt x="310" y="294"/>
                    </a:lnTo>
                    <a:lnTo>
                      <a:pt x="308" y="244"/>
                    </a:lnTo>
                    <a:lnTo>
                      <a:pt x="322" y="226"/>
                    </a:lnTo>
                    <a:lnTo>
                      <a:pt x="346" y="254"/>
                    </a:lnTo>
                    <a:lnTo>
                      <a:pt x="364" y="274"/>
                    </a:lnTo>
                    <a:lnTo>
                      <a:pt x="384" y="264"/>
                    </a:lnTo>
                    <a:lnTo>
                      <a:pt x="402" y="248"/>
                    </a:lnTo>
                    <a:lnTo>
                      <a:pt x="428" y="246"/>
                    </a:lnTo>
                    <a:lnTo>
                      <a:pt x="500" y="244"/>
                    </a:lnTo>
                    <a:lnTo>
                      <a:pt x="518" y="230"/>
                    </a:lnTo>
                    <a:lnTo>
                      <a:pt x="570" y="218"/>
                    </a:lnTo>
                    <a:lnTo>
                      <a:pt x="592" y="188"/>
                    </a:lnTo>
                    <a:lnTo>
                      <a:pt x="620" y="142"/>
                    </a:lnTo>
                    <a:lnTo>
                      <a:pt x="620" y="114"/>
                    </a:lnTo>
                    <a:lnTo>
                      <a:pt x="590" y="76"/>
                    </a:lnTo>
                    <a:lnTo>
                      <a:pt x="586" y="60"/>
                    </a:lnTo>
                    <a:lnTo>
                      <a:pt x="550" y="54"/>
                    </a:lnTo>
                    <a:lnTo>
                      <a:pt x="520" y="40"/>
                    </a:lnTo>
                    <a:lnTo>
                      <a:pt x="510" y="58"/>
                    </a:lnTo>
                    <a:lnTo>
                      <a:pt x="486" y="76"/>
                    </a:lnTo>
                    <a:lnTo>
                      <a:pt x="464" y="62"/>
                    </a:lnTo>
                    <a:lnTo>
                      <a:pt x="440" y="64"/>
                    </a:lnTo>
                    <a:lnTo>
                      <a:pt x="428" y="86"/>
                    </a:lnTo>
                    <a:lnTo>
                      <a:pt x="402" y="90"/>
                    </a:lnTo>
                    <a:lnTo>
                      <a:pt x="390" y="68"/>
                    </a:lnTo>
                    <a:lnTo>
                      <a:pt x="406" y="30"/>
                    </a:lnTo>
                    <a:lnTo>
                      <a:pt x="420" y="12"/>
                    </a:lnTo>
                    <a:lnTo>
                      <a:pt x="410" y="0"/>
                    </a:lnTo>
                    <a:lnTo>
                      <a:pt x="400" y="2"/>
                    </a:lnTo>
                    <a:lnTo>
                      <a:pt x="394" y="4"/>
                    </a:lnTo>
                    <a:lnTo>
                      <a:pt x="390" y="8"/>
                    </a:lnTo>
                    <a:lnTo>
                      <a:pt x="386" y="12"/>
                    </a:lnTo>
                    <a:lnTo>
                      <a:pt x="382" y="14"/>
                    </a:lnTo>
                    <a:lnTo>
                      <a:pt x="380" y="18"/>
                    </a:lnTo>
                    <a:lnTo>
                      <a:pt x="376" y="18"/>
                    </a:lnTo>
                    <a:lnTo>
                      <a:pt x="372" y="22"/>
                    </a:lnTo>
                    <a:lnTo>
                      <a:pt x="368" y="22"/>
                    </a:lnTo>
                    <a:lnTo>
                      <a:pt x="364" y="24"/>
                    </a:lnTo>
                    <a:lnTo>
                      <a:pt x="360" y="24"/>
                    </a:lnTo>
                    <a:lnTo>
                      <a:pt x="356" y="26"/>
                    </a:lnTo>
                    <a:lnTo>
                      <a:pt x="352" y="26"/>
                    </a:lnTo>
                    <a:lnTo>
                      <a:pt x="348" y="26"/>
                    </a:lnTo>
                    <a:lnTo>
                      <a:pt x="336" y="20"/>
                    </a:lnTo>
                    <a:lnTo>
                      <a:pt x="302" y="14"/>
                    </a:lnTo>
                    <a:lnTo>
                      <a:pt x="278" y="16"/>
                    </a:lnTo>
                    <a:lnTo>
                      <a:pt x="272" y="32"/>
                    </a:lnTo>
                    <a:lnTo>
                      <a:pt x="276" y="56"/>
                    </a:lnTo>
                    <a:lnTo>
                      <a:pt x="272" y="70"/>
                    </a:lnTo>
                    <a:lnTo>
                      <a:pt x="258" y="70"/>
                    </a:lnTo>
                    <a:lnTo>
                      <a:pt x="248" y="54"/>
                    </a:lnTo>
                    <a:lnTo>
                      <a:pt x="236" y="42"/>
                    </a:lnTo>
                    <a:lnTo>
                      <a:pt x="216" y="48"/>
                    </a:lnTo>
                    <a:lnTo>
                      <a:pt x="218" y="74"/>
                    </a:lnTo>
                    <a:lnTo>
                      <a:pt x="200" y="80"/>
                    </a:lnTo>
                    <a:lnTo>
                      <a:pt x="180" y="96"/>
                    </a:lnTo>
                    <a:lnTo>
                      <a:pt x="188" y="120"/>
                    </a:lnTo>
                    <a:lnTo>
                      <a:pt x="188" y="138"/>
                    </a:lnTo>
                    <a:lnTo>
                      <a:pt x="176" y="158"/>
                    </a:lnTo>
                    <a:lnTo>
                      <a:pt x="166" y="164"/>
                    </a:lnTo>
                    <a:lnTo>
                      <a:pt x="154" y="198"/>
                    </a:lnTo>
                    <a:lnTo>
                      <a:pt x="142" y="206"/>
                    </a:lnTo>
                    <a:lnTo>
                      <a:pt x="132" y="228"/>
                    </a:lnTo>
                    <a:lnTo>
                      <a:pt x="136" y="248"/>
                    </a:lnTo>
                    <a:lnTo>
                      <a:pt x="126" y="262"/>
                    </a:lnTo>
                    <a:lnTo>
                      <a:pt x="96" y="268"/>
                    </a:lnTo>
                    <a:lnTo>
                      <a:pt x="90" y="270"/>
                    </a:lnTo>
                    <a:lnTo>
                      <a:pt x="92" y="294"/>
                    </a:lnTo>
                    <a:lnTo>
                      <a:pt x="62" y="312"/>
                    </a:lnTo>
                    <a:lnTo>
                      <a:pt x="52" y="320"/>
                    </a:lnTo>
                    <a:lnTo>
                      <a:pt x="46" y="342"/>
                    </a:lnTo>
                    <a:lnTo>
                      <a:pt x="2" y="368"/>
                    </a:lnTo>
                  </a:path>
                </a:pathLst>
              </a:custGeom>
              <a:solidFill>
                <a:schemeClr val="accent1"/>
              </a:solidFill>
              <a:ln w="9525" algn="ctr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70" name="Freeform 26"/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5664200" y="4581525"/>
                <a:ext cx="554038" cy="688975"/>
              </a:xfrm>
              <a:custGeom>
                <a:avLst/>
                <a:gdLst>
                  <a:gd name="T0" fmla="*/ 2147483647 w 339"/>
                  <a:gd name="T1" fmla="*/ 2147483647 h 439"/>
                  <a:gd name="T2" fmla="*/ 2147483647 w 339"/>
                  <a:gd name="T3" fmla="*/ 2147483647 h 439"/>
                  <a:gd name="T4" fmla="*/ 2147483647 w 339"/>
                  <a:gd name="T5" fmla="*/ 2147483647 h 439"/>
                  <a:gd name="T6" fmla="*/ 2147483647 w 339"/>
                  <a:gd name="T7" fmla="*/ 2147483647 h 439"/>
                  <a:gd name="T8" fmla="*/ 2147483647 w 339"/>
                  <a:gd name="T9" fmla="*/ 2147483647 h 439"/>
                  <a:gd name="T10" fmla="*/ 2147483647 w 339"/>
                  <a:gd name="T11" fmla="*/ 2147483647 h 439"/>
                  <a:gd name="T12" fmla="*/ 2147483647 w 339"/>
                  <a:gd name="T13" fmla="*/ 2147483647 h 439"/>
                  <a:gd name="T14" fmla="*/ 2147483647 w 339"/>
                  <a:gd name="T15" fmla="*/ 2147483647 h 439"/>
                  <a:gd name="T16" fmla="*/ 2147483647 w 339"/>
                  <a:gd name="T17" fmla="*/ 2147483647 h 439"/>
                  <a:gd name="T18" fmla="*/ 2147483647 w 339"/>
                  <a:gd name="T19" fmla="*/ 2147483647 h 439"/>
                  <a:gd name="T20" fmla="*/ 2147483647 w 339"/>
                  <a:gd name="T21" fmla="*/ 2147483647 h 439"/>
                  <a:gd name="T22" fmla="*/ 2147483647 w 339"/>
                  <a:gd name="T23" fmla="*/ 2147483647 h 439"/>
                  <a:gd name="T24" fmla="*/ 2147483647 w 339"/>
                  <a:gd name="T25" fmla="*/ 2147483647 h 439"/>
                  <a:gd name="T26" fmla="*/ 2147483647 w 339"/>
                  <a:gd name="T27" fmla="*/ 2147483647 h 439"/>
                  <a:gd name="T28" fmla="*/ 2147483647 w 339"/>
                  <a:gd name="T29" fmla="*/ 2147483647 h 439"/>
                  <a:gd name="T30" fmla="*/ 2147483647 w 339"/>
                  <a:gd name="T31" fmla="*/ 2147483647 h 439"/>
                  <a:gd name="T32" fmla="*/ 2147483647 w 339"/>
                  <a:gd name="T33" fmla="*/ 2147483647 h 439"/>
                  <a:gd name="T34" fmla="*/ 2147483647 w 339"/>
                  <a:gd name="T35" fmla="*/ 2147483647 h 439"/>
                  <a:gd name="T36" fmla="*/ 2147483647 w 339"/>
                  <a:gd name="T37" fmla="*/ 2147483647 h 439"/>
                  <a:gd name="T38" fmla="*/ 2147483647 w 339"/>
                  <a:gd name="T39" fmla="*/ 2147483647 h 439"/>
                  <a:gd name="T40" fmla="*/ 2147483647 w 339"/>
                  <a:gd name="T41" fmla="*/ 2147483647 h 439"/>
                  <a:gd name="T42" fmla="*/ 2147483647 w 339"/>
                  <a:gd name="T43" fmla="*/ 2147483647 h 439"/>
                  <a:gd name="T44" fmla="*/ 2147483647 w 339"/>
                  <a:gd name="T45" fmla="*/ 2147483647 h 439"/>
                  <a:gd name="T46" fmla="*/ 2147483647 w 339"/>
                  <a:gd name="T47" fmla="*/ 2147483647 h 439"/>
                  <a:gd name="T48" fmla="*/ 2147483647 w 339"/>
                  <a:gd name="T49" fmla="*/ 2147483647 h 439"/>
                  <a:gd name="T50" fmla="*/ 2147483647 w 339"/>
                  <a:gd name="T51" fmla="*/ 2147483647 h 439"/>
                  <a:gd name="T52" fmla="*/ 2147483647 w 339"/>
                  <a:gd name="T53" fmla="*/ 2147483647 h 439"/>
                  <a:gd name="T54" fmla="*/ 2147483647 w 339"/>
                  <a:gd name="T55" fmla="*/ 2147483647 h 439"/>
                  <a:gd name="T56" fmla="*/ 2147483647 w 339"/>
                  <a:gd name="T57" fmla="*/ 0 h 439"/>
                  <a:gd name="T58" fmla="*/ 2147483647 w 339"/>
                  <a:gd name="T59" fmla="*/ 2147483647 h 439"/>
                  <a:gd name="T60" fmla="*/ 2147483647 w 339"/>
                  <a:gd name="T61" fmla="*/ 2147483647 h 439"/>
                  <a:gd name="T62" fmla="*/ 2147483647 w 339"/>
                  <a:gd name="T63" fmla="*/ 2147483647 h 439"/>
                  <a:gd name="T64" fmla="*/ 2147483647 w 339"/>
                  <a:gd name="T65" fmla="*/ 2147483647 h 439"/>
                  <a:gd name="T66" fmla="*/ 2147483647 w 339"/>
                  <a:gd name="T67" fmla="*/ 2147483647 h 439"/>
                  <a:gd name="T68" fmla="*/ 2147483647 w 339"/>
                  <a:gd name="T69" fmla="*/ 2147483647 h 439"/>
                  <a:gd name="T70" fmla="*/ 2147483647 w 339"/>
                  <a:gd name="T71" fmla="*/ 2147483647 h 439"/>
                  <a:gd name="T72" fmla="*/ 2147483647 w 339"/>
                  <a:gd name="T73" fmla="*/ 2147483647 h 439"/>
                  <a:gd name="T74" fmla="*/ 2147483647 w 339"/>
                  <a:gd name="T75" fmla="*/ 2147483647 h 439"/>
                  <a:gd name="T76" fmla="*/ 2147483647 w 339"/>
                  <a:gd name="T77" fmla="*/ 2147483647 h 439"/>
                  <a:gd name="T78" fmla="*/ 2147483647 w 339"/>
                  <a:gd name="T79" fmla="*/ 2147483647 h 439"/>
                  <a:gd name="T80" fmla="*/ 2147483647 w 339"/>
                  <a:gd name="T81" fmla="*/ 2147483647 h 439"/>
                  <a:gd name="T82" fmla="*/ 2147483647 w 339"/>
                  <a:gd name="T83" fmla="*/ 2147483647 h 439"/>
                  <a:gd name="T84" fmla="*/ 2147483647 w 339"/>
                  <a:gd name="T85" fmla="*/ 2147483647 h 439"/>
                  <a:gd name="T86" fmla="*/ 2147483647 w 339"/>
                  <a:gd name="T87" fmla="*/ 2147483647 h 439"/>
                  <a:gd name="T88" fmla="*/ 2147483647 w 339"/>
                  <a:gd name="T89" fmla="*/ 2147483647 h 439"/>
                  <a:gd name="T90" fmla="*/ 0 w 339"/>
                  <a:gd name="T91" fmla="*/ 2147483647 h 439"/>
                  <a:gd name="T92" fmla="*/ 2147483647 w 339"/>
                  <a:gd name="T93" fmla="*/ 2147483647 h 439"/>
                  <a:gd name="T94" fmla="*/ 2147483647 w 339"/>
                  <a:gd name="T95" fmla="*/ 2147483647 h 439"/>
                  <a:gd name="T96" fmla="*/ 2147483647 w 339"/>
                  <a:gd name="T97" fmla="*/ 2147483647 h 439"/>
                  <a:gd name="T98" fmla="*/ 2147483647 w 339"/>
                  <a:gd name="T99" fmla="*/ 2147483647 h 439"/>
                  <a:gd name="T100" fmla="*/ 2147483647 w 339"/>
                  <a:gd name="T101" fmla="*/ 2147483647 h 439"/>
                  <a:gd name="T102" fmla="*/ 2147483647 w 339"/>
                  <a:gd name="T103" fmla="*/ 2147483647 h 439"/>
                  <a:gd name="T104" fmla="*/ 2147483647 w 339"/>
                  <a:gd name="T105" fmla="*/ 2147483647 h 439"/>
                  <a:gd name="T106" fmla="*/ 2147483647 w 339"/>
                  <a:gd name="T107" fmla="*/ 2147483647 h 439"/>
                  <a:gd name="T108" fmla="*/ 2147483647 w 339"/>
                  <a:gd name="T109" fmla="*/ 2147483647 h 439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39"/>
                  <a:gd name="T166" fmla="*/ 0 h 439"/>
                  <a:gd name="T167" fmla="*/ 339 w 339"/>
                  <a:gd name="T168" fmla="*/ 439 h 439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39" h="439">
                    <a:moveTo>
                      <a:pt x="104" y="438"/>
                    </a:moveTo>
                    <a:lnTo>
                      <a:pt x="130" y="436"/>
                    </a:lnTo>
                    <a:lnTo>
                      <a:pt x="144" y="426"/>
                    </a:lnTo>
                    <a:lnTo>
                      <a:pt x="166" y="412"/>
                    </a:lnTo>
                    <a:lnTo>
                      <a:pt x="184" y="400"/>
                    </a:lnTo>
                    <a:lnTo>
                      <a:pt x="184" y="378"/>
                    </a:lnTo>
                    <a:lnTo>
                      <a:pt x="204" y="354"/>
                    </a:lnTo>
                    <a:lnTo>
                      <a:pt x="212" y="338"/>
                    </a:lnTo>
                    <a:lnTo>
                      <a:pt x="242" y="340"/>
                    </a:lnTo>
                    <a:lnTo>
                      <a:pt x="252" y="320"/>
                    </a:lnTo>
                    <a:lnTo>
                      <a:pt x="260" y="286"/>
                    </a:lnTo>
                    <a:lnTo>
                      <a:pt x="280" y="274"/>
                    </a:lnTo>
                    <a:lnTo>
                      <a:pt x="296" y="260"/>
                    </a:lnTo>
                    <a:lnTo>
                      <a:pt x="302" y="210"/>
                    </a:lnTo>
                    <a:lnTo>
                      <a:pt x="294" y="154"/>
                    </a:lnTo>
                    <a:lnTo>
                      <a:pt x="300" y="140"/>
                    </a:lnTo>
                    <a:lnTo>
                      <a:pt x="326" y="148"/>
                    </a:lnTo>
                    <a:lnTo>
                      <a:pt x="338" y="132"/>
                    </a:lnTo>
                    <a:lnTo>
                      <a:pt x="336" y="92"/>
                    </a:lnTo>
                    <a:lnTo>
                      <a:pt x="314" y="92"/>
                    </a:lnTo>
                    <a:lnTo>
                      <a:pt x="290" y="90"/>
                    </a:lnTo>
                    <a:lnTo>
                      <a:pt x="278" y="72"/>
                    </a:lnTo>
                    <a:lnTo>
                      <a:pt x="252" y="74"/>
                    </a:lnTo>
                    <a:lnTo>
                      <a:pt x="250" y="86"/>
                    </a:lnTo>
                    <a:lnTo>
                      <a:pt x="228" y="82"/>
                    </a:lnTo>
                    <a:lnTo>
                      <a:pt x="228" y="62"/>
                    </a:lnTo>
                    <a:lnTo>
                      <a:pt x="214" y="46"/>
                    </a:lnTo>
                    <a:lnTo>
                      <a:pt x="208" y="10"/>
                    </a:lnTo>
                    <a:lnTo>
                      <a:pt x="186" y="0"/>
                    </a:lnTo>
                    <a:lnTo>
                      <a:pt x="180" y="22"/>
                    </a:lnTo>
                    <a:lnTo>
                      <a:pt x="164" y="50"/>
                    </a:lnTo>
                    <a:lnTo>
                      <a:pt x="148" y="68"/>
                    </a:lnTo>
                    <a:lnTo>
                      <a:pt x="128" y="86"/>
                    </a:lnTo>
                    <a:lnTo>
                      <a:pt x="88" y="92"/>
                    </a:lnTo>
                    <a:lnTo>
                      <a:pt x="76" y="100"/>
                    </a:lnTo>
                    <a:lnTo>
                      <a:pt x="82" y="116"/>
                    </a:lnTo>
                    <a:lnTo>
                      <a:pt x="78" y="148"/>
                    </a:lnTo>
                    <a:lnTo>
                      <a:pt x="56" y="162"/>
                    </a:lnTo>
                    <a:lnTo>
                      <a:pt x="52" y="200"/>
                    </a:lnTo>
                    <a:lnTo>
                      <a:pt x="32" y="220"/>
                    </a:lnTo>
                    <a:lnTo>
                      <a:pt x="22" y="240"/>
                    </a:lnTo>
                    <a:lnTo>
                      <a:pt x="30" y="252"/>
                    </a:lnTo>
                    <a:lnTo>
                      <a:pt x="34" y="264"/>
                    </a:lnTo>
                    <a:lnTo>
                      <a:pt x="18" y="286"/>
                    </a:lnTo>
                    <a:lnTo>
                      <a:pt x="6" y="304"/>
                    </a:lnTo>
                    <a:lnTo>
                      <a:pt x="0" y="332"/>
                    </a:lnTo>
                    <a:lnTo>
                      <a:pt x="4" y="354"/>
                    </a:lnTo>
                    <a:lnTo>
                      <a:pt x="14" y="346"/>
                    </a:lnTo>
                    <a:lnTo>
                      <a:pt x="32" y="354"/>
                    </a:lnTo>
                    <a:lnTo>
                      <a:pt x="62" y="364"/>
                    </a:lnTo>
                    <a:lnTo>
                      <a:pt x="70" y="366"/>
                    </a:lnTo>
                    <a:lnTo>
                      <a:pt x="86" y="390"/>
                    </a:lnTo>
                    <a:lnTo>
                      <a:pt x="100" y="412"/>
                    </a:lnTo>
                    <a:lnTo>
                      <a:pt x="108" y="426"/>
                    </a:lnTo>
                    <a:lnTo>
                      <a:pt x="104" y="438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71" name="Freeform 27"/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6251575" y="4986338"/>
                <a:ext cx="231775" cy="517525"/>
              </a:xfrm>
              <a:custGeom>
                <a:avLst/>
                <a:gdLst>
                  <a:gd name="T0" fmla="*/ 2147483647 w 143"/>
                  <a:gd name="T1" fmla="*/ 2147483647 h 329"/>
                  <a:gd name="T2" fmla="*/ 2147483647 w 143"/>
                  <a:gd name="T3" fmla="*/ 2147483647 h 329"/>
                  <a:gd name="T4" fmla="*/ 2147483647 w 143"/>
                  <a:gd name="T5" fmla="*/ 2147483647 h 329"/>
                  <a:gd name="T6" fmla="*/ 2147483647 w 143"/>
                  <a:gd name="T7" fmla="*/ 2147483647 h 329"/>
                  <a:gd name="T8" fmla="*/ 2147483647 w 143"/>
                  <a:gd name="T9" fmla="*/ 2147483647 h 329"/>
                  <a:gd name="T10" fmla="*/ 2147483647 w 143"/>
                  <a:gd name="T11" fmla="*/ 2147483647 h 329"/>
                  <a:gd name="T12" fmla="*/ 2147483647 w 143"/>
                  <a:gd name="T13" fmla="*/ 2147483647 h 329"/>
                  <a:gd name="T14" fmla="*/ 2147483647 w 143"/>
                  <a:gd name="T15" fmla="*/ 2147483647 h 329"/>
                  <a:gd name="T16" fmla="*/ 2147483647 w 143"/>
                  <a:gd name="T17" fmla="*/ 2147483647 h 329"/>
                  <a:gd name="T18" fmla="*/ 2147483647 w 143"/>
                  <a:gd name="T19" fmla="*/ 2147483647 h 329"/>
                  <a:gd name="T20" fmla="*/ 2147483647 w 143"/>
                  <a:gd name="T21" fmla="*/ 2147483647 h 329"/>
                  <a:gd name="T22" fmla="*/ 2147483647 w 143"/>
                  <a:gd name="T23" fmla="*/ 0 h 329"/>
                  <a:gd name="T24" fmla="*/ 2147483647 w 143"/>
                  <a:gd name="T25" fmla="*/ 2147483647 h 329"/>
                  <a:gd name="T26" fmla="*/ 2147483647 w 143"/>
                  <a:gd name="T27" fmla="*/ 2147483647 h 329"/>
                  <a:gd name="T28" fmla="*/ 2147483647 w 143"/>
                  <a:gd name="T29" fmla="*/ 2147483647 h 329"/>
                  <a:gd name="T30" fmla="*/ 2147483647 w 143"/>
                  <a:gd name="T31" fmla="*/ 2147483647 h 329"/>
                  <a:gd name="T32" fmla="*/ 2147483647 w 143"/>
                  <a:gd name="T33" fmla="*/ 2147483647 h 329"/>
                  <a:gd name="T34" fmla="*/ 2147483647 w 143"/>
                  <a:gd name="T35" fmla="*/ 2147483647 h 329"/>
                  <a:gd name="T36" fmla="*/ 2147483647 w 143"/>
                  <a:gd name="T37" fmla="*/ 2147483647 h 329"/>
                  <a:gd name="T38" fmla="*/ 0 w 143"/>
                  <a:gd name="T39" fmla="*/ 2147483647 h 329"/>
                  <a:gd name="T40" fmla="*/ 2147483647 w 143"/>
                  <a:gd name="T41" fmla="*/ 2147483647 h 329"/>
                  <a:gd name="T42" fmla="*/ 2147483647 w 143"/>
                  <a:gd name="T43" fmla="*/ 2147483647 h 329"/>
                  <a:gd name="T44" fmla="*/ 2147483647 w 143"/>
                  <a:gd name="T45" fmla="*/ 2147483647 h 329"/>
                  <a:gd name="T46" fmla="*/ 2147483647 w 143"/>
                  <a:gd name="T47" fmla="*/ 2147483647 h 329"/>
                  <a:gd name="T48" fmla="*/ 2147483647 w 143"/>
                  <a:gd name="T49" fmla="*/ 2147483647 h 329"/>
                  <a:gd name="T50" fmla="*/ 2147483647 w 143"/>
                  <a:gd name="T51" fmla="*/ 2147483647 h 329"/>
                  <a:gd name="T52" fmla="*/ 2147483647 w 143"/>
                  <a:gd name="T53" fmla="*/ 2147483647 h 329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43"/>
                  <a:gd name="T82" fmla="*/ 0 h 329"/>
                  <a:gd name="T83" fmla="*/ 143 w 143"/>
                  <a:gd name="T84" fmla="*/ 329 h 329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43" h="329">
                    <a:moveTo>
                      <a:pt x="82" y="288"/>
                    </a:moveTo>
                    <a:lnTo>
                      <a:pt x="84" y="270"/>
                    </a:lnTo>
                    <a:lnTo>
                      <a:pt x="76" y="242"/>
                    </a:lnTo>
                    <a:lnTo>
                      <a:pt x="108" y="208"/>
                    </a:lnTo>
                    <a:lnTo>
                      <a:pt x="118" y="178"/>
                    </a:lnTo>
                    <a:lnTo>
                      <a:pt x="112" y="150"/>
                    </a:lnTo>
                    <a:lnTo>
                      <a:pt x="110" y="126"/>
                    </a:lnTo>
                    <a:lnTo>
                      <a:pt x="116" y="98"/>
                    </a:lnTo>
                    <a:lnTo>
                      <a:pt x="132" y="78"/>
                    </a:lnTo>
                    <a:lnTo>
                      <a:pt x="142" y="54"/>
                    </a:lnTo>
                    <a:lnTo>
                      <a:pt x="134" y="14"/>
                    </a:lnTo>
                    <a:lnTo>
                      <a:pt x="110" y="0"/>
                    </a:lnTo>
                    <a:lnTo>
                      <a:pt x="94" y="8"/>
                    </a:lnTo>
                    <a:lnTo>
                      <a:pt x="76" y="18"/>
                    </a:lnTo>
                    <a:lnTo>
                      <a:pt x="54" y="52"/>
                    </a:lnTo>
                    <a:lnTo>
                      <a:pt x="44" y="82"/>
                    </a:lnTo>
                    <a:lnTo>
                      <a:pt x="26" y="118"/>
                    </a:lnTo>
                    <a:lnTo>
                      <a:pt x="16" y="142"/>
                    </a:lnTo>
                    <a:lnTo>
                      <a:pt x="2" y="162"/>
                    </a:lnTo>
                    <a:lnTo>
                      <a:pt x="0" y="196"/>
                    </a:lnTo>
                    <a:lnTo>
                      <a:pt x="8" y="242"/>
                    </a:lnTo>
                    <a:lnTo>
                      <a:pt x="30" y="250"/>
                    </a:lnTo>
                    <a:lnTo>
                      <a:pt x="44" y="274"/>
                    </a:lnTo>
                    <a:lnTo>
                      <a:pt x="52" y="302"/>
                    </a:lnTo>
                    <a:lnTo>
                      <a:pt x="58" y="322"/>
                    </a:lnTo>
                    <a:lnTo>
                      <a:pt x="86" y="328"/>
                    </a:lnTo>
                    <a:lnTo>
                      <a:pt x="82" y="288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72" name="Freeform 28"/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5353050" y="4381500"/>
                <a:ext cx="622300" cy="820738"/>
              </a:xfrm>
              <a:custGeom>
                <a:avLst/>
                <a:gdLst>
                  <a:gd name="T0" fmla="*/ 2147483647 w 379"/>
                  <a:gd name="T1" fmla="*/ 2147483647 h 521"/>
                  <a:gd name="T2" fmla="*/ 2147483647 w 379"/>
                  <a:gd name="T3" fmla="*/ 2147483647 h 521"/>
                  <a:gd name="T4" fmla="*/ 2147483647 w 379"/>
                  <a:gd name="T5" fmla="*/ 2147483647 h 521"/>
                  <a:gd name="T6" fmla="*/ 2147483647 w 379"/>
                  <a:gd name="T7" fmla="*/ 2147483647 h 521"/>
                  <a:gd name="T8" fmla="*/ 2147483647 w 379"/>
                  <a:gd name="T9" fmla="*/ 2147483647 h 521"/>
                  <a:gd name="T10" fmla="*/ 2147483647 w 379"/>
                  <a:gd name="T11" fmla="*/ 2147483647 h 521"/>
                  <a:gd name="T12" fmla="*/ 2147483647 w 379"/>
                  <a:gd name="T13" fmla="*/ 2147483647 h 521"/>
                  <a:gd name="T14" fmla="*/ 2147483647 w 379"/>
                  <a:gd name="T15" fmla="*/ 2147483647 h 521"/>
                  <a:gd name="T16" fmla="*/ 2147483647 w 379"/>
                  <a:gd name="T17" fmla="*/ 2147483647 h 521"/>
                  <a:gd name="T18" fmla="*/ 2147483647 w 379"/>
                  <a:gd name="T19" fmla="*/ 2147483647 h 521"/>
                  <a:gd name="T20" fmla="*/ 2147483647 w 379"/>
                  <a:gd name="T21" fmla="*/ 2147483647 h 521"/>
                  <a:gd name="T22" fmla="*/ 2147483647 w 379"/>
                  <a:gd name="T23" fmla="*/ 2147483647 h 521"/>
                  <a:gd name="T24" fmla="*/ 2147483647 w 379"/>
                  <a:gd name="T25" fmla="*/ 2147483647 h 521"/>
                  <a:gd name="T26" fmla="*/ 2147483647 w 379"/>
                  <a:gd name="T27" fmla="*/ 2147483647 h 521"/>
                  <a:gd name="T28" fmla="*/ 2147483647 w 379"/>
                  <a:gd name="T29" fmla="*/ 2147483647 h 521"/>
                  <a:gd name="T30" fmla="*/ 2147483647 w 379"/>
                  <a:gd name="T31" fmla="*/ 2147483647 h 521"/>
                  <a:gd name="T32" fmla="*/ 2147483647 w 379"/>
                  <a:gd name="T33" fmla="*/ 2147483647 h 521"/>
                  <a:gd name="T34" fmla="*/ 2147483647 w 379"/>
                  <a:gd name="T35" fmla="*/ 2147483647 h 521"/>
                  <a:gd name="T36" fmla="*/ 2147483647 w 379"/>
                  <a:gd name="T37" fmla="*/ 2147483647 h 521"/>
                  <a:gd name="T38" fmla="*/ 2147483647 w 379"/>
                  <a:gd name="T39" fmla="*/ 2147483647 h 521"/>
                  <a:gd name="T40" fmla="*/ 2147483647 w 379"/>
                  <a:gd name="T41" fmla="*/ 2147483647 h 521"/>
                  <a:gd name="T42" fmla="*/ 2147483647 w 379"/>
                  <a:gd name="T43" fmla="*/ 2147483647 h 521"/>
                  <a:gd name="T44" fmla="*/ 2147483647 w 379"/>
                  <a:gd name="T45" fmla="*/ 2147483647 h 521"/>
                  <a:gd name="T46" fmla="*/ 2147483647 w 379"/>
                  <a:gd name="T47" fmla="*/ 2147483647 h 521"/>
                  <a:gd name="T48" fmla="*/ 2147483647 w 379"/>
                  <a:gd name="T49" fmla="*/ 2147483647 h 521"/>
                  <a:gd name="T50" fmla="*/ 2147483647 w 379"/>
                  <a:gd name="T51" fmla="*/ 2147483647 h 521"/>
                  <a:gd name="T52" fmla="*/ 2147483647 w 379"/>
                  <a:gd name="T53" fmla="*/ 2147483647 h 521"/>
                  <a:gd name="T54" fmla="*/ 2147483647 w 379"/>
                  <a:gd name="T55" fmla="*/ 2147483647 h 521"/>
                  <a:gd name="T56" fmla="*/ 2147483647 w 379"/>
                  <a:gd name="T57" fmla="*/ 2147483647 h 521"/>
                  <a:gd name="T58" fmla="*/ 2147483647 w 379"/>
                  <a:gd name="T59" fmla="*/ 2147483647 h 521"/>
                  <a:gd name="T60" fmla="*/ 2147483647 w 379"/>
                  <a:gd name="T61" fmla="*/ 2147483647 h 521"/>
                  <a:gd name="T62" fmla="*/ 2147483647 w 379"/>
                  <a:gd name="T63" fmla="*/ 2147483647 h 521"/>
                  <a:gd name="T64" fmla="*/ 2147483647 w 379"/>
                  <a:gd name="T65" fmla="*/ 2147483647 h 521"/>
                  <a:gd name="T66" fmla="*/ 2147483647 w 379"/>
                  <a:gd name="T67" fmla="*/ 2147483647 h 521"/>
                  <a:gd name="T68" fmla="*/ 2147483647 w 379"/>
                  <a:gd name="T69" fmla="*/ 2147483647 h 521"/>
                  <a:gd name="T70" fmla="*/ 2147483647 w 379"/>
                  <a:gd name="T71" fmla="*/ 2147483647 h 521"/>
                  <a:gd name="T72" fmla="*/ 2147483647 w 379"/>
                  <a:gd name="T73" fmla="*/ 2147483647 h 521"/>
                  <a:gd name="T74" fmla="*/ 2147483647 w 379"/>
                  <a:gd name="T75" fmla="*/ 2147483647 h 521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79"/>
                  <a:gd name="T115" fmla="*/ 0 h 521"/>
                  <a:gd name="T116" fmla="*/ 379 w 379"/>
                  <a:gd name="T117" fmla="*/ 521 h 521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79" h="521">
                    <a:moveTo>
                      <a:pt x="34" y="456"/>
                    </a:moveTo>
                    <a:lnTo>
                      <a:pt x="30" y="418"/>
                    </a:lnTo>
                    <a:lnTo>
                      <a:pt x="40" y="400"/>
                    </a:lnTo>
                    <a:lnTo>
                      <a:pt x="48" y="380"/>
                    </a:lnTo>
                    <a:lnTo>
                      <a:pt x="38" y="358"/>
                    </a:lnTo>
                    <a:lnTo>
                      <a:pt x="26" y="336"/>
                    </a:lnTo>
                    <a:lnTo>
                      <a:pt x="28" y="308"/>
                    </a:lnTo>
                    <a:lnTo>
                      <a:pt x="12" y="288"/>
                    </a:lnTo>
                    <a:lnTo>
                      <a:pt x="6" y="236"/>
                    </a:lnTo>
                    <a:lnTo>
                      <a:pt x="22" y="208"/>
                    </a:lnTo>
                    <a:lnTo>
                      <a:pt x="32" y="198"/>
                    </a:lnTo>
                    <a:lnTo>
                      <a:pt x="30" y="158"/>
                    </a:lnTo>
                    <a:lnTo>
                      <a:pt x="22" y="146"/>
                    </a:lnTo>
                    <a:lnTo>
                      <a:pt x="8" y="112"/>
                    </a:lnTo>
                    <a:lnTo>
                      <a:pt x="0" y="90"/>
                    </a:lnTo>
                    <a:lnTo>
                      <a:pt x="14" y="90"/>
                    </a:lnTo>
                    <a:lnTo>
                      <a:pt x="26" y="74"/>
                    </a:lnTo>
                    <a:lnTo>
                      <a:pt x="44" y="66"/>
                    </a:lnTo>
                    <a:lnTo>
                      <a:pt x="64" y="66"/>
                    </a:lnTo>
                    <a:lnTo>
                      <a:pt x="76" y="70"/>
                    </a:lnTo>
                    <a:lnTo>
                      <a:pt x="84" y="58"/>
                    </a:lnTo>
                    <a:lnTo>
                      <a:pt x="88" y="42"/>
                    </a:lnTo>
                    <a:lnTo>
                      <a:pt x="106" y="46"/>
                    </a:lnTo>
                    <a:lnTo>
                      <a:pt x="120" y="34"/>
                    </a:lnTo>
                    <a:lnTo>
                      <a:pt x="152" y="28"/>
                    </a:lnTo>
                    <a:lnTo>
                      <a:pt x="172" y="26"/>
                    </a:lnTo>
                    <a:lnTo>
                      <a:pt x="178" y="14"/>
                    </a:lnTo>
                    <a:lnTo>
                      <a:pt x="186" y="16"/>
                    </a:lnTo>
                    <a:lnTo>
                      <a:pt x="220" y="12"/>
                    </a:lnTo>
                    <a:lnTo>
                      <a:pt x="220" y="14"/>
                    </a:lnTo>
                    <a:lnTo>
                      <a:pt x="224" y="14"/>
                    </a:lnTo>
                    <a:lnTo>
                      <a:pt x="234" y="32"/>
                    </a:lnTo>
                    <a:lnTo>
                      <a:pt x="248" y="26"/>
                    </a:lnTo>
                    <a:lnTo>
                      <a:pt x="248" y="10"/>
                    </a:lnTo>
                    <a:lnTo>
                      <a:pt x="266" y="0"/>
                    </a:lnTo>
                    <a:lnTo>
                      <a:pt x="280" y="16"/>
                    </a:lnTo>
                    <a:lnTo>
                      <a:pt x="308" y="34"/>
                    </a:lnTo>
                    <a:lnTo>
                      <a:pt x="334" y="44"/>
                    </a:lnTo>
                    <a:lnTo>
                      <a:pt x="348" y="52"/>
                    </a:lnTo>
                    <a:lnTo>
                      <a:pt x="350" y="90"/>
                    </a:lnTo>
                    <a:lnTo>
                      <a:pt x="354" y="104"/>
                    </a:lnTo>
                    <a:lnTo>
                      <a:pt x="378" y="122"/>
                    </a:lnTo>
                    <a:lnTo>
                      <a:pt x="374" y="144"/>
                    </a:lnTo>
                    <a:lnTo>
                      <a:pt x="352" y="184"/>
                    </a:lnTo>
                    <a:lnTo>
                      <a:pt x="326" y="212"/>
                    </a:lnTo>
                    <a:lnTo>
                      <a:pt x="300" y="218"/>
                    </a:lnTo>
                    <a:lnTo>
                      <a:pt x="282" y="220"/>
                    </a:lnTo>
                    <a:lnTo>
                      <a:pt x="272" y="228"/>
                    </a:lnTo>
                    <a:lnTo>
                      <a:pt x="276" y="242"/>
                    </a:lnTo>
                    <a:lnTo>
                      <a:pt x="270" y="276"/>
                    </a:lnTo>
                    <a:lnTo>
                      <a:pt x="248" y="288"/>
                    </a:lnTo>
                    <a:lnTo>
                      <a:pt x="244" y="324"/>
                    </a:lnTo>
                    <a:lnTo>
                      <a:pt x="244" y="330"/>
                    </a:lnTo>
                    <a:lnTo>
                      <a:pt x="224" y="352"/>
                    </a:lnTo>
                    <a:lnTo>
                      <a:pt x="218" y="366"/>
                    </a:lnTo>
                    <a:lnTo>
                      <a:pt x="228" y="390"/>
                    </a:lnTo>
                    <a:lnTo>
                      <a:pt x="218" y="404"/>
                    </a:lnTo>
                    <a:lnTo>
                      <a:pt x="200" y="426"/>
                    </a:lnTo>
                    <a:lnTo>
                      <a:pt x="194" y="458"/>
                    </a:lnTo>
                    <a:lnTo>
                      <a:pt x="194" y="480"/>
                    </a:lnTo>
                    <a:lnTo>
                      <a:pt x="170" y="502"/>
                    </a:lnTo>
                    <a:lnTo>
                      <a:pt x="160" y="504"/>
                    </a:lnTo>
                    <a:lnTo>
                      <a:pt x="142" y="488"/>
                    </a:lnTo>
                    <a:lnTo>
                      <a:pt x="134" y="488"/>
                    </a:lnTo>
                    <a:lnTo>
                      <a:pt x="124" y="490"/>
                    </a:lnTo>
                    <a:lnTo>
                      <a:pt x="110" y="510"/>
                    </a:lnTo>
                    <a:lnTo>
                      <a:pt x="90" y="520"/>
                    </a:lnTo>
                    <a:lnTo>
                      <a:pt x="78" y="516"/>
                    </a:lnTo>
                    <a:lnTo>
                      <a:pt x="70" y="496"/>
                    </a:lnTo>
                    <a:lnTo>
                      <a:pt x="74" y="474"/>
                    </a:lnTo>
                    <a:lnTo>
                      <a:pt x="86" y="450"/>
                    </a:lnTo>
                    <a:lnTo>
                      <a:pt x="94" y="434"/>
                    </a:lnTo>
                    <a:lnTo>
                      <a:pt x="86" y="430"/>
                    </a:lnTo>
                    <a:lnTo>
                      <a:pt x="74" y="438"/>
                    </a:lnTo>
                    <a:lnTo>
                      <a:pt x="56" y="444"/>
                    </a:lnTo>
                    <a:lnTo>
                      <a:pt x="34" y="45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73" name="Freeform 29"/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724400" y="4422775"/>
                <a:ext cx="715963" cy="781050"/>
              </a:xfrm>
              <a:custGeom>
                <a:avLst/>
                <a:gdLst>
                  <a:gd name="T0" fmla="*/ 2147483647 w 437"/>
                  <a:gd name="T1" fmla="*/ 2147483647 h 497"/>
                  <a:gd name="T2" fmla="*/ 2147483647 w 437"/>
                  <a:gd name="T3" fmla="*/ 2147483647 h 497"/>
                  <a:gd name="T4" fmla="*/ 2147483647 w 437"/>
                  <a:gd name="T5" fmla="*/ 2147483647 h 497"/>
                  <a:gd name="T6" fmla="*/ 0 w 437"/>
                  <a:gd name="T7" fmla="*/ 2147483647 h 497"/>
                  <a:gd name="T8" fmla="*/ 2147483647 w 437"/>
                  <a:gd name="T9" fmla="*/ 2147483647 h 497"/>
                  <a:gd name="T10" fmla="*/ 2147483647 w 437"/>
                  <a:gd name="T11" fmla="*/ 2147483647 h 497"/>
                  <a:gd name="T12" fmla="*/ 2147483647 w 437"/>
                  <a:gd name="T13" fmla="*/ 2147483647 h 497"/>
                  <a:gd name="T14" fmla="*/ 2147483647 w 437"/>
                  <a:gd name="T15" fmla="*/ 2147483647 h 497"/>
                  <a:gd name="T16" fmla="*/ 2147483647 w 437"/>
                  <a:gd name="T17" fmla="*/ 2147483647 h 497"/>
                  <a:gd name="T18" fmla="*/ 2147483647 w 437"/>
                  <a:gd name="T19" fmla="*/ 2147483647 h 497"/>
                  <a:gd name="T20" fmla="*/ 2147483647 w 437"/>
                  <a:gd name="T21" fmla="*/ 2147483647 h 497"/>
                  <a:gd name="T22" fmla="*/ 2147483647 w 437"/>
                  <a:gd name="T23" fmla="*/ 0 h 497"/>
                  <a:gd name="T24" fmla="*/ 2147483647 w 437"/>
                  <a:gd name="T25" fmla="*/ 2147483647 h 497"/>
                  <a:gd name="T26" fmla="*/ 2147483647 w 437"/>
                  <a:gd name="T27" fmla="*/ 2147483647 h 497"/>
                  <a:gd name="T28" fmla="*/ 2147483647 w 437"/>
                  <a:gd name="T29" fmla="*/ 2147483647 h 497"/>
                  <a:gd name="T30" fmla="*/ 2147483647 w 437"/>
                  <a:gd name="T31" fmla="*/ 2147483647 h 497"/>
                  <a:gd name="T32" fmla="*/ 2147483647 w 437"/>
                  <a:gd name="T33" fmla="*/ 2147483647 h 497"/>
                  <a:gd name="T34" fmla="*/ 2147483647 w 437"/>
                  <a:gd name="T35" fmla="*/ 2147483647 h 497"/>
                  <a:gd name="T36" fmla="*/ 2147483647 w 437"/>
                  <a:gd name="T37" fmla="*/ 2147483647 h 497"/>
                  <a:gd name="T38" fmla="*/ 2147483647 w 437"/>
                  <a:gd name="T39" fmla="*/ 2147483647 h 497"/>
                  <a:gd name="T40" fmla="*/ 2147483647 w 437"/>
                  <a:gd name="T41" fmla="*/ 2147483647 h 497"/>
                  <a:gd name="T42" fmla="*/ 2147483647 w 437"/>
                  <a:gd name="T43" fmla="*/ 2147483647 h 497"/>
                  <a:gd name="T44" fmla="*/ 2147483647 w 437"/>
                  <a:gd name="T45" fmla="*/ 2147483647 h 497"/>
                  <a:gd name="T46" fmla="*/ 2147483647 w 437"/>
                  <a:gd name="T47" fmla="*/ 2147483647 h 497"/>
                  <a:gd name="T48" fmla="*/ 2147483647 w 437"/>
                  <a:gd name="T49" fmla="*/ 2147483647 h 497"/>
                  <a:gd name="T50" fmla="*/ 2147483647 w 437"/>
                  <a:gd name="T51" fmla="*/ 2147483647 h 497"/>
                  <a:gd name="T52" fmla="*/ 2147483647 w 437"/>
                  <a:gd name="T53" fmla="*/ 2147483647 h 497"/>
                  <a:gd name="T54" fmla="*/ 2147483647 w 437"/>
                  <a:gd name="T55" fmla="*/ 2147483647 h 497"/>
                  <a:gd name="T56" fmla="*/ 2147483647 w 437"/>
                  <a:gd name="T57" fmla="*/ 2147483647 h 497"/>
                  <a:gd name="T58" fmla="*/ 2147483647 w 437"/>
                  <a:gd name="T59" fmla="*/ 2147483647 h 497"/>
                  <a:gd name="T60" fmla="*/ 2147483647 w 437"/>
                  <a:gd name="T61" fmla="*/ 2147483647 h 497"/>
                  <a:gd name="T62" fmla="*/ 2147483647 w 437"/>
                  <a:gd name="T63" fmla="*/ 2147483647 h 497"/>
                  <a:gd name="T64" fmla="*/ 2147483647 w 437"/>
                  <a:gd name="T65" fmla="*/ 2147483647 h 497"/>
                  <a:gd name="T66" fmla="*/ 2147483647 w 437"/>
                  <a:gd name="T67" fmla="*/ 2147483647 h 497"/>
                  <a:gd name="T68" fmla="*/ 2147483647 w 437"/>
                  <a:gd name="T69" fmla="*/ 2147483647 h 497"/>
                  <a:gd name="T70" fmla="*/ 2147483647 w 437"/>
                  <a:gd name="T71" fmla="*/ 2147483647 h 497"/>
                  <a:gd name="T72" fmla="*/ 2147483647 w 437"/>
                  <a:gd name="T73" fmla="*/ 2147483647 h 497"/>
                  <a:gd name="T74" fmla="*/ 2147483647 w 437"/>
                  <a:gd name="T75" fmla="*/ 2147483647 h 497"/>
                  <a:gd name="T76" fmla="*/ 2147483647 w 437"/>
                  <a:gd name="T77" fmla="*/ 2147483647 h 497"/>
                  <a:gd name="T78" fmla="*/ 2147483647 w 437"/>
                  <a:gd name="T79" fmla="*/ 2147483647 h 497"/>
                  <a:gd name="T80" fmla="*/ 2147483647 w 437"/>
                  <a:gd name="T81" fmla="*/ 2147483647 h 497"/>
                  <a:gd name="T82" fmla="*/ 2147483647 w 437"/>
                  <a:gd name="T83" fmla="*/ 2147483647 h 497"/>
                  <a:gd name="T84" fmla="*/ 2147483647 w 437"/>
                  <a:gd name="T85" fmla="*/ 2147483647 h 49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437"/>
                  <a:gd name="T130" fmla="*/ 0 h 497"/>
                  <a:gd name="T131" fmla="*/ 437 w 437"/>
                  <a:gd name="T132" fmla="*/ 497 h 49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437" h="497">
                    <a:moveTo>
                      <a:pt x="40" y="382"/>
                    </a:moveTo>
                    <a:lnTo>
                      <a:pt x="42" y="374"/>
                    </a:lnTo>
                    <a:lnTo>
                      <a:pt x="28" y="360"/>
                    </a:lnTo>
                    <a:lnTo>
                      <a:pt x="32" y="328"/>
                    </a:lnTo>
                    <a:lnTo>
                      <a:pt x="40" y="310"/>
                    </a:lnTo>
                    <a:lnTo>
                      <a:pt x="32" y="302"/>
                    </a:lnTo>
                    <a:lnTo>
                      <a:pt x="6" y="298"/>
                    </a:lnTo>
                    <a:lnTo>
                      <a:pt x="0" y="270"/>
                    </a:lnTo>
                    <a:lnTo>
                      <a:pt x="32" y="258"/>
                    </a:lnTo>
                    <a:lnTo>
                      <a:pt x="28" y="230"/>
                    </a:lnTo>
                    <a:lnTo>
                      <a:pt x="28" y="196"/>
                    </a:lnTo>
                    <a:lnTo>
                      <a:pt x="24" y="182"/>
                    </a:lnTo>
                    <a:lnTo>
                      <a:pt x="6" y="164"/>
                    </a:lnTo>
                    <a:lnTo>
                      <a:pt x="18" y="160"/>
                    </a:lnTo>
                    <a:lnTo>
                      <a:pt x="26" y="148"/>
                    </a:lnTo>
                    <a:lnTo>
                      <a:pt x="26" y="92"/>
                    </a:lnTo>
                    <a:lnTo>
                      <a:pt x="34" y="84"/>
                    </a:lnTo>
                    <a:lnTo>
                      <a:pt x="36" y="64"/>
                    </a:lnTo>
                    <a:lnTo>
                      <a:pt x="58" y="56"/>
                    </a:lnTo>
                    <a:lnTo>
                      <a:pt x="64" y="48"/>
                    </a:lnTo>
                    <a:lnTo>
                      <a:pt x="114" y="46"/>
                    </a:lnTo>
                    <a:lnTo>
                      <a:pt x="116" y="30"/>
                    </a:lnTo>
                    <a:lnTo>
                      <a:pt x="94" y="14"/>
                    </a:lnTo>
                    <a:lnTo>
                      <a:pt x="100" y="0"/>
                    </a:lnTo>
                    <a:lnTo>
                      <a:pt x="148" y="0"/>
                    </a:lnTo>
                    <a:lnTo>
                      <a:pt x="154" y="16"/>
                    </a:lnTo>
                    <a:lnTo>
                      <a:pt x="204" y="16"/>
                    </a:lnTo>
                    <a:lnTo>
                      <a:pt x="222" y="14"/>
                    </a:lnTo>
                    <a:lnTo>
                      <a:pt x="230" y="16"/>
                    </a:lnTo>
                    <a:lnTo>
                      <a:pt x="244" y="42"/>
                    </a:lnTo>
                    <a:lnTo>
                      <a:pt x="268" y="48"/>
                    </a:lnTo>
                    <a:lnTo>
                      <a:pt x="278" y="48"/>
                    </a:lnTo>
                    <a:lnTo>
                      <a:pt x="292" y="20"/>
                    </a:lnTo>
                    <a:lnTo>
                      <a:pt x="308" y="22"/>
                    </a:lnTo>
                    <a:lnTo>
                      <a:pt x="316" y="44"/>
                    </a:lnTo>
                    <a:lnTo>
                      <a:pt x="324" y="42"/>
                    </a:lnTo>
                    <a:lnTo>
                      <a:pt x="330" y="42"/>
                    </a:lnTo>
                    <a:lnTo>
                      <a:pt x="336" y="22"/>
                    </a:lnTo>
                    <a:lnTo>
                      <a:pt x="366" y="14"/>
                    </a:lnTo>
                    <a:lnTo>
                      <a:pt x="368" y="32"/>
                    </a:lnTo>
                    <a:lnTo>
                      <a:pt x="364" y="46"/>
                    </a:lnTo>
                    <a:lnTo>
                      <a:pt x="374" y="62"/>
                    </a:lnTo>
                    <a:lnTo>
                      <a:pt x="390" y="62"/>
                    </a:lnTo>
                    <a:lnTo>
                      <a:pt x="400" y="92"/>
                    </a:lnTo>
                    <a:lnTo>
                      <a:pt x="414" y="124"/>
                    </a:lnTo>
                    <a:lnTo>
                      <a:pt x="418" y="154"/>
                    </a:lnTo>
                    <a:lnTo>
                      <a:pt x="416" y="174"/>
                    </a:lnTo>
                    <a:lnTo>
                      <a:pt x="398" y="198"/>
                    </a:lnTo>
                    <a:lnTo>
                      <a:pt x="394" y="212"/>
                    </a:lnTo>
                    <a:lnTo>
                      <a:pt x="398" y="246"/>
                    </a:lnTo>
                    <a:lnTo>
                      <a:pt x="400" y="264"/>
                    </a:lnTo>
                    <a:lnTo>
                      <a:pt x="414" y="276"/>
                    </a:lnTo>
                    <a:lnTo>
                      <a:pt x="414" y="296"/>
                    </a:lnTo>
                    <a:lnTo>
                      <a:pt x="412" y="308"/>
                    </a:lnTo>
                    <a:lnTo>
                      <a:pt x="436" y="348"/>
                    </a:lnTo>
                    <a:lnTo>
                      <a:pt x="436" y="364"/>
                    </a:lnTo>
                    <a:lnTo>
                      <a:pt x="418" y="394"/>
                    </a:lnTo>
                    <a:lnTo>
                      <a:pt x="422" y="428"/>
                    </a:lnTo>
                    <a:lnTo>
                      <a:pt x="414" y="430"/>
                    </a:lnTo>
                    <a:lnTo>
                      <a:pt x="390" y="414"/>
                    </a:lnTo>
                    <a:lnTo>
                      <a:pt x="366" y="412"/>
                    </a:lnTo>
                    <a:lnTo>
                      <a:pt x="346" y="414"/>
                    </a:lnTo>
                    <a:lnTo>
                      <a:pt x="336" y="420"/>
                    </a:lnTo>
                    <a:lnTo>
                      <a:pt x="338" y="446"/>
                    </a:lnTo>
                    <a:lnTo>
                      <a:pt x="338" y="464"/>
                    </a:lnTo>
                    <a:lnTo>
                      <a:pt x="324" y="470"/>
                    </a:lnTo>
                    <a:lnTo>
                      <a:pt x="316" y="466"/>
                    </a:lnTo>
                    <a:lnTo>
                      <a:pt x="296" y="442"/>
                    </a:lnTo>
                    <a:lnTo>
                      <a:pt x="284" y="452"/>
                    </a:lnTo>
                    <a:lnTo>
                      <a:pt x="284" y="470"/>
                    </a:lnTo>
                    <a:lnTo>
                      <a:pt x="274" y="480"/>
                    </a:lnTo>
                    <a:lnTo>
                      <a:pt x="248" y="496"/>
                    </a:lnTo>
                    <a:lnTo>
                      <a:pt x="208" y="494"/>
                    </a:lnTo>
                    <a:lnTo>
                      <a:pt x="204" y="470"/>
                    </a:lnTo>
                    <a:lnTo>
                      <a:pt x="168" y="470"/>
                    </a:lnTo>
                    <a:lnTo>
                      <a:pt x="174" y="434"/>
                    </a:lnTo>
                    <a:lnTo>
                      <a:pt x="200" y="412"/>
                    </a:lnTo>
                    <a:lnTo>
                      <a:pt x="196" y="396"/>
                    </a:lnTo>
                    <a:lnTo>
                      <a:pt x="180" y="356"/>
                    </a:lnTo>
                    <a:lnTo>
                      <a:pt x="172" y="350"/>
                    </a:lnTo>
                    <a:lnTo>
                      <a:pt x="150" y="358"/>
                    </a:lnTo>
                    <a:lnTo>
                      <a:pt x="142" y="370"/>
                    </a:lnTo>
                    <a:lnTo>
                      <a:pt x="116" y="374"/>
                    </a:lnTo>
                    <a:lnTo>
                      <a:pt x="92" y="384"/>
                    </a:lnTo>
                    <a:lnTo>
                      <a:pt x="60" y="396"/>
                    </a:lnTo>
                    <a:lnTo>
                      <a:pt x="40" y="382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74" name="Freeform 30"/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915988" y="3406775"/>
                <a:ext cx="2552700" cy="1341438"/>
              </a:xfrm>
              <a:custGeom>
                <a:avLst/>
                <a:gdLst>
                  <a:gd name="T0" fmla="*/ 2147483647 w 1557"/>
                  <a:gd name="T1" fmla="*/ 2147483647 h 853"/>
                  <a:gd name="T2" fmla="*/ 2147483647 w 1557"/>
                  <a:gd name="T3" fmla="*/ 2147483647 h 853"/>
                  <a:gd name="T4" fmla="*/ 2147483647 w 1557"/>
                  <a:gd name="T5" fmla="*/ 2147483647 h 853"/>
                  <a:gd name="T6" fmla="*/ 2147483647 w 1557"/>
                  <a:gd name="T7" fmla="*/ 2147483647 h 853"/>
                  <a:gd name="T8" fmla="*/ 2147483647 w 1557"/>
                  <a:gd name="T9" fmla="*/ 2147483647 h 853"/>
                  <a:gd name="T10" fmla="*/ 2147483647 w 1557"/>
                  <a:gd name="T11" fmla="*/ 2147483647 h 853"/>
                  <a:gd name="T12" fmla="*/ 2147483647 w 1557"/>
                  <a:gd name="T13" fmla="*/ 0 h 853"/>
                  <a:gd name="T14" fmla="*/ 2147483647 w 1557"/>
                  <a:gd name="T15" fmla="*/ 2147483647 h 853"/>
                  <a:gd name="T16" fmla="*/ 2147483647 w 1557"/>
                  <a:gd name="T17" fmla="*/ 2147483647 h 853"/>
                  <a:gd name="T18" fmla="*/ 2147483647 w 1557"/>
                  <a:gd name="T19" fmla="*/ 2147483647 h 853"/>
                  <a:gd name="T20" fmla="*/ 2147483647 w 1557"/>
                  <a:gd name="T21" fmla="*/ 2147483647 h 853"/>
                  <a:gd name="T22" fmla="*/ 0 w 1557"/>
                  <a:gd name="T23" fmla="*/ 2147483647 h 853"/>
                  <a:gd name="T24" fmla="*/ 2147483647 w 1557"/>
                  <a:gd name="T25" fmla="*/ 2147483647 h 853"/>
                  <a:gd name="T26" fmla="*/ 2147483647 w 1557"/>
                  <a:gd name="T27" fmla="*/ 2147483647 h 853"/>
                  <a:gd name="T28" fmla="*/ 2147483647 w 1557"/>
                  <a:gd name="T29" fmla="*/ 2147483647 h 853"/>
                  <a:gd name="T30" fmla="*/ 2147483647 w 1557"/>
                  <a:gd name="T31" fmla="*/ 2147483647 h 853"/>
                  <a:gd name="T32" fmla="*/ 2147483647 w 1557"/>
                  <a:gd name="T33" fmla="*/ 2147483647 h 853"/>
                  <a:gd name="T34" fmla="*/ 2147483647 w 1557"/>
                  <a:gd name="T35" fmla="*/ 2147483647 h 853"/>
                  <a:gd name="T36" fmla="*/ 2147483647 w 1557"/>
                  <a:gd name="T37" fmla="*/ 2147483647 h 853"/>
                  <a:gd name="T38" fmla="*/ 2147483647 w 1557"/>
                  <a:gd name="T39" fmla="*/ 2147483647 h 853"/>
                  <a:gd name="T40" fmla="*/ 2147483647 w 1557"/>
                  <a:gd name="T41" fmla="*/ 2147483647 h 853"/>
                  <a:gd name="T42" fmla="*/ 2147483647 w 1557"/>
                  <a:gd name="T43" fmla="*/ 2147483647 h 853"/>
                  <a:gd name="T44" fmla="*/ 2147483647 w 1557"/>
                  <a:gd name="T45" fmla="*/ 2147483647 h 853"/>
                  <a:gd name="T46" fmla="*/ 2147483647 w 1557"/>
                  <a:gd name="T47" fmla="*/ 2147483647 h 853"/>
                  <a:gd name="T48" fmla="*/ 2147483647 w 1557"/>
                  <a:gd name="T49" fmla="*/ 2147483647 h 853"/>
                  <a:gd name="T50" fmla="*/ 2147483647 w 1557"/>
                  <a:gd name="T51" fmla="*/ 2147483647 h 853"/>
                  <a:gd name="T52" fmla="*/ 2147483647 w 1557"/>
                  <a:gd name="T53" fmla="*/ 2147483647 h 853"/>
                  <a:gd name="T54" fmla="*/ 2147483647 w 1557"/>
                  <a:gd name="T55" fmla="*/ 2147483647 h 853"/>
                  <a:gd name="T56" fmla="*/ 2147483647 w 1557"/>
                  <a:gd name="T57" fmla="*/ 2147483647 h 853"/>
                  <a:gd name="T58" fmla="*/ 2147483647 w 1557"/>
                  <a:gd name="T59" fmla="*/ 2147483647 h 853"/>
                  <a:gd name="T60" fmla="*/ 2147483647 w 1557"/>
                  <a:gd name="T61" fmla="*/ 2147483647 h 853"/>
                  <a:gd name="T62" fmla="*/ 2147483647 w 1557"/>
                  <a:gd name="T63" fmla="*/ 2147483647 h 853"/>
                  <a:gd name="T64" fmla="*/ 2147483647 w 1557"/>
                  <a:gd name="T65" fmla="*/ 2147483647 h 853"/>
                  <a:gd name="T66" fmla="*/ 2147483647 w 1557"/>
                  <a:gd name="T67" fmla="*/ 2147483647 h 853"/>
                  <a:gd name="T68" fmla="*/ 2147483647 w 1557"/>
                  <a:gd name="T69" fmla="*/ 2147483647 h 853"/>
                  <a:gd name="T70" fmla="*/ 2147483647 w 1557"/>
                  <a:gd name="T71" fmla="*/ 2147483647 h 853"/>
                  <a:gd name="T72" fmla="*/ 2147483647 w 1557"/>
                  <a:gd name="T73" fmla="*/ 2147483647 h 853"/>
                  <a:gd name="T74" fmla="*/ 2147483647 w 1557"/>
                  <a:gd name="T75" fmla="*/ 2147483647 h 853"/>
                  <a:gd name="T76" fmla="*/ 2147483647 w 1557"/>
                  <a:gd name="T77" fmla="*/ 2147483647 h 853"/>
                  <a:gd name="T78" fmla="*/ 2147483647 w 1557"/>
                  <a:gd name="T79" fmla="*/ 2147483647 h 853"/>
                  <a:gd name="T80" fmla="*/ 2147483647 w 1557"/>
                  <a:gd name="T81" fmla="*/ 2147483647 h 853"/>
                  <a:gd name="T82" fmla="*/ 2147483647 w 1557"/>
                  <a:gd name="T83" fmla="*/ 2147483647 h 853"/>
                  <a:gd name="T84" fmla="*/ 2147483647 w 1557"/>
                  <a:gd name="T85" fmla="*/ 2147483647 h 853"/>
                  <a:gd name="T86" fmla="*/ 2147483647 w 1557"/>
                  <a:gd name="T87" fmla="*/ 2147483647 h 853"/>
                  <a:gd name="T88" fmla="*/ 2147483647 w 1557"/>
                  <a:gd name="T89" fmla="*/ 2147483647 h 853"/>
                  <a:gd name="T90" fmla="*/ 2147483647 w 1557"/>
                  <a:gd name="T91" fmla="*/ 2147483647 h 853"/>
                  <a:gd name="T92" fmla="*/ 2147483647 w 1557"/>
                  <a:gd name="T93" fmla="*/ 2147483647 h 853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557"/>
                  <a:gd name="T142" fmla="*/ 0 h 853"/>
                  <a:gd name="T143" fmla="*/ 1557 w 1557"/>
                  <a:gd name="T144" fmla="*/ 853 h 853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557" h="853">
                    <a:moveTo>
                      <a:pt x="881" y="72"/>
                    </a:moveTo>
                    <a:lnTo>
                      <a:pt x="888" y="88"/>
                    </a:lnTo>
                    <a:lnTo>
                      <a:pt x="845" y="36"/>
                    </a:lnTo>
                    <a:lnTo>
                      <a:pt x="814" y="20"/>
                    </a:lnTo>
                    <a:lnTo>
                      <a:pt x="754" y="0"/>
                    </a:lnTo>
                    <a:lnTo>
                      <a:pt x="686" y="12"/>
                    </a:lnTo>
                    <a:lnTo>
                      <a:pt x="666" y="8"/>
                    </a:lnTo>
                    <a:lnTo>
                      <a:pt x="638" y="12"/>
                    </a:lnTo>
                    <a:lnTo>
                      <a:pt x="602" y="40"/>
                    </a:lnTo>
                    <a:lnTo>
                      <a:pt x="574" y="44"/>
                    </a:lnTo>
                    <a:lnTo>
                      <a:pt x="534" y="40"/>
                    </a:lnTo>
                    <a:lnTo>
                      <a:pt x="491" y="48"/>
                    </a:lnTo>
                    <a:lnTo>
                      <a:pt x="479" y="68"/>
                    </a:lnTo>
                    <a:lnTo>
                      <a:pt x="443" y="52"/>
                    </a:lnTo>
                    <a:lnTo>
                      <a:pt x="411" y="28"/>
                    </a:lnTo>
                    <a:lnTo>
                      <a:pt x="371" y="0"/>
                    </a:lnTo>
                    <a:lnTo>
                      <a:pt x="343" y="8"/>
                    </a:lnTo>
                    <a:lnTo>
                      <a:pt x="323" y="24"/>
                    </a:lnTo>
                    <a:lnTo>
                      <a:pt x="291" y="24"/>
                    </a:lnTo>
                    <a:lnTo>
                      <a:pt x="263" y="8"/>
                    </a:lnTo>
                    <a:lnTo>
                      <a:pt x="239" y="0"/>
                    </a:lnTo>
                    <a:lnTo>
                      <a:pt x="219" y="4"/>
                    </a:lnTo>
                    <a:lnTo>
                      <a:pt x="187" y="16"/>
                    </a:lnTo>
                    <a:lnTo>
                      <a:pt x="160" y="28"/>
                    </a:lnTo>
                    <a:lnTo>
                      <a:pt x="160" y="64"/>
                    </a:lnTo>
                    <a:lnTo>
                      <a:pt x="132" y="68"/>
                    </a:lnTo>
                    <a:lnTo>
                      <a:pt x="84" y="64"/>
                    </a:lnTo>
                    <a:lnTo>
                      <a:pt x="84" y="92"/>
                    </a:lnTo>
                    <a:lnTo>
                      <a:pt x="52" y="88"/>
                    </a:lnTo>
                    <a:lnTo>
                      <a:pt x="40" y="119"/>
                    </a:lnTo>
                    <a:lnTo>
                      <a:pt x="56" y="135"/>
                    </a:lnTo>
                    <a:lnTo>
                      <a:pt x="68" y="175"/>
                    </a:lnTo>
                    <a:lnTo>
                      <a:pt x="76" y="203"/>
                    </a:lnTo>
                    <a:lnTo>
                      <a:pt x="60" y="223"/>
                    </a:lnTo>
                    <a:lnTo>
                      <a:pt x="4" y="211"/>
                    </a:lnTo>
                    <a:lnTo>
                      <a:pt x="0" y="235"/>
                    </a:lnTo>
                    <a:lnTo>
                      <a:pt x="20" y="271"/>
                    </a:lnTo>
                    <a:lnTo>
                      <a:pt x="12" y="322"/>
                    </a:lnTo>
                    <a:lnTo>
                      <a:pt x="28" y="346"/>
                    </a:lnTo>
                    <a:lnTo>
                      <a:pt x="68" y="370"/>
                    </a:lnTo>
                    <a:lnTo>
                      <a:pt x="92" y="418"/>
                    </a:lnTo>
                    <a:lnTo>
                      <a:pt x="124" y="434"/>
                    </a:lnTo>
                    <a:lnTo>
                      <a:pt x="164" y="470"/>
                    </a:lnTo>
                    <a:lnTo>
                      <a:pt x="183" y="470"/>
                    </a:lnTo>
                    <a:lnTo>
                      <a:pt x="199" y="458"/>
                    </a:lnTo>
                    <a:lnTo>
                      <a:pt x="235" y="478"/>
                    </a:lnTo>
                    <a:lnTo>
                      <a:pt x="263" y="498"/>
                    </a:lnTo>
                    <a:lnTo>
                      <a:pt x="275" y="533"/>
                    </a:lnTo>
                    <a:lnTo>
                      <a:pt x="291" y="549"/>
                    </a:lnTo>
                    <a:lnTo>
                      <a:pt x="303" y="573"/>
                    </a:lnTo>
                    <a:lnTo>
                      <a:pt x="339" y="577"/>
                    </a:lnTo>
                    <a:lnTo>
                      <a:pt x="359" y="585"/>
                    </a:lnTo>
                    <a:lnTo>
                      <a:pt x="375" y="629"/>
                    </a:lnTo>
                    <a:lnTo>
                      <a:pt x="403" y="645"/>
                    </a:lnTo>
                    <a:lnTo>
                      <a:pt x="443" y="653"/>
                    </a:lnTo>
                    <a:lnTo>
                      <a:pt x="451" y="689"/>
                    </a:lnTo>
                    <a:lnTo>
                      <a:pt x="475" y="701"/>
                    </a:lnTo>
                    <a:lnTo>
                      <a:pt x="495" y="713"/>
                    </a:lnTo>
                    <a:lnTo>
                      <a:pt x="491" y="728"/>
                    </a:lnTo>
                    <a:lnTo>
                      <a:pt x="550" y="728"/>
                    </a:lnTo>
                    <a:lnTo>
                      <a:pt x="570" y="732"/>
                    </a:lnTo>
                    <a:lnTo>
                      <a:pt x="586" y="744"/>
                    </a:lnTo>
                    <a:lnTo>
                      <a:pt x="610" y="760"/>
                    </a:lnTo>
                    <a:lnTo>
                      <a:pt x="630" y="756"/>
                    </a:lnTo>
                    <a:lnTo>
                      <a:pt x="654" y="740"/>
                    </a:lnTo>
                    <a:lnTo>
                      <a:pt x="674" y="760"/>
                    </a:lnTo>
                    <a:lnTo>
                      <a:pt x="710" y="752"/>
                    </a:lnTo>
                    <a:lnTo>
                      <a:pt x="726" y="792"/>
                    </a:lnTo>
                    <a:lnTo>
                      <a:pt x="738" y="824"/>
                    </a:lnTo>
                    <a:lnTo>
                      <a:pt x="766" y="804"/>
                    </a:lnTo>
                    <a:lnTo>
                      <a:pt x="778" y="776"/>
                    </a:lnTo>
                    <a:lnTo>
                      <a:pt x="806" y="772"/>
                    </a:lnTo>
                    <a:lnTo>
                      <a:pt x="810" y="756"/>
                    </a:lnTo>
                    <a:lnTo>
                      <a:pt x="830" y="760"/>
                    </a:lnTo>
                    <a:lnTo>
                      <a:pt x="853" y="780"/>
                    </a:lnTo>
                    <a:lnTo>
                      <a:pt x="893" y="796"/>
                    </a:lnTo>
                    <a:lnTo>
                      <a:pt x="945" y="800"/>
                    </a:lnTo>
                    <a:lnTo>
                      <a:pt x="1021" y="812"/>
                    </a:lnTo>
                    <a:lnTo>
                      <a:pt x="1045" y="800"/>
                    </a:lnTo>
                    <a:lnTo>
                      <a:pt x="1105" y="776"/>
                    </a:lnTo>
                    <a:lnTo>
                      <a:pt x="1133" y="760"/>
                    </a:lnTo>
                    <a:lnTo>
                      <a:pt x="1137" y="744"/>
                    </a:lnTo>
                    <a:lnTo>
                      <a:pt x="1180" y="736"/>
                    </a:lnTo>
                    <a:lnTo>
                      <a:pt x="1224" y="740"/>
                    </a:lnTo>
                    <a:lnTo>
                      <a:pt x="1256" y="724"/>
                    </a:lnTo>
                    <a:lnTo>
                      <a:pt x="1288" y="713"/>
                    </a:lnTo>
                    <a:lnTo>
                      <a:pt x="1324" y="728"/>
                    </a:lnTo>
                    <a:lnTo>
                      <a:pt x="1320" y="748"/>
                    </a:lnTo>
                    <a:lnTo>
                      <a:pt x="1328" y="828"/>
                    </a:lnTo>
                    <a:lnTo>
                      <a:pt x="1360" y="848"/>
                    </a:lnTo>
                    <a:lnTo>
                      <a:pt x="1400" y="852"/>
                    </a:lnTo>
                    <a:lnTo>
                      <a:pt x="1416" y="828"/>
                    </a:lnTo>
                    <a:lnTo>
                      <a:pt x="1432" y="808"/>
                    </a:lnTo>
                    <a:lnTo>
                      <a:pt x="1452" y="808"/>
                    </a:lnTo>
                    <a:lnTo>
                      <a:pt x="1488" y="816"/>
                    </a:lnTo>
                    <a:lnTo>
                      <a:pt x="1508" y="800"/>
                    </a:lnTo>
                    <a:lnTo>
                      <a:pt x="1516" y="756"/>
                    </a:lnTo>
                    <a:lnTo>
                      <a:pt x="1528" y="744"/>
                    </a:lnTo>
                    <a:lnTo>
                      <a:pt x="1556" y="736"/>
                    </a:lnTo>
                    <a:lnTo>
                      <a:pt x="1544" y="668"/>
                    </a:lnTo>
                    <a:lnTo>
                      <a:pt x="1536" y="594"/>
                    </a:lnTo>
                    <a:lnTo>
                      <a:pt x="1534" y="536"/>
                    </a:lnTo>
                    <a:lnTo>
                      <a:pt x="1510" y="500"/>
                    </a:lnTo>
                    <a:lnTo>
                      <a:pt x="1488" y="454"/>
                    </a:lnTo>
                    <a:lnTo>
                      <a:pt x="1468" y="432"/>
                    </a:lnTo>
                    <a:lnTo>
                      <a:pt x="1422" y="448"/>
                    </a:lnTo>
                    <a:lnTo>
                      <a:pt x="1410" y="468"/>
                    </a:lnTo>
                    <a:lnTo>
                      <a:pt x="1368" y="484"/>
                    </a:lnTo>
                    <a:lnTo>
                      <a:pt x="1366" y="506"/>
                    </a:lnTo>
                    <a:lnTo>
                      <a:pt x="1364" y="514"/>
                    </a:lnTo>
                    <a:lnTo>
                      <a:pt x="1326" y="498"/>
                    </a:lnTo>
                    <a:lnTo>
                      <a:pt x="1306" y="490"/>
                    </a:lnTo>
                    <a:lnTo>
                      <a:pt x="1288" y="452"/>
                    </a:lnTo>
                    <a:lnTo>
                      <a:pt x="1258" y="424"/>
                    </a:lnTo>
                    <a:lnTo>
                      <a:pt x="1244" y="412"/>
                    </a:lnTo>
                    <a:lnTo>
                      <a:pt x="1214" y="406"/>
                    </a:lnTo>
                    <a:lnTo>
                      <a:pt x="1194" y="406"/>
                    </a:lnTo>
                    <a:lnTo>
                      <a:pt x="1186" y="428"/>
                    </a:lnTo>
                    <a:lnTo>
                      <a:pt x="1168" y="424"/>
                    </a:lnTo>
                    <a:lnTo>
                      <a:pt x="1158" y="420"/>
                    </a:lnTo>
                    <a:lnTo>
                      <a:pt x="1140" y="412"/>
                    </a:lnTo>
                    <a:lnTo>
                      <a:pt x="1130" y="406"/>
                    </a:lnTo>
                    <a:lnTo>
                      <a:pt x="1106" y="392"/>
                    </a:lnTo>
                    <a:lnTo>
                      <a:pt x="1086" y="384"/>
                    </a:lnTo>
                    <a:lnTo>
                      <a:pt x="1060" y="356"/>
                    </a:lnTo>
                    <a:lnTo>
                      <a:pt x="1038" y="356"/>
                    </a:lnTo>
                    <a:lnTo>
                      <a:pt x="1016" y="354"/>
                    </a:lnTo>
                    <a:lnTo>
                      <a:pt x="1000" y="342"/>
                    </a:lnTo>
                    <a:lnTo>
                      <a:pt x="988" y="326"/>
                    </a:lnTo>
                    <a:lnTo>
                      <a:pt x="968" y="324"/>
                    </a:lnTo>
                    <a:lnTo>
                      <a:pt x="948" y="338"/>
                    </a:lnTo>
                    <a:lnTo>
                      <a:pt x="932" y="322"/>
                    </a:lnTo>
                    <a:lnTo>
                      <a:pt x="904" y="306"/>
                    </a:lnTo>
                    <a:lnTo>
                      <a:pt x="888" y="282"/>
                    </a:lnTo>
                    <a:lnTo>
                      <a:pt x="876" y="264"/>
                    </a:lnTo>
                    <a:lnTo>
                      <a:pt x="876" y="248"/>
                    </a:lnTo>
                    <a:lnTo>
                      <a:pt x="878" y="208"/>
                    </a:lnTo>
                    <a:lnTo>
                      <a:pt x="880" y="172"/>
                    </a:lnTo>
                    <a:lnTo>
                      <a:pt x="878" y="144"/>
                    </a:lnTo>
                    <a:lnTo>
                      <a:pt x="880" y="124"/>
                    </a:lnTo>
                    <a:lnTo>
                      <a:pt x="898" y="100"/>
                    </a:lnTo>
                    <a:lnTo>
                      <a:pt x="888" y="8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75" name="Freeform 31"/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642938" y="1593850"/>
                <a:ext cx="2627312" cy="1939925"/>
              </a:xfrm>
              <a:custGeom>
                <a:avLst/>
                <a:gdLst>
                  <a:gd name="T0" fmla="*/ 2147483647 w 1603"/>
                  <a:gd name="T1" fmla="*/ 2147483647 h 1231"/>
                  <a:gd name="T2" fmla="*/ 2147483647 w 1603"/>
                  <a:gd name="T3" fmla="*/ 2147483647 h 1231"/>
                  <a:gd name="T4" fmla="*/ 2147483647 w 1603"/>
                  <a:gd name="T5" fmla="*/ 2147483647 h 1231"/>
                  <a:gd name="T6" fmla="*/ 2147483647 w 1603"/>
                  <a:gd name="T7" fmla="*/ 2147483647 h 1231"/>
                  <a:gd name="T8" fmla="*/ 2147483647 w 1603"/>
                  <a:gd name="T9" fmla="*/ 2147483647 h 1231"/>
                  <a:gd name="T10" fmla="*/ 2147483647 w 1603"/>
                  <a:gd name="T11" fmla="*/ 2147483647 h 1231"/>
                  <a:gd name="T12" fmla="*/ 2147483647 w 1603"/>
                  <a:gd name="T13" fmla="*/ 2147483647 h 1231"/>
                  <a:gd name="T14" fmla="*/ 2147483647 w 1603"/>
                  <a:gd name="T15" fmla="*/ 2147483647 h 1231"/>
                  <a:gd name="T16" fmla="*/ 2147483647 w 1603"/>
                  <a:gd name="T17" fmla="*/ 2147483647 h 1231"/>
                  <a:gd name="T18" fmla="*/ 2147483647 w 1603"/>
                  <a:gd name="T19" fmla="*/ 2147483647 h 1231"/>
                  <a:gd name="T20" fmla="*/ 2147483647 w 1603"/>
                  <a:gd name="T21" fmla="*/ 2147483647 h 1231"/>
                  <a:gd name="T22" fmla="*/ 2147483647 w 1603"/>
                  <a:gd name="T23" fmla="*/ 2147483647 h 1231"/>
                  <a:gd name="T24" fmla="*/ 2147483647 w 1603"/>
                  <a:gd name="T25" fmla="*/ 2147483647 h 1231"/>
                  <a:gd name="T26" fmla="*/ 2147483647 w 1603"/>
                  <a:gd name="T27" fmla="*/ 2147483647 h 1231"/>
                  <a:gd name="T28" fmla="*/ 2147483647 w 1603"/>
                  <a:gd name="T29" fmla="*/ 2147483647 h 1231"/>
                  <a:gd name="T30" fmla="*/ 2147483647 w 1603"/>
                  <a:gd name="T31" fmla="*/ 2147483647 h 1231"/>
                  <a:gd name="T32" fmla="*/ 2147483647 w 1603"/>
                  <a:gd name="T33" fmla="*/ 2147483647 h 1231"/>
                  <a:gd name="T34" fmla="*/ 2147483647 w 1603"/>
                  <a:gd name="T35" fmla="*/ 2147483647 h 1231"/>
                  <a:gd name="T36" fmla="*/ 2147483647 w 1603"/>
                  <a:gd name="T37" fmla="*/ 2147483647 h 1231"/>
                  <a:gd name="T38" fmla="*/ 2147483647 w 1603"/>
                  <a:gd name="T39" fmla="*/ 2147483647 h 1231"/>
                  <a:gd name="T40" fmla="*/ 2147483647 w 1603"/>
                  <a:gd name="T41" fmla="*/ 2147483647 h 1231"/>
                  <a:gd name="T42" fmla="*/ 2147483647 w 1603"/>
                  <a:gd name="T43" fmla="*/ 2147483647 h 1231"/>
                  <a:gd name="T44" fmla="*/ 2147483647 w 1603"/>
                  <a:gd name="T45" fmla="*/ 2147483647 h 1231"/>
                  <a:gd name="T46" fmla="*/ 2147483647 w 1603"/>
                  <a:gd name="T47" fmla="*/ 2147483647 h 1231"/>
                  <a:gd name="T48" fmla="*/ 2147483647 w 1603"/>
                  <a:gd name="T49" fmla="*/ 2147483647 h 1231"/>
                  <a:gd name="T50" fmla="*/ 2147483647 w 1603"/>
                  <a:gd name="T51" fmla="*/ 2147483647 h 1231"/>
                  <a:gd name="T52" fmla="*/ 2147483647 w 1603"/>
                  <a:gd name="T53" fmla="*/ 2147483647 h 1231"/>
                  <a:gd name="T54" fmla="*/ 2147483647 w 1603"/>
                  <a:gd name="T55" fmla="*/ 2147483647 h 1231"/>
                  <a:gd name="T56" fmla="*/ 2147483647 w 1603"/>
                  <a:gd name="T57" fmla="*/ 2147483647 h 1231"/>
                  <a:gd name="T58" fmla="*/ 2147483647 w 1603"/>
                  <a:gd name="T59" fmla="*/ 2147483647 h 1231"/>
                  <a:gd name="T60" fmla="*/ 2147483647 w 1603"/>
                  <a:gd name="T61" fmla="*/ 2147483647 h 1231"/>
                  <a:gd name="T62" fmla="*/ 2147483647 w 1603"/>
                  <a:gd name="T63" fmla="*/ 2147483647 h 1231"/>
                  <a:gd name="T64" fmla="*/ 2147483647 w 1603"/>
                  <a:gd name="T65" fmla="*/ 2147483647 h 1231"/>
                  <a:gd name="T66" fmla="*/ 2147483647 w 1603"/>
                  <a:gd name="T67" fmla="*/ 2147483647 h 1231"/>
                  <a:gd name="T68" fmla="*/ 2147483647 w 1603"/>
                  <a:gd name="T69" fmla="*/ 2147483647 h 1231"/>
                  <a:gd name="T70" fmla="*/ 2147483647 w 1603"/>
                  <a:gd name="T71" fmla="*/ 2147483647 h 1231"/>
                  <a:gd name="T72" fmla="*/ 2147483647 w 1603"/>
                  <a:gd name="T73" fmla="*/ 2147483647 h 1231"/>
                  <a:gd name="T74" fmla="*/ 2147483647 w 1603"/>
                  <a:gd name="T75" fmla="*/ 2147483647 h 1231"/>
                  <a:gd name="T76" fmla="*/ 2147483647 w 1603"/>
                  <a:gd name="T77" fmla="*/ 2147483647 h 1231"/>
                  <a:gd name="T78" fmla="*/ 2147483647 w 1603"/>
                  <a:gd name="T79" fmla="*/ 2147483647 h 1231"/>
                  <a:gd name="T80" fmla="*/ 2147483647 w 1603"/>
                  <a:gd name="T81" fmla="*/ 2147483647 h 1231"/>
                  <a:gd name="T82" fmla="*/ 2147483647 w 1603"/>
                  <a:gd name="T83" fmla="*/ 2147483647 h 1231"/>
                  <a:gd name="T84" fmla="*/ 2147483647 w 1603"/>
                  <a:gd name="T85" fmla="*/ 2147483647 h 1231"/>
                  <a:gd name="T86" fmla="*/ 2147483647 w 1603"/>
                  <a:gd name="T87" fmla="*/ 2147483647 h 1231"/>
                  <a:gd name="T88" fmla="*/ 2147483647 w 1603"/>
                  <a:gd name="T89" fmla="*/ 2147483647 h 1231"/>
                  <a:gd name="T90" fmla="*/ 2147483647 w 1603"/>
                  <a:gd name="T91" fmla="*/ 2147483647 h 1231"/>
                  <a:gd name="T92" fmla="*/ 2147483647 w 1603"/>
                  <a:gd name="T93" fmla="*/ 2147483647 h 1231"/>
                  <a:gd name="T94" fmla="*/ 2147483647 w 1603"/>
                  <a:gd name="T95" fmla="*/ 2147483647 h 1231"/>
                  <a:gd name="T96" fmla="*/ 2147483647 w 1603"/>
                  <a:gd name="T97" fmla="*/ 2147483647 h 1231"/>
                  <a:gd name="T98" fmla="*/ 2147483647 w 1603"/>
                  <a:gd name="T99" fmla="*/ 2147483647 h 1231"/>
                  <a:gd name="T100" fmla="*/ 2147483647 w 1603"/>
                  <a:gd name="T101" fmla="*/ 2147483647 h 1231"/>
                  <a:gd name="T102" fmla="*/ 2147483647 w 1603"/>
                  <a:gd name="T103" fmla="*/ 2147483647 h 1231"/>
                  <a:gd name="T104" fmla="*/ 2147483647 w 1603"/>
                  <a:gd name="T105" fmla="*/ 2147483647 h 1231"/>
                  <a:gd name="T106" fmla="*/ 2147483647 w 1603"/>
                  <a:gd name="T107" fmla="*/ 2147483647 h 1231"/>
                  <a:gd name="T108" fmla="*/ 2147483647 w 1603"/>
                  <a:gd name="T109" fmla="*/ 2147483647 h 1231"/>
                  <a:gd name="T110" fmla="*/ 2147483647 w 1603"/>
                  <a:gd name="T111" fmla="*/ 2147483647 h 1231"/>
                  <a:gd name="T112" fmla="*/ 2147483647 w 1603"/>
                  <a:gd name="T113" fmla="*/ 2147483647 h 1231"/>
                  <a:gd name="T114" fmla="*/ 2147483647 w 1603"/>
                  <a:gd name="T115" fmla="*/ 2147483647 h 1231"/>
                  <a:gd name="T116" fmla="*/ 2147483647 w 1603"/>
                  <a:gd name="T117" fmla="*/ 2147483647 h 1231"/>
                  <a:gd name="T118" fmla="*/ 2147483647 w 1603"/>
                  <a:gd name="T119" fmla="*/ 2147483647 h 1231"/>
                  <a:gd name="T120" fmla="*/ 2147483647 w 1603"/>
                  <a:gd name="T121" fmla="*/ 2147483647 h 1231"/>
                  <a:gd name="T122" fmla="*/ 2147483647 w 1603"/>
                  <a:gd name="T123" fmla="*/ 2147483647 h 1231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603"/>
                  <a:gd name="T187" fmla="*/ 0 h 1231"/>
                  <a:gd name="T188" fmla="*/ 1603 w 1603"/>
                  <a:gd name="T189" fmla="*/ 1231 h 1231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603" h="1231">
                    <a:moveTo>
                      <a:pt x="238" y="1208"/>
                    </a:moveTo>
                    <a:lnTo>
                      <a:pt x="220" y="1188"/>
                    </a:lnTo>
                    <a:lnTo>
                      <a:pt x="220" y="1160"/>
                    </a:lnTo>
                    <a:lnTo>
                      <a:pt x="220" y="1138"/>
                    </a:lnTo>
                    <a:lnTo>
                      <a:pt x="202" y="1130"/>
                    </a:lnTo>
                    <a:lnTo>
                      <a:pt x="198" y="1110"/>
                    </a:lnTo>
                    <a:lnTo>
                      <a:pt x="180" y="1090"/>
                    </a:lnTo>
                    <a:lnTo>
                      <a:pt x="150" y="1074"/>
                    </a:lnTo>
                    <a:lnTo>
                      <a:pt x="122" y="1072"/>
                    </a:lnTo>
                    <a:lnTo>
                      <a:pt x="116" y="1042"/>
                    </a:lnTo>
                    <a:lnTo>
                      <a:pt x="114" y="1012"/>
                    </a:lnTo>
                    <a:lnTo>
                      <a:pt x="102" y="982"/>
                    </a:lnTo>
                    <a:lnTo>
                      <a:pt x="88" y="974"/>
                    </a:lnTo>
                    <a:lnTo>
                      <a:pt x="76" y="968"/>
                    </a:lnTo>
                    <a:lnTo>
                      <a:pt x="58" y="944"/>
                    </a:lnTo>
                    <a:lnTo>
                      <a:pt x="64" y="958"/>
                    </a:lnTo>
                    <a:lnTo>
                      <a:pt x="48" y="924"/>
                    </a:lnTo>
                    <a:lnTo>
                      <a:pt x="16" y="910"/>
                    </a:lnTo>
                    <a:lnTo>
                      <a:pt x="4" y="894"/>
                    </a:lnTo>
                    <a:lnTo>
                      <a:pt x="4" y="874"/>
                    </a:lnTo>
                    <a:lnTo>
                      <a:pt x="2" y="860"/>
                    </a:lnTo>
                    <a:lnTo>
                      <a:pt x="40" y="860"/>
                    </a:lnTo>
                    <a:lnTo>
                      <a:pt x="38" y="834"/>
                    </a:lnTo>
                    <a:lnTo>
                      <a:pt x="52" y="810"/>
                    </a:lnTo>
                    <a:lnTo>
                      <a:pt x="60" y="792"/>
                    </a:lnTo>
                    <a:lnTo>
                      <a:pt x="58" y="766"/>
                    </a:lnTo>
                    <a:lnTo>
                      <a:pt x="10" y="760"/>
                    </a:lnTo>
                    <a:lnTo>
                      <a:pt x="0" y="750"/>
                    </a:lnTo>
                    <a:lnTo>
                      <a:pt x="0" y="728"/>
                    </a:lnTo>
                    <a:lnTo>
                      <a:pt x="4" y="700"/>
                    </a:lnTo>
                    <a:lnTo>
                      <a:pt x="24" y="668"/>
                    </a:lnTo>
                    <a:lnTo>
                      <a:pt x="36" y="638"/>
                    </a:lnTo>
                    <a:lnTo>
                      <a:pt x="54" y="622"/>
                    </a:lnTo>
                    <a:lnTo>
                      <a:pt x="74" y="616"/>
                    </a:lnTo>
                    <a:lnTo>
                      <a:pt x="100" y="608"/>
                    </a:lnTo>
                    <a:lnTo>
                      <a:pt x="120" y="604"/>
                    </a:lnTo>
                    <a:lnTo>
                      <a:pt x="138" y="602"/>
                    </a:lnTo>
                    <a:lnTo>
                      <a:pt x="150" y="588"/>
                    </a:lnTo>
                    <a:lnTo>
                      <a:pt x="168" y="596"/>
                    </a:lnTo>
                    <a:lnTo>
                      <a:pt x="176" y="614"/>
                    </a:lnTo>
                    <a:lnTo>
                      <a:pt x="196" y="618"/>
                    </a:lnTo>
                    <a:lnTo>
                      <a:pt x="228" y="618"/>
                    </a:lnTo>
                    <a:lnTo>
                      <a:pt x="244" y="598"/>
                    </a:lnTo>
                    <a:lnTo>
                      <a:pt x="258" y="582"/>
                    </a:lnTo>
                    <a:lnTo>
                      <a:pt x="276" y="582"/>
                    </a:lnTo>
                    <a:lnTo>
                      <a:pt x="312" y="590"/>
                    </a:lnTo>
                    <a:lnTo>
                      <a:pt x="346" y="590"/>
                    </a:lnTo>
                    <a:lnTo>
                      <a:pt x="384" y="588"/>
                    </a:lnTo>
                    <a:lnTo>
                      <a:pt x="392" y="560"/>
                    </a:lnTo>
                    <a:lnTo>
                      <a:pt x="418" y="560"/>
                    </a:lnTo>
                    <a:lnTo>
                      <a:pt x="444" y="558"/>
                    </a:lnTo>
                    <a:lnTo>
                      <a:pt x="492" y="554"/>
                    </a:lnTo>
                    <a:lnTo>
                      <a:pt x="508" y="540"/>
                    </a:lnTo>
                    <a:lnTo>
                      <a:pt x="526" y="538"/>
                    </a:lnTo>
                    <a:lnTo>
                      <a:pt x="530" y="508"/>
                    </a:lnTo>
                    <a:lnTo>
                      <a:pt x="538" y="494"/>
                    </a:lnTo>
                    <a:lnTo>
                      <a:pt x="558" y="468"/>
                    </a:lnTo>
                    <a:lnTo>
                      <a:pt x="580" y="468"/>
                    </a:lnTo>
                    <a:lnTo>
                      <a:pt x="578" y="420"/>
                    </a:lnTo>
                    <a:lnTo>
                      <a:pt x="564" y="396"/>
                    </a:lnTo>
                    <a:lnTo>
                      <a:pt x="572" y="370"/>
                    </a:lnTo>
                    <a:lnTo>
                      <a:pt x="566" y="300"/>
                    </a:lnTo>
                    <a:lnTo>
                      <a:pt x="608" y="300"/>
                    </a:lnTo>
                    <a:lnTo>
                      <a:pt x="660" y="298"/>
                    </a:lnTo>
                    <a:lnTo>
                      <a:pt x="716" y="296"/>
                    </a:lnTo>
                    <a:lnTo>
                      <a:pt x="734" y="286"/>
                    </a:lnTo>
                    <a:lnTo>
                      <a:pt x="740" y="252"/>
                    </a:lnTo>
                    <a:lnTo>
                      <a:pt x="744" y="228"/>
                    </a:lnTo>
                    <a:lnTo>
                      <a:pt x="778" y="186"/>
                    </a:lnTo>
                    <a:lnTo>
                      <a:pt x="792" y="156"/>
                    </a:lnTo>
                    <a:lnTo>
                      <a:pt x="822" y="146"/>
                    </a:lnTo>
                    <a:lnTo>
                      <a:pt x="852" y="160"/>
                    </a:lnTo>
                    <a:lnTo>
                      <a:pt x="884" y="166"/>
                    </a:lnTo>
                    <a:lnTo>
                      <a:pt x="898" y="190"/>
                    </a:lnTo>
                    <a:lnTo>
                      <a:pt x="914" y="188"/>
                    </a:lnTo>
                    <a:lnTo>
                      <a:pt x="938" y="184"/>
                    </a:lnTo>
                    <a:lnTo>
                      <a:pt x="968" y="178"/>
                    </a:lnTo>
                    <a:lnTo>
                      <a:pt x="982" y="154"/>
                    </a:lnTo>
                    <a:lnTo>
                      <a:pt x="970" y="130"/>
                    </a:lnTo>
                    <a:lnTo>
                      <a:pt x="988" y="80"/>
                    </a:lnTo>
                    <a:lnTo>
                      <a:pt x="1010" y="74"/>
                    </a:lnTo>
                    <a:lnTo>
                      <a:pt x="1040" y="70"/>
                    </a:lnTo>
                    <a:lnTo>
                      <a:pt x="1084" y="60"/>
                    </a:lnTo>
                    <a:lnTo>
                      <a:pt x="1102" y="8"/>
                    </a:lnTo>
                    <a:lnTo>
                      <a:pt x="1134" y="0"/>
                    </a:lnTo>
                    <a:lnTo>
                      <a:pt x="1162" y="28"/>
                    </a:lnTo>
                    <a:lnTo>
                      <a:pt x="1158" y="90"/>
                    </a:lnTo>
                    <a:lnTo>
                      <a:pt x="1214" y="136"/>
                    </a:lnTo>
                    <a:lnTo>
                      <a:pt x="1252" y="150"/>
                    </a:lnTo>
                    <a:lnTo>
                      <a:pt x="1280" y="178"/>
                    </a:lnTo>
                    <a:lnTo>
                      <a:pt x="1272" y="200"/>
                    </a:lnTo>
                    <a:lnTo>
                      <a:pt x="1276" y="224"/>
                    </a:lnTo>
                    <a:lnTo>
                      <a:pt x="1290" y="236"/>
                    </a:lnTo>
                    <a:lnTo>
                      <a:pt x="1306" y="260"/>
                    </a:lnTo>
                    <a:lnTo>
                      <a:pt x="1306" y="282"/>
                    </a:lnTo>
                    <a:lnTo>
                      <a:pt x="1292" y="300"/>
                    </a:lnTo>
                    <a:lnTo>
                      <a:pt x="1294" y="332"/>
                    </a:lnTo>
                    <a:lnTo>
                      <a:pt x="1268" y="348"/>
                    </a:lnTo>
                    <a:lnTo>
                      <a:pt x="1258" y="374"/>
                    </a:lnTo>
                    <a:lnTo>
                      <a:pt x="1270" y="398"/>
                    </a:lnTo>
                    <a:lnTo>
                      <a:pt x="1290" y="410"/>
                    </a:lnTo>
                    <a:lnTo>
                      <a:pt x="1314" y="420"/>
                    </a:lnTo>
                    <a:lnTo>
                      <a:pt x="1340" y="424"/>
                    </a:lnTo>
                    <a:lnTo>
                      <a:pt x="1368" y="420"/>
                    </a:lnTo>
                    <a:lnTo>
                      <a:pt x="1386" y="434"/>
                    </a:lnTo>
                    <a:lnTo>
                      <a:pt x="1410" y="444"/>
                    </a:lnTo>
                    <a:lnTo>
                      <a:pt x="1434" y="460"/>
                    </a:lnTo>
                    <a:lnTo>
                      <a:pt x="1470" y="470"/>
                    </a:lnTo>
                    <a:lnTo>
                      <a:pt x="1514" y="502"/>
                    </a:lnTo>
                    <a:lnTo>
                      <a:pt x="1550" y="510"/>
                    </a:lnTo>
                    <a:lnTo>
                      <a:pt x="1564" y="538"/>
                    </a:lnTo>
                    <a:lnTo>
                      <a:pt x="1570" y="572"/>
                    </a:lnTo>
                    <a:lnTo>
                      <a:pt x="1576" y="614"/>
                    </a:lnTo>
                    <a:lnTo>
                      <a:pt x="1602" y="666"/>
                    </a:lnTo>
                    <a:lnTo>
                      <a:pt x="1582" y="690"/>
                    </a:lnTo>
                    <a:lnTo>
                      <a:pt x="1578" y="720"/>
                    </a:lnTo>
                    <a:lnTo>
                      <a:pt x="1548" y="748"/>
                    </a:lnTo>
                    <a:lnTo>
                      <a:pt x="1536" y="732"/>
                    </a:lnTo>
                    <a:lnTo>
                      <a:pt x="1520" y="734"/>
                    </a:lnTo>
                    <a:lnTo>
                      <a:pt x="1514" y="744"/>
                    </a:lnTo>
                    <a:lnTo>
                      <a:pt x="1478" y="754"/>
                    </a:lnTo>
                    <a:lnTo>
                      <a:pt x="1446" y="776"/>
                    </a:lnTo>
                    <a:lnTo>
                      <a:pt x="1432" y="804"/>
                    </a:lnTo>
                    <a:lnTo>
                      <a:pt x="1406" y="810"/>
                    </a:lnTo>
                    <a:lnTo>
                      <a:pt x="1398" y="822"/>
                    </a:lnTo>
                    <a:lnTo>
                      <a:pt x="1398" y="852"/>
                    </a:lnTo>
                    <a:lnTo>
                      <a:pt x="1356" y="858"/>
                    </a:lnTo>
                    <a:lnTo>
                      <a:pt x="1336" y="864"/>
                    </a:lnTo>
                    <a:lnTo>
                      <a:pt x="1334" y="888"/>
                    </a:lnTo>
                    <a:lnTo>
                      <a:pt x="1338" y="922"/>
                    </a:lnTo>
                    <a:lnTo>
                      <a:pt x="1344" y="956"/>
                    </a:lnTo>
                    <a:lnTo>
                      <a:pt x="1320" y="968"/>
                    </a:lnTo>
                    <a:lnTo>
                      <a:pt x="1282" y="978"/>
                    </a:lnTo>
                    <a:lnTo>
                      <a:pt x="1252" y="978"/>
                    </a:lnTo>
                    <a:lnTo>
                      <a:pt x="1226" y="980"/>
                    </a:lnTo>
                    <a:lnTo>
                      <a:pt x="1222" y="996"/>
                    </a:lnTo>
                    <a:lnTo>
                      <a:pt x="1176" y="996"/>
                    </a:lnTo>
                    <a:lnTo>
                      <a:pt x="1128" y="1000"/>
                    </a:lnTo>
                    <a:lnTo>
                      <a:pt x="1138" y="1028"/>
                    </a:lnTo>
                    <a:lnTo>
                      <a:pt x="1146" y="1054"/>
                    </a:lnTo>
                    <a:lnTo>
                      <a:pt x="1150" y="1074"/>
                    </a:lnTo>
                    <a:lnTo>
                      <a:pt x="1166" y="1086"/>
                    </a:lnTo>
                    <a:lnTo>
                      <a:pt x="1200" y="1108"/>
                    </a:lnTo>
                    <a:lnTo>
                      <a:pt x="1194" y="1124"/>
                    </a:lnTo>
                    <a:lnTo>
                      <a:pt x="1192" y="1138"/>
                    </a:lnTo>
                    <a:lnTo>
                      <a:pt x="1170" y="1144"/>
                    </a:lnTo>
                    <a:lnTo>
                      <a:pt x="1150" y="1154"/>
                    </a:lnTo>
                    <a:lnTo>
                      <a:pt x="1160" y="1172"/>
                    </a:lnTo>
                    <a:lnTo>
                      <a:pt x="1178" y="1200"/>
                    </a:lnTo>
                    <a:lnTo>
                      <a:pt x="1174" y="1218"/>
                    </a:lnTo>
                    <a:lnTo>
                      <a:pt x="1158" y="1230"/>
                    </a:lnTo>
                    <a:lnTo>
                      <a:pt x="1136" y="1226"/>
                    </a:lnTo>
                    <a:lnTo>
                      <a:pt x="1108" y="1222"/>
                    </a:lnTo>
                    <a:lnTo>
                      <a:pt x="1090" y="1206"/>
                    </a:lnTo>
                    <a:lnTo>
                      <a:pt x="1056" y="1214"/>
                    </a:lnTo>
                    <a:lnTo>
                      <a:pt x="1046" y="1222"/>
                    </a:lnTo>
                    <a:lnTo>
                      <a:pt x="1032" y="1214"/>
                    </a:lnTo>
                    <a:lnTo>
                      <a:pt x="996" y="1184"/>
                    </a:lnTo>
                    <a:lnTo>
                      <a:pt x="938" y="1160"/>
                    </a:lnTo>
                    <a:lnTo>
                      <a:pt x="918" y="1156"/>
                    </a:lnTo>
                    <a:lnTo>
                      <a:pt x="892" y="1160"/>
                    </a:lnTo>
                    <a:lnTo>
                      <a:pt x="858" y="1166"/>
                    </a:lnTo>
                    <a:lnTo>
                      <a:pt x="808" y="1164"/>
                    </a:lnTo>
                    <a:lnTo>
                      <a:pt x="794" y="1178"/>
                    </a:lnTo>
                    <a:lnTo>
                      <a:pt x="770" y="1194"/>
                    </a:lnTo>
                    <a:lnTo>
                      <a:pt x="742" y="1198"/>
                    </a:lnTo>
                    <a:lnTo>
                      <a:pt x="690" y="1194"/>
                    </a:lnTo>
                    <a:lnTo>
                      <a:pt x="660" y="1204"/>
                    </a:lnTo>
                    <a:lnTo>
                      <a:pt x="646" y="1224"/>
                    </a:lnTo>
                    <a:lnTo>
                      <a:pt x="620" y="1212"/>
                    </a:lnTo>
                    <a:lnTo>
                      <a:pt x="598" y="1202"/>
                    </a:lnTo>
                    <a:lnTo>
                      <a:pt x="566" y="1180"/>
                    </a:lnTo>
                    <a:lnTo>
                      <a:pt x="538" y="1156"/>
                    </a:lnTo>
                    <a:lnTo>
                      <a:pt x="516" y="1162"/>
                    </a:lnTo>
                    <a:lnTo>
                      <a:pt x="498" y="1176"/>
                    </a:lnTo>
                    <a:lnTo>
                      <a:pt x="468" y="1180"/>
                    </a:lnTo>
                    <a:lnTo>
                      <a:pt x="444" y="1174"/>
                    </a:lnTo>
                    <a:lnTo>
                      <a:pt x="426" y="1164"/>
                    </a:lnTo>
                    <a:lnTo>
                      <a:pt x="404" y="1156"/>
                    </a:lnTo>
                    <a:lnTo>
                      <a:pt x="360" y="1170"/>
                    </a:lnTo>
                    <a:lnTo>
                      <a:pt x="328" y="1182"/>
                    </a:lnTo>
                    <a:lnTo>
                      <a:pt x="326" y="1218"/>
                    </a:lnTo>
                    <a:lnTo>
                      <a:pt x="300" y="1224"/>
                    </a:lnTo>
                    <a:lnTo>
                      <a:pt x="270" y="1222"/>
                    </a:lnTo>
                    <a:lnTo>
                      <a:pt x="250" y="1218"/>
                    </a:lnTo>
                    <a:lnTo>
                      <a:pt x="238" y="1208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76" name="Freeform 32"/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3340100" y="1143000"/>
                <a:ext cx="2882900" cy="2300288"/>
              </a:xfrm>
              <a:custGeom>
                <a:avLst/>
                <a:gdLst>
                  <a:gd name="T0" fmla="*/ 2147483647 w 1756"/>
                  <a:gd name="T1" fmla="*/ 2147483647 h 1462"/>
                  <a:gd name="T2" fmla="*/ 2147483647 w 1756"/>
                  <a:gd name="T3" fmla="*/ 2147483647 h 1462"/>
                  <a:gd name="T4" fmla="*/ 2147483647 w 1756"/>
                  <a:gd name="T5" fmla="*/ 2147483647 h 1462"/>
                  <a:gd name="T6" fmla="*/ 2147483647 w 1756"/>
                  <a:gd name="T7" fmla="*/ 2147483647 h 1462"/>
                  <a:gd name="T8" fmla="*/ 2147483647 w 1756"/>
                  <a:gd name="T9" fmla="*/ 2147483647 h 1462"/>
                  <a:gd name="T10" fmla="*/ 2147483647 w 1756"/>
                  <a:gd name="T11" fmla="*/ 2147483647 h 1462"/>
                  <a:gd name="T12" fmla="*/ 2147483647 w 1756"/>
                  <a:gd name="T13" fmla="*/ 2147483647 h 1462"/>
                  <a:gd name="T14" fmla="*/ 2147483647 w 1756"/>
                  <a:gd name="T15" fmla="*/ 2147483647 h 1462"/>
                  <a:gd name="T16" fmla="*/ 2147483647 w 1756"/>
                  <a:gd name="T17" fmla="*/ 2147483647 h 1462"/>
                  <a:gd name="T18" fmla="*/ 2147483647 w 1756"/>
                  <a:gd name="T19" fmla="*/ 2147483647 h 1462"/>
                  <a:gd name="T20" fmla="*/ 2147483647 w 1756"/>
                  <a:gd name="T21" fmla="*/ 2147483647 h 1462"/>
                  <a:gd name="T22" fmla="*/ 2147483647 w 1756"/>
                  <a:gd name="T23" fmla="*/ 2147483647 h 1462"/>
                  <a:gd name="T24" fmla="*/ 2147483647 w 1756"/>
                  <a:gd name="T25" fmla="*/ 2147483647 h 1462"/>
                  <a:gd name="T26" fmla="*/ 2147483647 w 1756"/>
                  <a:gd name="T27" fmla="*/ 2147483647 h 1462"/>
                  <a:gd name="T28" fmla="*/ 2147483647 w 1756"/>
                  <a:gd name="T29" fmla="*/ 2147483647 h 1462"/>
                  <a:gd name="T30" fmla="*/ 2147483647 w 1756"/>
                  <a:gd name="T31" fmla="*/ 2147483647 h 1462"/>
                  <a:gd name="T32" fmla="*/ 2147483647 w 1756"/>
                  <a:gd name="T33" fmla="*/ 2147483647 h 1462"/>
                  <a:gd name="T34" fmla="*/ 2147483647 w 1756"/>
                  <a:gd name="T35" fmla="*/ 2147483647 h 1462"/>
                  <a:gd name="T36" fmla="*/ 2147483647 w 1756"/>
                  <a:gd name="T37" fmla="*/ 0 h 1462"/>
                  <a:gd name="T38" fmla="*/ 2147483647 w 1756"/>
                  <a:gd name="T39" fmla="*/ 2147483647 h 1462"/>
                  <a:gd name="T40" fmla="*/ 2147483647 w 1756"/>
                  <a:gd name="T41" fmla="*/ 2147483647 h 1462"/>
                  <a:gd name="T42" fmla="*/ 2147483647 w 1756"/>
                  <a:gd name="T43" fmla="*/ 2147483647 h 1462"/>
                  <a:gd name="T44" fmla="*/ 2147483647 w 1756"/>
                  <a:gd name="T45" fmla="*/ 2147483647 h 1462"/>
                  <a:gd name="T46" fmla="*/ 2147483647 w 1756"/>
                  <a:gd name="T47" fmla="*/ 2147483647 h 1462"/>
                  <a:gd name="T48" fmla="*/ 2147483647 w 1756"/>
                  <a:gd name="T49" fmla="*/ 2147483647 h 1462"/>
                  <a:gd name="T50" fmla="*/ 2147483647 w 1756"/>
                  <a:gd name="T51" fmla="*/ 2147483647 h 1462"/>
                  <a:gd name="T52" fmla="*/ 2147483647 w 1756"/>
                  <a:gd name="T53" fmla="*/ 2147483647 h 1462"/>
                  <a:gd name="T54" fmla="*/ 2147483647 w 1756"/>
                  <a:gd name="T55" fmla="*/ 2147483647 h 1462"/>
                  <a:gd name="T56" fmla="*/ 2147483647 w 1756"/>
                  <a:gd name="T57" fmla="*/ 2147483647 h 1462"/>
                  <a:gd name="T58" fmla="*/ 2147483647 w 1756"/>
                  <a:gd name="T59" fmla="*/ 2147483647 h 1462"/>
                  <a:gd name="T60" fmla="*/ 2147483647 w 1756"/>
                  <a:gd name="T61" fmla="*/ 2147483647 h 1462"/>
                  <a:gd name="T62" fmla="*/ 2147483647 w 1756"/>
                  <a:gd name="T63" fmla="*/ 2147483647 h 1462"/>
                  <a:gd name="T64" fmla="*/ 2147483647 w 1756"/>
                  <a:gd name="T65" fmla="*/ 2147483647 h 1462"/>
                  <a:gd name="T66" fmla="*/ 2147483647 w 1756"/>
                  <a:gd name="T67" fmla="*/ 2147483647 h 1462"/>
                  <a:gd name="T68" fmla="*/ 2147483647 w 1756"/>
                  <a:gd name="T69" fmla="*/ 2147483647 h 1462"/>
                  <a:gd name="T70" fmla="*/ 2147483647 w 1756"/>
                  <a:gd name="T71" fmla="*/ 2147483647 h 1462"/>
                  <a:gd name="T72" fmla="*/ 2147483647 w 1756"/>
                  <a:gd name="T73" fmla="*/ 2147483647 h 1462"/>
                  <a:gd name="T74" fmla="*/ 2147483647 w 1756"/>
                  <a:gd name="T75" fmla="*/ 2147483647 h 1462"/>
                  <a:gd name="T76" fmla="*/ 2147483647 w 1756"/>
                  <a:gd name="T77" fmla="*/ 2147483647 h 1462"/>
                  <a:gd name="T78" fmla="*/ 2147483647 w 1756"/>
                  <a:gd name="T79" fmla="*/ 2147483647 h 1462"/>
                  <a:gd name="T80" fmla="*/ 2147483647 w 1756"/>
                  <a:gd name="T81" fmla="*/ 2147483647 h 1462"/>
                  <a:gd name="T82" fmla="*/ 2147483647 w 1756"/>
                  <a:gd name="T83" fmla="*/ 2147483647 h 1462"/>
                  <a:gd name="T84" fmla="*/ 2147483647 w 1756"/>
                  <a:gd name="T85" fmla="*/ 2147483647 h 1462"/>
                  <a:gd name="T86" fmla="*/ 2147483647 w 1756"/>
                  <a:gd name="T87" fmla="*/ 2147483647 h 1462"/>
                  <a:gd name="T88" fmla="*/ 2147483647 w 1756"/>
                  <a:gd name="T89" fmla="*/ 2147483647 h 1462"/>
                  <a:gd name="T90" fmla="*/ 2147483647 w 1756"/>
                  <a:gd name="T91" fmla="*/ 2147483647 h 1462"/>
                  <a:gd name="T92" fmla="*/ 2147483647 w 1756"/>
                  <a:gd name="T93" fmla="*/ 2147483647 h 1462"/>
                  <a:gd name="T94" fmla="*/ 2147483647 w 1756"/>
                  <a:gd name="T95" fmla="*/ 2147483647 h 1462"/>
                  <a:gd name="T96" fmla="*/ 2147483647 w 1756"/>
                  <a:gd name="T97" fmla="*/ 2147483647 h 1462"/>
                  <a:gd name="T98" fmla="*/ 2147483647 w 1756"/>
                  <a:gd name="T99" fmla="*/ 2147483647 h 1462"/>
                  <a:gd name="T100" fmla="*/ 2147483647 w 1756"/>
                  <a:gd name="T101" fmla="*/ 2147483647 h 1462"/>
                  <a:gd name="T102" fmla="*/ 2147483647 w 1756"/>
                  <a:gd name="T103" fmla="*/ 2147483647 h 1462"/>
                  <a:gd name="T104" fmla="*/ 2147483647 w 1756"/>
                  <a:gd name="T105" fmla="*/ 2147483647 h 1462"/>
                  <a:gd name="T106" fmla="*/ 2147483647 w 1756"/>
                  <a:gd name="T107" fmla="*/ 2147483647 h 1462"/>
                  <a:gd name="T108" fmla="*/ 2147483647 w 1756"/>
                  <a:gd name="T109" fmla="*/ 2147483647 h 1462"/>
                  <a:gd name="T110" fmla="*/ 2147483647 w 1756"/>
                  <a:gd name="T111" fmla="*/ 2147483647 h 1462"/>
                  <a:gd name="T112" fmla="*/ 2147483647 w 1756"/>
                  <a:gd name="T113" fmla="*/ 2147483647 h 1462"/>
                  <a:gd name="T114" fmla="*/ 2147483647 w 1756"/>
                  <a:gd name="T115" fmla="*/ 2147483647 h 146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756"/>
                  <a:gd name="T175" fmla="*/ 0 h 1462"/>
                  <a:gd name="T176" fmla="*/ 1756 w 1756"/>
                  <a:gd name="T177" fmla="*/ 1462 h 1462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756" h="1462">
                    <a:moveTo>
                      <a:pt x="0" y="954"/>
                    </a:moveTo>
                    <a:lnTo>
                      <a:pt x="12" y="946"/>
                    </a:lnTo>
                    <a:lnTo>
                      <a:pt x="54" y="962"/>
                    </a:lnTo>
                    <a:lnTo>
                      <a:pt x="76" y="962"/>
                    </a:lnTo>
                    <a:lnTo>
                      <a:pt x="104" y="968"/>
                    </a:lnTo>
                    <a:lnTo>
                      <a:pt x="130" y="970"/>
                    </a:lnTo>
                    <a:lnTo>
                      <a:pt x="162" y="982"/>
                    </a:lnTo>
                    <a:lnTo>
                      <a:pt x="190" y="994"/>
                    </a:lnTo>
                    <a:lnTo>
                      <a:pt x="214" y="980"/>
                    </a:lnTo>
                    <a:lnTo>
                      <a:pt x="260" y="982"/>
                    </a:lnTo>
                    <a:lnTo>
                      <a:pt x="290" y="978"/>
                    </a:lnTo>
                    <a:lnTo>
                      <a:pt x="316" y="1002"/>
                    </a:lnTo>
                    <a:lnTo>
                      <a:pt x="336" y="1014"/>
                    </a:lnTo>
                    <a:lnTo>
                      <a:pt x="368" y="1038"/>
                    </a:lnTo>
                    <a:lnTo>
                      <a:pt x="396" y="1052"/>
                    </a:lnTo>
                    <a:lnTo>
                      <a:pt x="432" y="1062"/>
                    </a:lnTo>
                    <a:lnTo>
                      <a:pt x="470" y="1058"/>
                    </a:lnTo>
                    <a:lnTo>
                      <a:pt x="514" y="1064"/>
                    </a:lnTo>
                    <a:lnTo>
                      <a:pt x="544" y="1052"/>
                    </a:lnTo>
                    <a:lnTo>
                      <a:pt x="570" y="1042"/>
                    </a:lnTo>
                    <a:lnTo>
                      <a:pt x="596" y="1030"/>
                    </a:lnTo>
                    <a:lnTo>
                      <a:pt x="616" y="1018"/>
                    </a:lnTo>
                    <a:lnTo>
                      <a:pt x="646" y="1012"/>
                    </a:lnTo>
                    <a:lnTo>
                      <a:pt x="688" y="1002"/>
                    </a:lnTo>
                    <a:lnTo>
                      <a:pt x="724" y="1000"/>
                    </a:lnTo>
                    <a:lnTo>
                      <a:pt x="732" y="986"/>
                    </a:lnTo>
                    <a:lnTo>
                      <a:pt x="760" y="984"/>
                    </a:lnTo>
                    <a:lnTo>
                      <a:pt x="798" y="990"/>
                    </a:lnTo>
                    <a:lnTo>
                      <a:pt x="846" y="988"/>
                    </a:lnTo>
                    <a:lnTo>
                      <a:pt x="856" y="968"/>
                    </a:lnTo>
                    <a:lnTo>
                      <a:pt x="892" y="956"/>
                    </a:lnTo>
                    <a:lnTo>
                      <a:pt x="914" y="942"/>
                    </a:lnTo>
                    <a:lnTo>
                      <a:pt x="920" y="906"/>
                    </a:lnTo>
                    <a:lnTo>
                      <a:pt x="938" y="884"/>
                    </a:lnTo>
                    <a:lnTo>
                      <a:pt x="966" y="878"/>
                    </a:lnTo>
                    <a:lnTo>
                      <a:pt x="982" y="866"/>
                    </a:lnTo>
                    <a:lnTo>
                      <a:pt x="960" y="848"/>
                    </a:lnTo>
                    <a:lnTo>
                      <a:pt x="948" y="816"/>
                    </a:lnTo>
                    <a:lnTo>
                      <a:pt x="944" y="794"/>
                    </a:lnTo>
                    <a:lnTo>
                      <a:pt x="968" y="770"/>
                    </a:lnTo>
                    <a:lnTo>
                      <a:pt x="984" y="744"/>
                    </a:lnTo>
                    <a:lnTo>
                      <a:pt x="1012" y="748"/>
                    </a:lnTo>
                    <a:lnTo>
                      <a:pt x="1036" y="760"/>
                    </a:lnTo>
                    <a:lnTo>
                      <a:pt x="1068" y="768"/>
                    </a:lnTo>
                    <a:lnTo>
                      <a:pt x="1108" y="750"/>
                    </a:lnTo>
                    <a:lnTo>
                      <a:pt x="1128" y="732"/>
                    </a:lnTo>
                    <a:lnTo>
                      <a:pt x="1144" y="700"/>
                    </a:lnTo>
                    <a:lnTo>
                      <a:pt x="1168" y="706"/>
                    </a:lnTo>
                    <a:lnTo>
                      <a:pt x="1204" y="700"/>
                    </a:lnTo>
                    <a:lnTo>
                      <a:pt x="1242" y="676"/>
                    </a:lnTo>
                    <a:lnTo>
                      <a:pt x="1242" y="628"/>
                    </a:lnTo>
                    <a:lnTo>
                      <a:pt x="1264" y="606"/>
                    </a:lnTo>
                    <a:lnTo>
                      <a:pt x="1290" y="584"/>
                    </a:lnTo>
                    <a:lnTo>
                      <a:pt x="1324" y="586"/>
                    </a:lnTo>
                    <a:lnTo>
                      <a:pt x="1350" y="562"/>
                    </a:lnTo>
                    <a:lnTo>
                      <a:pt x="1382" y="554"/>
                    </a:lnTo>
                    <a:lnTo>
                      <a:pt x="1440" y="558"/>
                    </a:lnTo>
                    <a:lnTo>
                      <a:pt x="1456" y="554"/>
                    </a:lnTo>
                    <a:lnTo>
                      <a:pt x="1470" y="518"/>
                    </a:lnTo>
                    <a:lnTo>
                      <a:pt x="1448" y="510"/>
                    </a:lnTo>
                    <a:lnTo>
                      <a:pt x="1412" y="484"/>
                    </a:lnTo>
                    <a:lnTo>
                      <a:pt x="1392" y="460"/>
                    </a:lnTo>
                    <a:lnTo>
                      <a:pt x="1362" y="448"/>
                    </a:lnTo>
                    <a:lnTo>
                      <a:pt x="1340" y="444"/>
                    </a:lnTo>
                    <a:lnTo>
                      <a:pt x="1316" y="446"/>
                    </a:lnTo>
                    <a:lnTo>
                      <a:pt x="1304" y="480"/>
                    </a:lnTo>
                    <a:lnTo>
                      <a:pt x="1268" y="488"/>
                    </a:lnTo>
                    <a:lnTo>
                      <a:pt x="1248" y="474"/>
                    </a:lnTo>
                    <a:lnTo>
                      <a:pt x="1222" y="484"/>
                    </a:lnTo>
                    <a:lnTo>
                      <a:pt x="1200" y="502"/>
                    </a:lnTo>
                    <a:lnTo>
                      <a:pt x="1172" y="492"/>
                    </a:lnTo>
                    <a:lnTo>
                      <a:pt x="1160" y="452"/>
                    </a:lnTo>
                    <a:lnTo>
                      <a:pt x="1168" y="404"/>
                    </a:lnTo>
                    <a:lnTo>
                      <a:pt x="1180" y="352"/>
                    </a:lnTo>
                    <a:lnTo>
                      <a:pt x="1196" y="326"/>
                    </a:lnTo>
                    <a:lnTo>
                      <a:pt x="1200" y="310"/>
                    </a:lnTo>
                    <a:lnTo>
                      <a:pt x="1216" y="288"/>
                    </a:lnTo>
                    <a:lnTo>
                      <a:pt x="1232" y="302"/>
                    </a:lnTo>
                    <a:lnTo>
                      <a:pt x="1262" y="298"/>
                    </a:lnTo>
                    <a:lnTo>
                      <a:pt x="1284" y="304"/>
                    </a:lnTo>
                    <a:lnTo>
                      <a:pt x="1300" y="288"/>
                    </a:lnTo>
                    <a:lnTo>
                      <a:pt x="1314" y="272"/>
                    </a:lnTo>
                    <a:lnTo>
                      <a:pt x="1346" y="258"/>
                    </a:lnTo>
                    <a:lnTo>
                      <a:pt x="1358" y="236"/>
                    </a:lnTo>
                    <a:lnTo>
                      <a:pt x="1364" y="212"/>
                    </a:lnTo>
                    <a:lnTo>
                      <a:pt x="1356" y="172"/>
                    </a:lnTo>
                    <a:lnTo>
                      <a:pt x="1368" y="134"/>
                    </a:lnTo>
                    <a:lnTo>
                      <a:pt x="1388" y="118"/>
                    </a:lnTo>
                    <a:lnTo>
                      <a:pt x="1410" y="80"/>
                    </a:lnTo>
                    <a:lnTo>
                      <a:pt x="1410" y="52"/>
                    </a:lnTo>
                    <a:lnTo>
                      <a:pt x="1428" y="28"/>
                    </a:lnTo>
                    <a:lnTo>
                      <a:pt x="1444" y="24"/>
                    </a:lnTo>
                    <a:lnTo>
                      <a:pt x="1488" y="30"/>
                    </a:lnTo>
                    <a:lnTo>
                      <a:pt x="1504" y="22"/>
                    </a:lnTo>
                    <a:lnTo>
                      <a:pt x="1514" y="0"/>
                    </a:lnTo>
                    <a:lnTo>
                      <a:pt x="1534" y="20"/>
                    </a:lnTo>
                    <a:lnTo>
                      <a:pt x="1562" y="24"/>
                    </a:lnTo>
                    <a:lnTo>
                      <a:pt x="1550" y="38"/>
                    </a:lnTo>
                    <a:lnTo>
                      <a:pt x="1554" y="64"/>
                    </a:lnTo>
                    <a:lnTo>
                      <a:pt x="1568" y="82"/>
                    </a:lnTo>
                    <a:lnTo>
                      <a:pt x="1580" y="94"/>
                    </a:lnTo>
                    <a:lnTo>
                      <a:pt x="1600" y="98"/>
                    </a:lnTo>
                    <a:lnTo>
                      <a:pt x="1610" y="86"/>
                    </a:lnTo>
                    <a:lnTo>
                      <a:pt x="1638" y="80"/>
                    </a:lnTo>
                    <a:lnTo>
                      <a:pt x="1654" y="72"/>
                    </a:lnTo>
                    <a:lnTo>
                      <a:pt x="1670" y="70"/>
                    </a:lnTo>
                    <a:lnTo>
                      <a:pt x="1688" y="58"/>
                    </a:lnTo>
                    <a:lnTo>
                      <a:pt x="1712" y="68"/>
                    </a:lnTo>
                    <a:lnTo>
                      <a:pt x="1732" y="88"/>
                    </a:lnTo>
                    <a:lnTo>
                      <a:pt x="1734" y="108"/>
                    </a:lnTo>
                    <a:lnTo>
                      <a:pt x="1740" y="132"/>
                    </a:lnTo>
                    <a:lnTo>
                      <a:pt x="1732" y="146"/>
                    </a:lnTo>
                    <a:lnTo>
                      <a:pt x="1728" y="164"/>
                    </a:lnTo>
                    <a:lnTo>
                      <a:pt x="1722" y="176"/>
                    </a:lnTo>
                    <a:lnTo>
                      <a:pt x="1720" y="196"/>
                    </a:lnTo>
                    <a:lnTo>
                      <a:pt x="1734" y="224"/>
                    </a:lnTo>
                    <a:lnTo>
                      <a:pt x="1744" y="236"/>
                    </a:lnTo>
                    <a:lnTo>
                      <a:pt x="1736" y="238"/>
                    </a:lnTo>
                    <a:lnTo>
                      <a:pt x="1734" y="276"/>
                    </a:lnTo>
                    <a:lnTo>
                      <a:pt x="1734" y="290"/>
                    </a:lnTo>
                    <a:lnTo>
                      <a:pt x="1728" y="306"/>
                    </a:lnTo>
                    <a:lnTo>
                      <a:pt x="1716" y="314"/>
                    </a:lnTo>
                    <a:lnTo>
                      <a:pt x="1720" y="348"/>
                    </a:lnTo>
                    <a:lnTo>
                      <a:pt x="1718" y="366"/>
                    </a:lnTo>
                    <a:lnTo>
                      <a:pt x="1688" y="362"/>
                    </a:lnTo>
                    <a:lnTo>
                      <a:pt x="1680" y="370"/>
                    </a:lnTo>
                    <a:lnTo>
                      <a:pt x="1674" y="390"/>
                    </a:lnTo>
                    <a:lnTo>
                      <a:pt x="1668" y="404"/>
                    </a:lnTo>
                    <a:lnTo>
                      <a:pt x="1650" y="410"/>
                    </a:lnTo>
                    <a:lnTo>
                      <a:pt x="1628" y="436"/>
                    </a:lnTo>
                    <a:lnTo>
                      <a:pt x="1626" y="464"/>
                    </a:lnTo>
                    <a:lnTo>
                      <a:pt x="1636" y="478"/>
                    </a:lnTo>
                    <a:lnTo>
                      <a:pt x="1656" y="494"/>
                    </a:lnTo>
                    <a:lnTo>
                      <a:pt x="1676" y="504"/>
                    </a:lnTo>
                    <a:lnTo>
                      <a:pt x="1684" y="548"/>
                    </a:lnTo>
                    <a:lnTo>
                      <a:pt x="1678" y="568"/>
                    </a:lnTo>
                    <a:lnTo>
                      <a:pt x="1668" y="586"/>
                    </a:lnTo>
                    <a:lnTo>
                      <a:pt x="1644" y="598"/>
                    </a:lnTo>
                    <a:lnTo>
                      <a:pt x="1612" y="598"/>
                    </a:lnTo>
                    <a:lnTo>
                      <a:pt x="1602" y="606"/>
                    </a:lnTo>
                    <a:lnTo>
                      <a:pt x="1620" y="624"/>
                    </a:lnTo>
                    <a:lnTo>
                      <a:pt x="1634" y="646"/>
                    </a:lnTo>
                    <a:lnTo>
                      <a:pt x="1632" y="664"/>
                    </a:lnTo>
                    <a:lnTo>
                      <a:pt x="1640" y="702"/>
                    </a:lnTo>
                    <a:lnTo>
                      <a:pt x="1652" y="722"/>
                    </a:lnTo>
                    <a:lnTo>
                      <a:pt x="1664" y="726"/>
                    </a:lnTo>
                    <a:lnTo>
                      <a:pt x="1684" y="710"/>
                    </a:lnTo>
                    <a:lnTo>
                      <a:pt x="1712" y="716"/>
                    </a:lnTo>
                    <a:lnTo>
                      <a:pt x="1720" y="736"/>
                    </a:lnTo>
                    <a:lnTo>
                      <a:pt x="1740" y="770"/>
                    </a:lnTo>
                    <a:lnTo>
                      <a:pt x="1756" y="802"/>
                    </a:lnTo>
                    <a:lnTo>
                      <a:pt x="1740" y="834"/>
                    </a:lnTo>
                    <a:lnTo>
                      <a:pt x="1722" y="856"/>
                    </a:lnTo>
                    <a:lnTo>
                      <a:pt x="1680" y="852"/>
                    </a:lnTo>
                    <a:lnTo>
                      <a:pt x="1660" y="882"/>
                    </a:lnTo>
                    <a:lnTo>
                      <a:pt x="1644" y="892"/>
                    </a:lnTo>
                    <a:lnTo>
                      <a:pt x="1648" y="910"/>
                    </a:lnTo>
                    <a:lnTo>
                      <a:pt x="1630" y="918"/>
                    </a:lnTo>
                    <a:lnTo>
                      <a:pt x="1606" y="936"/>
                    </a:lnTo>
                    <a:lnTo>
                      <a:pt x="1604" y="946"/>
                    </a:lnTo>
                    <a:lnTo>
                      <a:pt x="1576" y="946"/>
                    </a:lnTo>
                    <a:lnTo>
                      <a:pt x="1574" y="968"/>
                    </a:lnTo>
                    <a:lnTo>
                      <a:pt x="1544" y="968"/>
                    </a:lnTo>
                    <a:lnTo>
                      <a:pt x="1522" y="950"/>
                    </a:lnTo>
                    <a:lnTo>
                      <a:pt x="1510" y="946"/>
                    </a:lnTo>
                    <a:lnTo>
                      <a:pt x="1500" y="1000"/>
                    </a:lnTo>
                    <a:lnTo>
                      <a:pt x="1492" y="1032"/>
                    </a:lnTo>
                    <a:lnTo>
                      <a:pt x="1492" y="1060"/>
                    </a:lnTo>
                    <a:lnTo>
                      <a:pt x="1486" y="1052"/>
                    </a:lnTo>
                    <a:lnTo>
                      <a:pt x="1462" y="1050"/>
                    </a:lnTo>
                    <a:lnTo>
                      <a:pt x="1458" y="1036"/>
                    </a:lnTo>
                    <a:lnTo>
                      <a:pt x="1434" y="1042"/>
                    </a:lnTo>
                    <a:lnTo>
                      <a:pt x="1428" y="1032"/>
                    </a:lnTo>
                    <a:lnTo>
                      <a:pt x="1428" y="1014"/>
                    </a:lnTo>
                    <a:lnTo>
                      <a:pt x="1428" y="996"/>
                    </a:lnTo>
                    <a:lnTo>
                      <a:pt x="1418" y="980"/>
                    </a:lnTo>
                    <a:lnTo>
                      <a:pt x="1402" y="968"/>
                    </a:lnTo>
                    <a:lnTo>
                      <a:pt x="1382" y="948"/>
                    </a:lnTo>
                    <a:lnTo>
                      <a:pt x="1380" y="932"/>
                    </a:lnTo>
                    <a:lnTo>
                      <a:pt x="1368" y="930"/>
                    </a:lnTo>
                    <a:lnTo>
                      <a:pt x="1356" y="954"/>
                    </a:lnTo>
                    <a:lnTo>
                      <a:pt x="1342" y="964"/>
                    </a:lnTo>
                    <a:lnTo>
                      <a:pt x="1324" y="974"/>
                    </a:lnTo>
                    <a:lnTo>
                      <a:pt x="1326" y="1000"/>
                    </a:lnTo>
                    <a:lnTo>
                      <a:pt x="1296" y="1002"/>
                    </a:lnTo>
                    <a:lnTo>
                      <a:pt x="1258" y="1012"/>
                    </a:lnTo>
                    <a:lnTo>
                      <a:pt x="1242" y="1024"/>
                    </a:lnTo>
                    <a:lnTo>
                      <a:pt x="1218" y="1022"/>
                    </a:lnTo>
                    <a:lnTo>
                      <a:pt x="1192" y="1022"/>
                    </a:lnTo>
                    <a:lnTo>
                      <a:pt x="1184" y="1012"/>
                    </a:lnTo>
                    <a:lnTo>
                      <a:pt x="1180" y="1008"/>
                    </a:lnTo>
                    <a:lnTo>
                      <a:pt x="1172" y="1020"/>
                    </a:lnTo>
                    <a:lnTo>
                      <a:pt x="1150" y="1038"/>
                    </a:lnTo>
                    <a:lnTo>
                      <a:pt x="1148" y="1056"/>
                    </a:lnTo>
                    <a:lnTo>
                      <a:pt x="1152" y="1078"/>
                    </a:lnTo>
                    <a:lnTo>
                      <a:pt x="1136" y="1096"/>
                    </a:lnTo>
                    <a:lnTo>
                      <a:pt x="1148" y="1122"/>
                    </a:lnTo>
                    <a:lnTo>
                      <a:pt x="1142" y="1140"/>
                    </a:lnTo>
                    <a:lnTo>
                      <a:pt x="1116" y="1152"/>
                    </a:lnTo>
                    <a:lnTo>
                      <a:pt x="1092" y="1160"/>
                    </a:lnTo>
                    <a:lnTo>
                      <a:pt x="1080" y="1174"/>
                    </a:lnTo>
                    <a:lnTo>
                      <a:pt x="1048" y="1172"/>
                    </a:lnTo>
                    <a:lnTo>
                      <a:pt x="1048" y="1184"/>
                    </a:lnTo>
                    <a:lnTo>
                      <a:pt x="1030" y="1198"/>
                    </a:lnTo>
                    <a:lnTo>
                      <a:pt x="1010" y="1210"/>
                    </a:lnTo>
                    <a:lnTo>
                      <a:pt x="1004" y="1232"/>
                    </a:lnTo>
                    <a:lnTo>
                      <a:pt x="982" y="1248"/>
                    </a:lnTo>
                    <a:lnTo>
                      <a:pt x="954" y="1256"/>
                    </a:lnTo>
                    <a:lnTo>
                      <a:pt x="952" y="1276"/>
                    </a:lnTo>
                    <a:lnTo>
                      <a:pt x="924" y="1268"/>
                    </a:lnTo>
                    <a:lnTo>
                      <a:pt x="902" y="1270"/>
                    </a:lnTo>
                    <a:lnTo>
                      <a:pt x="882" y="1276"/>
                    </a:lnTo>
                    <a:lnTo>
                      <a:pt x="870" y="1302"/>
                    </a:lnTo>
                    <a:lnTo>
                      <a:pt x="856" y="1306"/>
                    </a:lnTo>
                    <a:lnTo>
                      <a:pt x="842" y="1328"/>
                    </a:lnTo>
                    <a:lnTo>
                      <a:pt x="828" y="1346"/>
                    </a:lnTo>
                    <a:lnTo>
                      <a:pt x="828" y="1378"/>
                    </a:lnTo>
                    <a:lnTo>
                      <a:pt x="812" y="1396"/>
                    </a:lnTo>
                    <a:lnTo>
                      <a:pt x="810" y="1414"/>
                    </a:lnTo>
                    <a:lnTo>
                      <a:pt x="808" y="1430"/>
                    </a:lnTo>
                    <a:lnTo>
                      <a:pt x="790" y="1428"/>
                    </a:lnTo>
                    <a:lnTo>
                      <a:pt x="776" y="1438"/>
                    </a:lnTo>
                    <a:lnTo>
                      <a:pt x="750" y="1428"/>
                    </a:lnTo>
                    <a:lnTo>
                      <a:pt x="740" y="1412"/>
                    </a:lnTo>
                    <a:lnTo>
                      <a:pt x="722" y="1414"/>
                    </a:lnTo>
                    <a:lnTo>
                      <a:pt x="710" y="1424"/>
                    </a:lnTo>
                    <a:lnTo>
                      <a:pt x="698" y="1408"/>
                    </a:lnTo>
                    <a:lnTo>
                      <a:pt x="688" y="1386"/>
                    </a:lnTo>
                    <a:lnTo>
                      <a:pt x="666" y="1390"/>
                    </a:lnTo>
                    <a:lnTo>
                      <a:pt x="654" y="1374"/>
                    </a:lnTo>
                    <a:lnTo>
                      <a:pt x="658" y="1350"/>
                    </a:lnTo>
                    <a:lnTo>
                      <a:pt x="658" y="1316"/>
                    </a:lnTo>
                    <a:lnTo>
                      <a:pt x="652" y="1298"/>
                    </a:lnTo>
                    <a:lnTo>
                      <a:pt x="640" y="1278"/>
                    </a:lnTo>
                    <a:lnTo>
                      <a:pt x="626" y="1294"/>
                    </a:lnTo>
                    <a:lnTo>
                      <a:pt x="622" y="1310"/>
                    </a:lnTo>
                    <a:lnTo>
                      <a:pt x="610" y="1328"/>
                    </a:lnTo>
                    <a:lnTo>
                      <a:pt x="594" y="1370"/>
                    </a:lnTo>
                    <a:lnTo>
                      <a:pt x="580" y="1378"/>
                    </a:lnTo>
                    <a:lnTo>
                      <a:pt x="570" y="1402"/>
                    </a:lnTo>
                    <a:lnTo>
                      <a:pt x="558" y="1414"/>
                    </a:lnTo>
                    <a:lnTo>
                      <a:pt x="552" y="1430"/>
                    </a:lnTo>
                    <a:lnTo>
                      <a:pt x="512" y="1440"/>
                    </a:lnTo>
                    <a:lnTo>
                      <a:pt x="490" y="1450"/>
                    </a:lnTo>
                    <a:lnTo>
                      <a:pt x="458" y="1462"/>
                    </a:lnTo>
                    <a:lnTo>
                      <a:pt x="436" y="1434"/>
                    </a:lnTo>
                    <a:lnTo>
                      <a:pt x="416" y="1426"/>
                    </a:lnTo>
                    <a:lnTo>
                      <a:pt x="408" y="1406"/>
                    </a:lnTo>
                    <a:lnTo>
                      <a:pt x="416" y="1380"/>
                    </a:lnTo>
                    <a:lnTo>
                      <a:pt x="430" y="1366"/>
                    </a:lnTo>
                    <a:lnTo>
                      <a:pt x="428" y="1340"/>
                    </a:lnTo>
                    <a:lnTo>
                      <a:pt x="452" y="1332"/>
                    </a:lnTo>
                    <a:lnTo>
                      <a:pt x="456" y="1318"/>
                    </a:lnTo>
                    <a:lnTo>
                      <a:pt x="448" y="1300"/>
                    </a:lnTo>
                    <a:lnTo>
                      <a:pt x="434" y="1290"/>
                    </a:lnTo>
                    <a:lnTo>
                      <a:pt x="414" y="1290"/>
                    </a:lnTo>
                    <a:lnTo>
                      <a:pt x="402" y="1300"/>
                    </a:lnTo>
                    <a:lnTo>
                      <a:pt x="382" y="1298"/>
                    </a:lnTo>
                    <a:lnTo>
                      <a:pt x="360" y="1298"/>
                    </a:lnTo>
                    <a:lnTo>
                      <a:pt x="338" y="1298"/>
                    </a:lnTo>
                    <a:lnTo>
                      <a:pt x="316" y="1300"/>
                    </a:lnTo>
                    <a:lnTo>
                      <a:pt x="322" y="1326"/>
                    </a:lnTo>
                    <a:lnTo>
                      <a:pt x="322" y="1336"/>
                    </a:lnTo>
                    <a:lnTo>
                      <a:pt x="310" y="1346"/>
                    </a:lnTo>
                    <a:lnTo>
                      <a:pt x="280" y="1348"/>
                    </a:lnTo>
                    <a:lnTo>
                      <a:pt x="262" y="1324"/>
                    </a:lnTo>
                    <a:lnTo>
                      <a:pt x="236" y="1320"/>
                    </a:lnTo>
                    <a:lnTo>
                      <a:pt x="236" y="1306"/>
                    </a:lnTo>
                    <a:lnTo>
                      <a:pt x="230" y="1288"/>
                    </a:lnTo>
                    <a:lnTo>
                      <a:pt x="216" y="1280"/>
                    </a:lnTo>
                    <a:lnTo>
                      <a:pt x="214" y="1268"/>
                    </a:lnTo>
                    <a:lnTo>
                      <a:pt x="182" y="1238"/>
                    </a:lnTo>
                    <a:lnTo>
                      <a:pt x="160" y="1220"/>
                    </a:lnTo>
                    <a:lnTo>
                      <a:pt x="158" y="1192"/>
                    </a:lnTo>
                    <a:lnTo>
                      <a:pt x="170" y="1184"/>
                    </a:lnTo>
                    <a:lnTo>
                      <a:pt x="184" y="1174"/>
                    </a:lnTo>
                    <a:lnTo>
                      <a:pt x="182" y="1164"/>
                    </a:lnTo>
                    <a:lnTo>
                      <a:pt x="190" y="1148"/>
                    </a:lnTo>
                    <a:lnTo>
                      <a:pt x="182" y="1138"/>
                    </a:lnTo>
                    <a:lnTo>
                      <a:pt x="160" y="1138"/>
                    </a:lnTo>
                    <a:lnTo>
                      <a:pt x="128" y="1136"/>
                    </a:lnTo>
                    <a:lnTo>
                      <a:pt x="84" y="1162"/>
                    </a:lnTo>
                    <a:lnTo>
                      <a:pt x="60" y="1156"/>
                    </a:lnTo>
                    <a:lnTo>
                      <a:pt x="62" y="1136"/>
                    </a:lnTo>
                    <a:lnTo>
                      <a:pt x="68" y="1122"/>
                    </a:lnTo>
                    <a:lnTo>
                      <a:pt x="74" y="1116"/>
                    </a:lnTo>
                    <a:lnTo>
                      <a:pt x="50" y="1098"/>
                    </a:lnTo>
                    <a:lnTo>
                      <a:pt x="38" y="1072"/>
                    </a:lnTo>
                    <a:lnTo>
                      <a:pt x="30" y="1046"/>
                    </a:lnTo>
                    <a:lnTo>
                      <a:pt x="26" y="1026"/>
                    </a:lnTo>
                    <a:lnTo>
                      <a:pt x="20" y="1010"/>
                    </a:lnTo>
                    <a:lnTo>
                      <a:pt x="12" y="984"/>
                    </a:lnTo>
                    <a:lnTo>
                      <a:pt x="0" y="954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77" name="Freeform 33"/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2344738" y="3082925"/>
                <a:ext cx="1628775" cy="1135063"/>
              </a:xfrm>
              <a:custGeom>
                <a:avLst/>
                <a:gdLst>
                  <a:gd name="T0" fmla="*/ 2147483647 w 993"/>
                  <a:gd name="T1" fmla="*/ 2147483647 h 721"/>
                  <a:gd name="T2" fmla="*/ 2147483647 w 993"/>
                  <a:gd name="T3" fmla="*/ 2147483647 h 721"/>
                  <a:gd name="T4" fmla="*/ 2147483647 w 993"/>
                  <a:gd name="T5" fmla="*/ 2147483647 h 721"/>
                  <a:gd name="T6" fmla="*/ 2147483647 w 993"/>
                  <a:gd name="T7" fmla="*/ 2147483647 h 721"/>
                  <a:gd name="T8" fmla="*/ 2147483647 w 993"/>
                  <a:gd name="T9" fmla="*/ 2147483647 h 721"/>
                  <a:gd name="T10" fmla="*/ 2147483647 w 993"/>
                  <a:gd name="T11" fmla="*/ 2147483647 h 721"/>
                  <a:gd name="T12" fmla="*/ 2147483647 w 993"/>
                  <a:gd name="T13" fmla="*/ 2147483647 h 721"/>
                  <a:gd name="T14" fmla="*/ 2147483647 w 993"/>
                  <a:gd name="T15" fmla="*/ 2147483647 h 721"/>
                  <a:gd name="T16" fmla="*/ 2147483647 w 993"/>
                  <a:gd name="T17" fmla="*/ 2147483647 h 721"/>
                  <a:gd name="T18" fmla="*/ 2147483647 w 993"/>
                  <a:gd name="T19" fmla="*/ 2147483647 h 721"/>
                  <a:gd name="T20" fmla="*/ 2147483647 w 993"/>
                  <a:gd name="T21" fmla="*/ 2147483647 h 721"/>
                  <a:gd name="T22" fmla="*/ 2147483647 w 993"/>
                  <a:gd name="T23" fmla="*/ 2147483647 h 721"/>
                  <a:gd name="T24" fmla="*/ 0 w 993"/>
                  <a:gd name="T25" fmla="*/ 2147483647 h 721"/>
                  <a:gd name="T26" fmla="*/ 0 w 993"/>
                  <a:gd name="T27" fmla="*/ 2147483647 h 721"/>
                  <a:gd name="T28" fmla="*/ 2147483647 w 993"/>
                  <a:gd name="T29" fmla="*/ 2147483647 h 721"/>
                  <a:gd name="T30" fmla="*/ 2147483647 w 993"/>
                  <a:gd name="T31" fmla="*/ 2147483647 h 721"/>
                  <a:gd name="T32" fmla="*/ 2147483647 w 993"/>
                  <a:gd name="T33" fmla="*/ 2147483647 h 721"/>
                  <a:gd name="T34" fmla="*/ 2147483647 w 993"/>
                  <a:gd name="T35" fmla="*/ 2147483647 h 721"/>
                  <a:gd name="T36" fmla="*/ 2147483647 w 993"/>
                  <a:gd name="T37" fmla="*/ 2147483647 h 721"/>
                  <a:gd name="T38" fmla="*/ 2147483647 w 993"/>
                  <a:gd name="T39" fmla="*/ 2147483647 h 721"/>
                  <a:gd name="T40" fmla="*/ 2147483647 w 993"/>
                  <a:gd name="T41" fmla="*/ 2147483647 h 721"/>
                  <a:gd name="T42" fmla="*/ 2147483647 w 993"/>
                  <a:gd name="T43" fmla="*/ 2147483647 h 721"/>
                  <a:gd name="T44" fmla="*/ 2147483647 w 993"/>
                  <a:gd name="T45" fmla="*/ 2147483647 h 721"/>
                  <a:gd name="T46" fmla="*/ 2147483647 w 993"/>
                  <a:gd name="T47" fmla="*/ 2147483647 h 721"/>
                  <a:gd name="T48" fmla="*/ 2147483647 w 993"/>
                  <a:gd name="T49" fmla="*/ 2147483647 h 721"/>
                  <a:gd name="T50" fmla="*/ 2147483647 w 993"/>
                  <a:gd name="T51" fmla="*/ 2147483647 h 721"/>
                  <a:gd name="T52" fmla="*/ 2147483647 w 993"/>
                  <a:gd name="T53" fmla="*/ 2147483647 h 721"/>
                  <a:gd name="T54" fmla="*/ 2147483647 w 993"/>
                  <a:gd name="T55" fmla="*/ 2147483647 h 721"/>
                  <a:gd name="T56" fmla="*/ 2147483647 w 993"/>
                  <a:gd name="T57" fmla="*/ 2147483647 h 721"/>
                  <a:gd name="T58" fmla="*/ 2147483647 w 993"/>
                  <a:gd name="T59" fmla="*/ 2147483647 h 721"/>
                  <a:gd name="T60" fmla="*/ 2147483647 w 993"/>
                  <a:gd name="T61" fmla="*/ 2147483647 h 721"/>
                  <a:gd name="T62" fmla="*/ 2147483647 w 993"/>
                  <a:gd name="T63" fmla="*/ 2147483647 h 721"/>
                  <a:gd name="T64" fmla="*/ 2147483647 w 993"/>
                  <a:gd name="T65" fmla="*/ 2147483647 h 721"/>
                  <a:gd name="T66" fmla="*/ 2147483647 w 993"/>
                  <a:gd name="T67" fmla="*/ 2147483647 h 721"/>
                  <a:gd name="T68" fmla="*/ 2147483647 w 993"/>
                  <a:gd name="T69" fmla="*/ 2147483647 h 721"/>
                  <a:gd name="T70" fmla="*/ 2147483647 w 993"/>
                  <a:gd name="T71" fmla="*/ 2147483647 h 721"/>
                  <a:gd name="T72" fmla="*/ 2147483647 w 993"/>
                  <a:gd name="T73" fmla="*/ 2147483647 h 721"/>
                  <a:gd name="T74" fmla="*/ 2147483647 w 993"/>
                  <a:gd name="T75" fmla="*/ 2147483647 h 721"/>
                  <a:gd name="T76" fmla="*/ 2147483647 w 993"/>
                  <a:gd name="T77" fmla="*/ 2147483647 h 721"/>
                  <a:gd name="T78" fmla="*/ 2147483647 w 993"/>
                  <a:gd name="T79" fmla="*/ 2147483647 h 721"/>
                  <a:gd name="T80" fmla="*/ 2147483647 w 993"/>
                  <a:gd name="T81" fmla="*/ 2147483647 h 721"/>
                  <a:gd name="T82" fmla="*/ 2147483647 w 993"/>
                  <a:gd name="T83" fmla="*/ 2147483647 h 721"/>
                  <a:gd name="T84" fmla="*/ 2147483647 w 993"/>
                  <a:gd name="T85" fmla="*/ 2147483647 h 721"/>
                  <a:gd name="T86" fmla="*/ 2147483647 w 993"/>
                  <a:gd name="T87" fmla="*/ 2147483647 h 721"/>
                  <a:gd name="T88" fmla="*/ 2147483647 w 993"/>
                  <a:gd name="T89" fmla="*/ 2147483647 h 721"/>
                  <a:gd name="T90" fmla="*/ 2147483647 w 993"/>
                  <a:gd name="T91" fmla="*/ 2147483647 h 721"/>
                  <a:gd name="T92" fmla="*/ 2147483647 w 993"/>
                  <a:gd name="T93" fmla="*/ 2147483647 h 721"/>
                  <a:gd name="T94" fmla="*/ 2147483647 w 993"/>
                  <a:gd name="T95" fmla="*/ 2147483647 h 721"/>
                  <a:gd name="T96" fmla="*/ 2147483647 w 993"/>
                  <a:gd name="T97" fmla="*/ 2147483647 h 721"/>
                  <a:gd name="T98" fmla="*/ 2147483647 w 993"/>
                  <a:gd name="T99" fmla="*/ 2147483647 h 721"/>
                  <a:gd name="T100" fmla="*/ 2147483647 w 993"/>
                  <a:gd name="T101" fmla="*/ 2147483647 h 721"/>
                  <a:gd name="T102" fmla="*/ 2147483647 w 993"/>
                  <a:gd name="T103" fmla="*/ 2147483647 h 721"/>
                  <a:gd name="T104" fmla="*/ 2147483647 w 993"/>
                  <a:gd name="T105" fmla="*/ 2147483647 h 721"/>
                  <a:gd name="T106" fmla="*/ 2147483647 w 993"/>
                  <a:gd name="T107" fmla="*/ 2147483647 h 721"/>
                  <a:gd name="T108" fmla="*/ 2147483647 w 993"/>
                  <a:gd name="T109" fmla="*/ 2147483647 h 721"/>
                  <a:gd name="T110" fmla="*/ 2147483647 w 993"/>
                  <a:gd name="T111" fmla="*/ 2147483647 h 721"/>
                  <a:gd name="T112" fmla="*/ 2147483647 w 993"/>
                  <a:gd name="T113" fmla="*/ 2147483647 h 721"/>
                  <a:gd name="T114" fmla="*/ 2147483647 w 993"/>
                  <a:gd name="T115" fmla="*/ 2147483647 h 721"/>
                  <a:gd name="T116" fmla="*/ 2147483647 w 993"/>
                  <a:gd name="T117" fmla="*/ 0 h 721"/>
                  <a:gd name="T118" fmla="*/ 2147483647 w 993"/>
                  <a:gd name="T119" fmla="*/ 2147483647 h 721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993"/>
                  <a:gd name="T181" fmla="*/ 0 h 721"/>
                  <a:gd name="T182" fmla="*/ 993 w 993"/>
                  <a:gd name="T183" fmla="*/ 721 h 721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993" h="721">
                    <a:moveTo>
                      <a:pt x="308" y="6"/>
                    </a:moveTo>
                    <a:lnTo>
                      <a:pt x="278" y="22"/>
                    </a:lnTo>
                    <a:lnTo>
                      <a:pt x="238" y="30"/>
                    </a:lnTo>
                    <a:lnTo>
                      <a:pt x="190" y="30"/>
                    </a:lnTo>
                    <a:lnTo>
                      <a:pt x="170" y="50"/>
                    </a:lnTo>
                    <a:lnTo>
                      <a:pt x="126" y="52"/>
                    </a:lnTo>
                    <a:lnTo>
                      <a:pt x="88" y="54"/>
                    </a:lnTo>
                    <a:lnTo>
                      <a:pt x="88" y="72"/>
                    </a:lnTo>
                    <a:lnTo>
                      <a:pt x="102" y="92"/>
                    </a:lnTo>
                    <a:lnTo>
                      <a:pt x="106" y="114"/>
                    </a:lnTo>
                    <a:lnTo>
                      <a:pt x="110" y="132"/>
                    </a:lnTo>
                    <a:lnTo>
                      <a:pt x="138" y="154"/>
                    </a:lnTo>
                    <a:lnTo>
                      <a:pt x="156" y="162"/>
                    </a:lnTo>
                    <a:lnTo>
                      <a:pt x="154" y="190"/>
                    </a:lnTo>
                    <a:lnTo>
                      <a:pt x="122" y="196"/>
                    </a:lnTo>
                    <a:lnTo>
                      <a:pt x="108" y="206"/>
                    </a:lnTo>
                    <a:lnTo>
                      <a:pt x="122" y="236"/>
                    </a:lnTo>
                    <a:lnTo>
                      <a:pt x="138" y="262"/>
                    </a:lnTo>
                    <a:lnTo>
                      <a:pt x="122" y="280"/>
                    </a:lnTo>
                    <a:lnTo>
                      <a:pt x="70" y="274"/>
                    </a:lnTo>
                    <a:lnTo>
                      <a:pt x="54" y="258"/>
                    </a:lnTo>
                    <a:lnTo>
                      <a:pt x="12" y="266"/>
                    </a:lnTo>
                    <a:lnTo>
                      <a:pt x="6" y="280"/>
                    </a:lnTo>
                    <a:lnTo>
                      <a:pt x="22" y="308"/>
                    </a:lnTo>
                    <a:lnTo>
                      <a:pt x="10" y="322"/>
                    </a:lnTo>
                    <a:lnTo>
                      <a:pt x="0" y="342"/>
                    </a:lnTo>
                    <a:lnTo>
                      <a:pt x="4" y="392"/>
                    </a:lnTo>
                    <a:lnTo>
                      <a:pt x="0" y="474"/>
                    </a:lnTo>
                    <a:lnTo>
                      <a:pt x="22" y="510"/>
                    </a:lnTo>
                    <a:lnTo>
                      <a:pt x="76" y="546"/>
                    </a:lnTo>
                    <a:lnTo>
                      <a:pt x="88" y="542"/>
                    </a:lnTo>
                    <a:lnTo>
                      <a:pt x="96" y="534"/>
                    </a:lnTo>
                    <a:lnTo>
                      <a:pt x="116" y="538"/>
                    </a:lnTo>
                    <a:lnTo>
                      <a:pt x="132" y="560"/>
                    </a:lnTo>
                    <a:lnTo>
                      <a:pt x="156" y="568"/>
                    </a:lnTo>
                    <a:lnTo>
                      <a:pt x="186" y="566"/>
                    </a:lnTo>
                    <a:lnTo>
                      <a:pt x="212" y="594"/>
                    </a:lnTo>
                    <a:lnTo>
                      <a:pt x="248" y="604"/>
                    </a:lnTo>
                    <a:lnTo>
                      <a:pt x="274" y="628"/>
                    </a:lnTo>
                    <a:lnTo>
                      <a:pt x="302" y="640"/>
                    </a:lnTo>
                    <a:lnTo>
                      <a:pt x="318" y="632"/>
                    </a:lnTo>
                    <a:lnTo>
                      <a:pt x="328" y="618"/>
                    </a:lnTo>
                    <a:lnTo>
                      <a:pt x="336" y="616"/>
                    </a:lnTo>
                    <a:lnTo>
                      <a:pt x="372" y="622"/>
                    </a:lnTo>
                    <a:lnTo>
                      <a:pt x="388" y="636"/>
                    </a:lnTo>
                    <a:lnTo>
                      <a:pt x="414" y="664"/>
                    </a:lnTo>
                    <a:lnTo>
                      <a:pt x="432" y="702"/>
                    </a:lnTo>
                    <a:lnTo>
                      <a:pt x="458" y="710"/>
                    </a:lnTo>
                    <a:lnTo>
                      <a:pt x="478" y="720"/>
                    </a:lnTo>
                    <a:lnTo>
                      <a:pt x="492" y="720"/>
                    </a:lnTo>
                    <a:lnTo>
                      <a:pt x="498" y="696"/>
                    </a:lnTo>
                    <a:lnTo>
                      <a:pt x="520" y="686"/>
                    </a:lnTo>
                    <a:lnTo>
                      <a:pt x="542" y="678"/>
                    </a:lnTo>
                    <a:lnTo>
                      <a:pt x="554" y="658"/>
                    </a:lnTo>
                    <a:lnTo>
                      <a:pt x="590" y="646"/>
                    </a:lnTo>
                    <a:lnTo>
                      <a:pt x="602" y="638"/>
                    </a:lnTo>
                    <a:lnTo>
                      <a:pt x="584" y="614"/>
                    </a:lnTo>
                    <a:lnTo>
                      <a:pt x="588" y="584"/>
                    </a:lnTo>
                    <a:lnTo>
                      <a:pt x="600" y="560"/>
                    </a:lnTo>
                    <a:lnTo>
                      <a:pt x="596" y="546"/>
                    </a:lnTo>
                    <a:lnTo>
                      <a:pt x="582" y="518"/>
                    </a:lnTo>
                    <a:lnTo>
                      <a:pt x="582" y="506"/>
                    </a:lnTo>
                    <a:lnTo>
                      <a:pt x="602" y="512"/>
                    </a:lnTo>
                    <a:lnTo>
                      <a:pt x="624" y="522"/>
                    </a:lnTo>
                    <a:lnTo>
                      <a:pt x="656" y="520"/>
                    </a:lnTo>
                    <a:lnTo>
                      <a:pt x="670" y="554"/>
                    </a:lnTo>
                    <a:lnTo>
                      <a:pt x="682" y="578"/>
                    </a:lnTo>
                    <a:lnTo>
                      <a:pt x="706" y="610"/>
                    </a:lnTo>
                    <a:lnTo>
                      <a:pt x="722" y="624"/>
                    </a:lnTo>
                    <a:lnTo>
                      <a:pt x="782" y="628"/>
                    </a:lnTo>
                    <a:lnTo>
                      <a:pt x="804" y="646"/>
                    </a:lnTo>
                    <a:lnTo>
                      <a:pt x="836" y="644"/>
                    </a:lnTo>
                    <a:lnTo>
                      <a:pt x="864" y="594"/>
                    </a:lnTo>
                    <a:lnTo>
                      <a:pt x="912" y="588"/>
                    </a:lnTo>
                    <a:lnTo>
                      <a:pt x="932" y="592"/>
                    </a:lnTo>
                    <a:lnTo>
                      <a:pt x="950" y="576"/>
                    </a:lnTo>
                    <a:lnTo>
                      <a:pt x="940" y="548"/>
                    </a:lnTo>
                    <a:lnTo>
                      <a:pt x="894" y="526"/>
                    </a:lnTo>
                    <a:lnTo>
                      <a:pt x="860" y="520"/>
                    </a:lnTo>
                    <a:lnTo>
                      <a:pt x="842" y="518"/>
                    </a:lnTo>
                    <a:lnTo>
                      <a:pt x="846" y="500"/>
                    </a:lnTo>
                    <a:lnTo>
                      <a:pt x="880" y="502"/>
                    </a:lnTo>
                    <a:lnTo>
                      <a:pt x="898" y="490"/>
                    </a:lnTo>
                    <a:lnTo>
                      <a:pt x="902" y="456"/>
                    </a:lnTo>
                    <a:lnTo>
                      <a:pt x="896" y="438"/>
                    </a:lnTo>
                    <a:lnTo>
                      <a:pt x="936" y="426"/>
                    </a:lnTo>
                    <a:lnTo>
                      <a:pt x="942" y="392"/>
                    </a:lnTo>
                    <a:lnTo>
                      <a:pt x="962" y="388"/>
                    </a:lnTo>
                    <a:lnTo>
                      <a:pt x="992" y="332"/>
                    </a:lnTo>
                    <a:lnTo>
                      <a:pt x="974" y="324"/>
                    </a:lnTo>
                    <a:lnTo>
                      <a:pt x="974" y="286"/>
                    </a:lnTo>
                    <a:lnTo>
                      <a:pt x="958" y="266"/>
                    </a:lnTo>
                    <a:lnTo>
                      <a:pt x="956" y="238"/>
                    </a:lnTo>
                    <a:lnTo>
                      <a:pt x="946" y="200"/>
                    </a:lnTo>
                    <a:lnTo>
                      <a:pt x="920" y="182"/>
                    </a:lnTo>
                    <a:lnTo>
                      <a:pt x="888" y="186"/>
                    </a:lnTo>
                    <a:lnTo>
                      <a:pt x="880" y="170"/>
                    </a:lnTo>
                    <a:lnTo>
                      <a:pt x="848" y="148"/>
                    </a:lnTo>
                    <a:lnTo>
                      <a:pt x="808" y="126"/>
                    </a:lnTo>
                    <a:lnTo>
                      <a:pt x="800" y="88"/>
                    </a:lnTo>
                    <a:lnTo>
                      <a:pt x="782" y="72"/>
                    </a:lnTo>
                    <a:lnTo>
                      <a:pt x="776" y="86"/>
                    </a:lnTo>
                    <a:lnTo>
                      <a:pt x="760" y="90"/>
                    </a:lnTo>
                    <a:lnTo>
                      <a:pt x="746" y="86"/>
                    </a:lnTo>
                    <a:lnTo>
                      <a:pt x="728" y="52"/>
                    </a:lnTo>
                    <a:lnTo>
                      <a:pt x="694" y="40"/>
                    </a:lnTo>
                    <a:lnTo>
                      <a:pt x="672" y="36"/>
                    </a:lnTo>
                    <a:lnTo>
                      <a:pt x="660" y="50"/>
                    </a:lnTo>
                    <a:lnTo>
                      <a:pt x="618" y="46"/>
                    </a:lnTo>
                    <a:lnTo>
                      <a:pt x="610" y="24"/>
                    </a:lnTo>
                    <a:lnTo>
                      <a:pt x="588" y="22"/>
                    </a:lnTo>
                    <a:lnTo>
                      <a:pt x="550" y="70"/>
                    </a:lnTo>
                    <a:lnTo>
                      <a:pt x="520" y="72"/>
                    </a:lnTo>
                    <a:lnTo>
                      <a:pt x="498" y="48"/>
                    </a:lnTo>
                    <a:lnTo>
                      <a:pt x="468" y="44"/>
                    </a:lnTo>
                    <a:lnTo>
                      <a:pt x="444" y="28"/>
                    </a:lnTo>
                    <a:lnTo>
                      <a:pt x="414" y="8"/>
                    </a:lnTo>
                    <a:lnTo>
                      <a:pt x="378" y="0"/>
                    </a:lnTo>
                    <a:lnTo>
                      <a:pt x="356" y="0"/>
                    </a:lnTo>
                    <a:lnTo>
                      <a:pt x="330" y="8"/>
                    </a:lnTo>
                    <a:lnTo>
                      <a:pt x="308" y="6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78" name="Freeform 34"/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100513" y="3151188"/>
                <a:ext cx="404812" cy="576262"/>
              </a:xfrm>
              <a:custGeom>
                <a:avLst/>
                <a:gdLst>
                  <a:gd name="T0" fmla="*/ 0 w 246"/>
                  <a:gd name="T1" fmla="*/ 2147483647 h 366"/>
                  <a:gd name="T2" fmla="*/ 2147483647 w 246"/>
                  <a:gd name="T3" fmla="*/ 2147483647 h 366"/>
                  <a:gd name="T4" fmla="*/ 2147483647 w 246"/>
                  <a:gd name="T5" fmla="*/ 2147483647 h 366"/>
                  <a:gd name="T6" fmla="*/ 2147483647 w 246"/>
                  <a:gd name="T7" fmla="*/ 2147483647 h 366"/>
                  <a:gd name="T8" fmla="*/ 2147483647 w 246"/>
                  <a:gd name="T9" fmla="*/ 2147483647 h 366"/>
                  <a:gd name="T10" fmla="*/ 2147483647 w 246"/>
                  <a:gd name="T11" fmla="*/ 2147483647 h 366"/>
                  <a:gd name="T12" fmla="*/ 2147483647 w 246"/>
                  <a:gd name="T13" fmla="*/ 2147483647 h 366"/>
                  <a:gd name="T14" fmla="*/ 2147483647 w 246"/>
                  <a:gd name="T15" fmla="*/ 2147483647 h 366"/>
                  <a:gd name="T16" fmla="*/ 2147483647 w 246"/>
                  <a:gd name="T17" fmla="*/ 2147483647 h 366"/>
                  <a:gd name="T18" fmla="*/ 2147483647 w 246"/>
                  <a:gd name="T19" fmla="*/ 2147483647 h 366"/>
                  <a:gd name="T20" fmla="*/ 2147483647 w 246"/>
                  <a:gd name="T21" fmla="*/ 2147483647 h 366"/>
                  <a:gd name="T22" fmla="*/ 2147483647 w 246"/>
                  <a:gd name="T23" fmla="*/ 2147483647 h 366"/>
                  <a:gd name="T24" fmla="*/ 2147483647 w 246"/>
                  <a:gd name="T25" fmla="*/ 2147483647 h 366"/>
                  <a:gd name="T26" fmla="*/ 2147483647 w 246"/>
                  <a:gd name="T27" fmla="*/ 2147483647 h 366"/>
                  <a:gd name="T28" fmla="*/ 2147483647 w 246"/>
                  <a:gd name="T29" fmla="*/ 2147483647 h 366"/>
                  <a:gd name="T30" fmla="*/ 2147483647 w 246"/>
                  <a:gd name="T31" fmla="*/ 2147483647 h 366"/>
                  <a:gd name="T32" fmla="*/ 2147483647 w 246"/>
                  <a:gd name="T33" fmla="*/ 2147483647 h 366"/>
                  <a:gd name="T34" fmla="*/ 2147483647 w 246"/>
                  <a:gd name="T35" fmla="*/ 2147483647 h 366"/>
                  <a:gd name="T36" fmla="*/ 2147483647 w 246"/>
                  <a:gd name="T37" fmla="*/ 2147483647 h 366"/>
                  <a:gd name="T38" fmla="*/ 2147483647 w 246"/>
                  <a:gd name="T39" fmla="*/ 2147483647 h 366"/>
                  <a:gd name="T40" fmla="*/ 2147483647 w 246"/>
                  <a:gd name="T41" fmla="*/ 2147483647 h 366"/>
                  <a:gd name="T42" fmla="*/ 2147483647 w 246"/>
                  <a:gd name="T43" fmla="*/ 2147483647 h 366"/>
                  <a:gd name="T44" fmla="*/ 2147483647 w 246"/>
                  <a:gd name="T45" fmla="*/ 2147483647 h 366"/>
                  <a:gd name="T46" fmla="*/ 2147483647 w 246"/>
                  <a:gd name="T47" fmla="*/ 2147483647 h 366"/>
                  <a:gd name="T48" fmla="*/ 2147483647 w 246"/>
                  <a:gd name="T49" fmla="*/ 2147483647 h 366"/>
                  <a:gd name="T50" fmla="*/ 2147483647 w 246"/>
                  <a:gd name="T51" fmla="*/ 2147483647 h 366"/>
                  <a:gd name="T52" fmla="*/ 2147483647 w 246"/>
                  <a:gd name="T53" fmla="*/ 2147483647 h 366"/>
                  <a:gd name="T54" fmla="*/ 2147483647 w 246"/>
                  <a:gd name="T55" fmla="*/ 2147483647 h 366"/>
                  <a:gd name="T56" fmla="*/ 2147483647 w 246"/>
                  <a:gd name="T57" fmla="*/ 2147483647 h 366"/>
                  <a:gd name="T58" fmla="*/ 2147483647 w 246"/>
                  <a:gd name="T59" fmla="*/ 0 h 366"/>
                  <a:gd name="T60" fmla="*/ 2147483647 w 246"/>
                  <a:gd name="T61" fmla="*/ 2147483647 h 366"/>
                  <a:gd name="T62" fmla="*/ 2147483647 w 246"/>
                  <a:gd name="T63" fmla="*/ 2147483647 h 366"/>
                  <a:gd name="T64" fmla="*/ 2147483647 w 246"/>
                  <a:gd name="T65" fmla="*/ 2147483647 h 366"/>
                  <a:gd name="T66" fmla="*/ 2147483647 w 246"/>
                  <a:gd name="T67" fmla="*/ 2147483647 h 366"/>
                  <a:gd name="T68" fmla="*/ 2147483647 w 246"/>
                  <a:gd name="T69" fmla="*/ 2147483647 h 366"/>
                  <a:gd name="T70" fmla="*/ 2147483647 w 246"/>
                  <a:gd name="T71" fmla="*/ 2147483647 h 366"/>
                  <a:gd name="T72" fmla="*/ 2147483647 w 246"/>
                  <a:gd name="T73" fmla="*/ 2147483647 h 366"/>
                  <a:gd name="T74" fmla="*/ 2147483647 w 246"/>
                  <a:gd name="T75" fmla="*/ 2147483647 h 366"/>
                  <a:gd name="T76" fmla="*/ 0 w 246"/>
                  <a:gd name="T77" fmla="*/ 2147483647 h 36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246"/>
                  <a:gd name="T118" fmla="*/ 0 h 366"/>
                  <a:gd name="T119" fmla="*/ 246 w 246"/>
                  <a:gd name="T120" fmla="*/ 366 h 36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246" h="366">
                    <a:moveTo>
                      <a:pt x="0" y="183"/>
                    </a:moveTo>
                    <a:lnTo>
                      <a:pt x="32" y="210"/>
                    </a:lnTo>
                    <a:lnTo>
                      <a:pt x="66" y="240"/>
                    </a:lnTo>
                    <a:lnTo>
                      <a:pt x="48" y="258"/>
                    </a:lnTo>
                    <a:lnTo>
                      <a:pt x="69" y="275"/>
                    </a:lnTo>
                    <a:lnTo>
                      <a:pt x="96" y="297"/>
                    </a:lnTo>
                    <a:lnTo>
                      <a:pt x="108" y="333"/>
                    </a:lnTo>
                    <a:lnTo>
                      <a:pt x="135" y="348"/>
                    </a:lnTo>
                    <a:lnTo>
                      <a:pt x="162" y="363"/>
                    </a:lnTo>
                    <a:lnTo>
                      <a:pt x="186" y="366"/>
                    </a:lnTo>
                    <a:lnTo>
                      <a:pt x="201" y="339"/>
                    </a:lnTo>
                    <a:lnTo>
                      <a:pt x="219" y="330"/>
                    </a:lnTo>
                    <a:lnTo>
                      <a:pt x="231" y="321"/>
                    </a:lnTo>
                    <a:lnTo>
                      <a:pt x="225" y="303"/>
                    </a:lnTo>
                    <a:lnTo>
                      <a:pt x="219" y="282"/>
                    </a:lnTo>
                    <a:lnTo>
                      <a:pt x="195" y="288"/>
                    </a:lnTo>
                    <a:lnTo>
                      <a:pt x="192" y="276"/>
                    </a:lnTo>
                    <a:lnTo>
                      <a:pt x="195" y="252"/>
                    </a:lnTo>
                    <a:lnTo>
                      <a:pt x="195" y="237"/>
                    </a:lnTo>
                    <a:lnTo>
                      <a:pt x="216" y="210"/>
                    </a:lnTo>
                    <a:lnTo>
                      <a:pt x="225" y="195"/>
                    </a:lnTo>
                    <a:lnTo>
                      <a:pt x="246" y="159"/>
                    </a:lnTo>
                    <a:lnTo>
                      <a:pt x="237" y="177"/>
                    </a:lnTo>
                    <a:lnTo>
                      <a:pt x="240" y="135"/>
                    </a:lnTo>
                    <a:lnTo>
                      <a:pt x="228" y="111"/>
                    </a:lnTo>
                    <a:lnTo>
                      <a:pt x="198" y="111"/>
                    </a:lnTo>
                    <a:lnTo>
                      <a:pt x="189" y="90"/>
                    </a:lnTo>
                    <a:lnTo>
                      <a:pt x="198" y="54"/>
                    </a:lnTo>
                    <a:lnTo>
                      <a:pt x="189" y="24"/>
                    </a:lnTo>
                    <a:lnTo>
                      <a:pt x="177" y="0"/>
                    </a:lnTo>
                    <a:lnTo>
                      <a:pt x="159" y="27"/>
                    </a:lnTo>
                    <a:lnTo>
                      <a:pt x="144" y="57"/>
                    </a:lnTo>
                    <a:lnTo>
                      <a:pt x="138" y="84"/>
                    </a:lnTo>
                    <a:lnTo>
                      <a:pt x="114" y="102"/>
                    </a:lnTo>
                    <a:lnTo>
                      <a:pt x="105" y="129"/>
                    </a:lnTo>
                    <a:lnTo>
                      <a:pt x="90" y="153"/>
                    </a:lnTo>
                    <a:lnTo>
                      <a:pt x="51" y="165"/>
                    </a:lnTo>
                    <a:lnTo>
                      <a:pt x="27" y="174"/>
                    </a:lnTo>
                    <a:lnTo>
                      <a:pt x="0" y="183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  <p:sp>
            <p:nvSpPr>
              <p:cNvPr id="79" name="Freeform 35"/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273550" y="4156075"/>
                <a:ext cx="587375" cy="534988"/>
              </a:xfrm>
              <a:custGeom>
                <a:avLst/>
                <a:gdLst>
                  <a:gd name="T0" fmla="*/ 2147483647 w 360"/>
                  <a:gd name="T1" fmla="*/ 2147483647 h 339"/>
                  <a:gd name="T2" fmla="*/ 2147483647 w 360"/>
                  <a:gd name="T3" fmla="*/ 2147483647 h 339"/>
                  <a:gd name="T4" fmla="*/ 2147483647 w 360"/>
                  <a:gd name="T5" fmla="*/ 2147483647 h 339"/>
                  <a:gd name="T6" fmla="*/ 2147483647 w 360"/>
                  <a:gd name="T7" fmla="*/ 2147483647 h 339"/>
                  <a:gd name="T8" fmla="*/ 2147483647 w 360"/>
                  <a:gd name="T9" fmla="*/ 2147483647 h 339"/>
                  <a:gd name="T10" fmla="*/ 2147483647 w 360"/>
                  <a:gd name="T11" fmla="*/ 2147483647 h 339"/>
                  <a:gd name="T12" fmla="*/ 2147483647 w 360"/>
                  <a:gd name="T13" fmla="*/ 2147483647 h 339"/>
                  <a:gd name="T14" fmla="*/ 2147483647 w 360"/>
                  <a:gd name="T15" fmla="*/ 2147483647 h 339"/>
                  <a:gd name="T16" fmla="*/ 2147483647 w 360"/>
                  <a:gd name="T17" fmla="*/ 2147483647 h 339"/>
                  <a:gd name="T18" fmla="*/ 2147483647 w 360"/>
                  <a:gd name="T19" fmla="*/ 2147483647 h 339"/>
                  <a:gd name="T20" fmla="*/ 2147483647 w 360"/>
                  <a:gd name="T21" fmla="*/ 2147483647 h 339"/>
                  <a:gd name="T22" fmla="*/ 2147483647 w 360"/>
                  <a:gd name="T23" fmla="*/ 2147483647 h 339"/>
                  <a:gd name="T24" fmla="*/ 2147483647 w 360"/>
                  <a:gd name="T25" fmla="*/ 2147483647 h 339"/>
                  <a:gd name="T26" fmla="*/ 2147483647 w 360"/>
                  <a:gd name="T27" fmla="*/ 2147483647 h 339"/>
                  <a:gd name="T28" fmla="*/ 2147483647 w 360"/>
                  <a:gd name="T29" fmla="*/ 2147483647 h 339"/>
                  <a:gd name="T30" fmla="*/ 0 w 360"/>
                  <a:gd name="T31" fmla="*/ 2147483647 h 339"/>
                  <a:gd name="T32" fmla="*/ 2147483647 w 360"/>
                  <a:gd name="T33" fmla="*/ 2147483647 h 339"/>
                  <a:gd name="T34" fmla="*/ 2147483647 w 360"/>
                  <a:gd name="T35" fmla="*/ 2147483647 h 339"/>
                  <a:gd name="T36" fmla="*/ 2147483647 w 360"/>
                  <a:gd name="T37" fmla="*/ 2147483647 h 339"/>
                  <a:gd name="T38" fmla="*/ 2147483647 w 360"/>
                  <a:gd name="T39" fmla="*/ 2147483647 h 339"/>
                  <a:gd name="T40" fmla="*/ 2147483647 w 360"/>
                  <a:gd name="T41" fmla="*/ 2147483647 h 339"/>
                  <a:gd name="T42" fmla="*/ 2147483647 w 360"/>
                  <a:gd name="T43" fmla="*/ 2147483647 h 339"/>
                  <a:gd name="T44" fmla="*/ 2147483647 w 360"/>
                  <a:gd name="T45" fmla="*/ 2147483647 h 339"/>
                  <a:gd name="T46" fmla="*/ 2147483647 w 360"/>
                  <a:gd name="T47" fmla="*/ 2147483647 h 339"/>
                  <a:gd name="T48" fmla="*/ 2147483647 w 360"/>
                  <a:gd name="T49" fmla="*/ 2147483647 h 339"/>
                  <a:gd name="T50" fmla="*/ 2147483647 w 360"/>
                  <a:gd name="T51" fmla="*/ 2147483647 h 339"/>
                  <a:gd name="T52" fmla="*/ 2147483647 w 360"/>
                  <a:gd name="T53" fmla="*/ 2147483647 h 339"/>
                  <a:gd name="T54" fmla="*/ 2147483647 w 360"/>
                  <a:gd name="T55" fmla="*/ 2147483647 h 339"/>
                  <a:gd name="T56" fmla="*/ 2147483647 w 360"/>
                  <a:gd name="T57" fmla="*/ 2147483647 h 339"/>
                  <a:gd name="T58" fmla="*/ 2147483647 w 360"/>
                  <a:gd name="T59" fmla="*/ 2147483647 h 339"/>
                  <a:gd name="T60" fmla="*/ 2147483647 w 360"/>
                  <a:gd name="T61" fmla="*/ 2147483647 h 339"/>
                  <a:gd name="T62" fmla="*/ 2147483647 w 360"/>
                  <a:gd name="T63" fmla="*/ 2147483647 h 339"/>
                  <a:gd name="T64" fmla="*/ 2147483647 w 360"/>
                  <a:gd name="T65" fmla="*/ 2147483647 h 339"/>
                  <a:gd name="T66" fmla="*/ 2147483647 w 360"/>
                  <a:gd name="T67" fmla="*/ 2147483647 h 339"/>
                  <a:gd name="T68" fmla="*/ 2147483647 w 360"/>
                  <a:gd name="T69" fmla="*/ 2147483647 h 339"/>
                  <a:gd name="T70" fmla="*/ 2147483647 w 360"/>
                  <a:gd name="T71" fmla="*/ 2147483647 h 339"/>
                  <a:gd name="T72" fmla="*/ 2147483647 w 360"/>
                  <a:gd name="T73" fmla="*/ 2147483647 h 339"/>
                  <a:gd name="T74" fmla="*/ 2147483647 w 360"/>
                  <a:gd name="T75" fmla="*/ 2147483647 h 339"/>
                  <a:gd name="T76" fmla="*/ 2147483647 w 360"/>
                  <a:gd name="T77" fmla="*/ 2147483647 h 339"/>
                  <a:gd name="T78" fmla="*/ 2147483647 w 360"/>
                  <a:gd name="T79" fmla="*/ 2147483647 h 339"/>
                  <a:gd name="T80" fmla="*/ 2147483647 w 360"/>
                  <a:gd name="T81" fmla="*/ 2147483647 h 339"/>
                  <a:gd name="T82" fmla="*/ 2147483647 w 360"/>
                  <a:gd name="T83" fmla="*/ 2147483647 h 339"/>
                  <a:gd name="T84" fmla="*/ 2147483647 w 360"/>
                  <a:gd name="T85" fmla="*/ 2147483647 h 339"/>
                  <a:gd name="T86" fmla="*/ 2147483647 w 360"/>
                  <a:gd name="T87" fmla="*/ 2147483647 h 339"/>
                  <a:gd name="T88" fmla="*/ 2147483647 w 360"/>
                  <a:gd name="T89" fmla="*/ 0 h 339"/>
                  <a:gd name="T90" fmla="*/ 2147483647 w 360"/>
                  <a:gd name="T91" fmla="*/ 2147483647 h 339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60"/>
                  <a:gd name="T139" fmla="*/ 0 h 339"/>
                  <a:gd name="T140" fmla="*/ 360 w 360"/>
                  <a:gd name="T141" fmla="*/ 339 h 339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60" h="339">
                    <a:moveTo>
                      <a:pt x="210" y="9"/>
                    </a:moveTo>
                    <a:lnTo>
                      <a:pt x="210" y="45"/>
                    </a:lnTo>
                    <a:lnTo>
                      <a:pt x="180" y="72"/>
                    </a:lnTo>
                    <a:lnTo>
                      <a:pt x="180" y="99"/>
                    </a:lnTo>
                    <a:lnTo>
                      <a:pt x="153" y="111"/>
                    </a:lnTo>
                    <a:lnTo>
                      <a:pt x="150" y="156"/>
                    </a:lnTo>
                    <a:lnTo>
                      <a:pt x="132" y="180"/>
                    </a:lnTo>
                    <a:lnTo>
                      <a:pt x="99" y="201"/>
                    </a:lnTo>
                    <a:lnTo>
                      <a:pt x="60" y="210"/>
                    </a:lnTo>
                    <a:lnTo>
                      <a:pt x="39" y="216"/>
                    </a:lnTo>
                    <a:lnTo>
                      <a:pt x="30" y="216"/>
                    </a:lnTo>
                    <a:lnTo>
                      <a:pt x="15" y="225"/>
                    </a:lnTo>
                    <a:lnTo>
                      <a:pt x="12" y="237"/>
                    </a:lnTo>
                    <a:lnTo>
                      <a:pt x="18" y="255"/>
                    </a:lnTo>
                    <a:lnTo>
                      <a:pt x="9" y="267"/>
                    </a:lnTo>
                    <a:lnTo>
                      <a:pt x="0" y="285"/>
                    </a:lnTo>
                    <a:lnTo>
                      <a:pt x="18" y="297"/>
                    </a:lnTo>
                    <a:lnTo>
                      <a:pt x="51" y="330"/>
                    </a:lnTo>
                    <a:lnTo>
                      <a:pt x="68" y="327"/>
                    </a:lnTo>
                    <a:lnTo>
                      <a:pt x="93" y="327"/>
                    </a:lnTo>
                    <a:lnTo>
                      <a:pt x="120" y="297"/>
                    </a:lnTo>
                    <a:lnTo>
                      <a:pt x="147" y="300"/>
                    </a:lnTo>
                    <a:lnTo>
                      <a:pt x="141" y="264"/>
                    </a:lnTo>
                    <a:lnTo>
                      <a:pt x="171" y="261"/>
                    </a:lnTo>
                    <a:lnTo>
                      <a:pt x="192" y="282"/>
                    </a:lnTo>
                    <a:lnTo>
                      <a:pt x="222" y="276"/>
                    </a:lnTo>
                    <a:lnTo>
                      <a:pt x="228" y="309"/>
                    </a:lnTo>
                    <a:lnTo>
                      <a:pt x="255" y="324"/>
                    </a:lnTo>
                    <a:lnTo>
                      <a:pt x="267" y="339"/>
                    </a:lnTo>
                    <a:lnTo>
                      <a:pt x="300" y="327"/>
                    </a:lnTo>
                    <a:lnTo>
                      <a:pt x="303" y="264"/>
                    </a:lnTo>
                    <a:lnTo>
                      <a:pt x="270" y="249"/>
                    </a:lnTo>
                    <a:lnTo>
                      <a:pt x="252" y="222"/>
                    </a:lnTo>
                    <a:lnTo>
                      <a:pt x="234" y="180"/>
                    </a:lnTo>
                    <a:lnTo>
                      <a:pt x="252" y="153"/>
                    </a:lnTo>
                    <a:lnTo>
                      <a:pt x="291" y="150"/>
                    </a:lnTo>
                    <a:lnTo>
                      <a:pt x="300" y="129"/>
                    </a:lnTo>
                    <a:lnTo>
                      <a:pt x="339" y="117"/>
                    </a:lnTo>
                    <a:lnTo>
                      <a:pt x="360" y="93"/>
                    </a:lnTo>
                    <a:lnTo>
                      <a:pt x="357" y="57"/>
                    </a:lnTo>
                    <a:lnTo>
                      <a:pt x="351" y="21"/>
                    </a:lnTo>
                    <a:lnTo>
                      <a:pt x="312" y="24"/>
                    </a:lnTo>
                    <a:lnTo>
                      <a:pt x="264" y="33"/>
                    </a:lnTo>
                    <a:lnTo>
                      <a:pt x="264" y="12"/>
                    </a:lnTo>
                    <a:lnTo>
                      <a:pt x="243" y="0"/>
                    </a:lnTo>
                    <a:lnTo>
                      <a:pt x="210" y="9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Ins="18288"/>
              <a:lstStyle/>
              <a:p>
                <a:endParaRPr lang="en-US" dirty="0"/>
              </a:p>
            </p:txBody>
          </p:sp>
        </p:grpSp>
        <p:pic>
          <p:nvPicPr>
            <p:cNvPr id="92" name="Picture 91" descr="Chinese workers.JPG"/>
            <p:cNvPicPr>
              <a:picLocks noChangeAspect="1"/>
            </p:cNvPicPr>
            <p:nvPr/>
          </p:nvPicPr>
          <p:blipFill>
            <a:blip r:embed="rId36" cstate="screen"/>
            <a:stretch>
              <a:fillRect/>
            </a:stretch>
          </p:blipFill>
          <p:spPr bwMode="gray">
            <a:xfrm>
              <a:off x="466725" y="3599204"/>
              <a:ext cx="2917687" cy="2156640"/>
            </a:xfrm>
            <a:prstGeom prst="rect">
              <a:avLst/>
            </a:prstGeom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93" name="Picture 92" descr="Chinese workers 2.JPG"/>
            <p:cNvPicPr>
              <a:picLocks noChangeAspect="1"/>
            </p:cNvPicPr>
            <p:nvPr/>
          </p:nvPicPr>
          <p:blipFill>
            <a:blip r:embed="rId37" cstate="screen"/>
            <a:stretch>
              <a:fillRect/>
            </a:stretch>
          </p:blipFill>
          <p:spPr bwMode="gray">
            <a:xfrm>
              <a:off x="6799110" y="1314995"/>
              <a:ext cx="2668740" cy="1973005"/>
            </a:xfrm>
            <a:prstGeom prst="rect">
              <a:avLst/>
            </a:prstGeom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/>
        </p:nvGraphicFramePr>
        <p:xfrm>
          <a:off x="0" y="0"/>
          <a:ext cx="163763" cy="158750"/>
        </p:xfrm>
        <a:graphic>
          <a:graphicData uri="http://schemas.openxmlformats.org/presentationml/2006/ole">
            <p:oleObj spid="_x0000_s56322" name="think-cell Slide" r:id="rId8" imgW="360" imgH="360" progId="TCLayout.ActiveDocument.1">
              <p:embed/>
            </p:oleObj>
          </a:graphicData>
        </a:graphic>
      </p:graphicFrame>
      <p:grpSp>
        <p:nvGrpSpPr>
          <p:cNvPr id="2" name="Group 80"/>
          <p:cNvGrpSpPr/>
          <p:nvPr>
            <p:custDataLst>
              <p:tags r:id="rId2"/>
            </p:custDataLst>
          </p:nvPr>
        </p:nvGrpSpPr>
        <p:grpSpPr bwMode="gray">
          <a:xfrm>
            <a:off x="380151" y="1290918"/>
            <a:ext cx="9125762" cy="3535082"/>
            <a:chOff x="368515" y="1290918"/>
            <a:chExt cx="8846432" cy="3535082"/>
          </a:xfrm>
        </p:grpSpPr>
        <p:pic>
          <p:nvPicPr>
            <p:cNvPr id="39" name="Picture 4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9" cstate="screen"/>
            <a:srcRect l="10417" t="40155" r="65978" b="23824"/>
            <a:stretch>
              <a:fillRect/>
            </a:stretch>
          </p:blipFill>
          <p:spPr bwMode="gray">
            <a:xfrm>
              <a:off x="4255242" y="2033834"/>
              <a:ext cx="3121112" cy="2790332"/>
            </a:xfrm>
            <a:prstGeom prst="rect">
              <a:avLst/>
            </a:prstGeom>
            <a:noFill/>
            <a:ln w="3175" cap="flat" cmpd="sng" algn="ctr">
              <a:solidFill>
                <a:schemeClr val="tx1"/>
              </a:solidFill>
              <a:prstDash val="solid"/>
              <a:miter lim="800000"/>
              <a:headEnd type="none" w="lg" len="lg"/>
              <a:tailEnd type="none" w="lg" len="lg"/>
            </a:ln>
          </p:spPr>
        </p:pic>
        <p:sp>
          <p:nvSpPr>
            <p:cNvPr id="41" name="Rounded Rectangular Callout 40"/>
            <p:cNvSpPr/>
            <p:nvPr>
              <p:custDataLst>
                <p:tags r:id="rId4"/>
              </p:custDataLst>
            </p:nvPr>
          </p:nvSpPr>
          <p:spPr bwMode="gray">
            <a:xfrm>
              <a:off x="5838733" y="1290918"/>
              <a:ext cx="1512316" cy="503215"/>
            </a:xfrm>
            <a:prstGeom prst="wedgeRoundRectCallout">
              <a:avLst>
                <a:gd name="adj1" fmla="val -23878"/>
                <a:gd name="adj2" fmla="val 248710"/>
                <a:gd name="adj3" fmla="val 16667"/>
              </a:avLst>
            </a:prstGeom>
            <a:solidFill>
              <a:schemeClr val="bg2"/>
            </a:solidFill>
            <a:ln w="3175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</a:rPr>
                <a:t>In Glen Burnie, Maryland</a:t>
              </a:r>
            </a:p>
          </p:txBody>
        </p:sp>
        <p:pic>
          <p:nvPicPr>
            <p:cNvPr id="103" name="Picture 102" descr="Future of made in america.JPG"/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10" cstate="screen"/>
            <a:srcRect t="1476"/>
            <a:stretch>
              <a:fillRect/>
            </a:stretch>
          </p:blipFill>
          <p:spPr bwMode="gray">
            <a:xfrm>
              <a:off x="6993521" y="2032000"/>
              <a:ext cx="2221426" cy="2794000"/>
            </a:xfrm>
            <a:prstGeom prst="rect">
              <a:avLst/>
            </a:prstGeom>
            <a:ln w="3175">
              <a:solidFill>
                <a:schemeClr val="tx1"/>
              </a:solidFill>
            </a:ln>
          </p:spPr>
        </p:pic>
        <p:pic>
          <p:nvPicPr>
            <p:cNvPr id="55313" name="Picture 17" descr="http://fillyourplate.files.wordpress.com/2010/08/istock_000013409498xsmall.jpg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11" cstate="screen"/>
            <a:srcRect/>
            <a:stretch>
              <a:fillRect/>
            </a:stretch>
          </p:blipFill>
          <p:spPr bwMode="gray">
            <a:xfrm>
              <a:off x="368515" y="2032000"/>
              <a:ext cx="4210814" cy="2794000"/>
            </a:xfrm>
            <a:prstGeom prst="rect">
              <a:avLst/>
            </a:prstGeom>
            <a:noFill/>
            <a:ln w="3175">
              <a:solidFill>
                <a:schemeClr val="tx1"/>
              </a:solidFill>
            </a:ln>
          </p:spPr>
        </p:pic>
      </p:grp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US gains in manufacturing output enabled by sustained increases in productivity</a:t>
            </a:r>
            <a:endParaRPr lang="en-US" dirty="0"/>
          </a:p>
        </p:txBody>
      </p:sp>
      <p:sp>
        <p:nvSpPr>
          <p:cNvPr id="20486" name="Line 6"/>
          <p:cNvSpPr>
            <a:spLocks noChangeShapeType="1"/>
          </p:cNvSpPr>
          <p:nvPr/>
        </p:nvSpPr>
        <p:spPr bwMode="gray">
          <a:xfrm>
            <a:off x="869579" y="2260059"/>
            <a:ext cx="1638" cy="3638550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87" name="Line 7"/>
          <p:cNvSpPr>
            <a:spLocks noChangeShapeType="1"/>
          </p:cNvSpPr>
          <p:nvPr/>
        </p:nvSpPr>
        <p:spPr bwMode="gray">
          <a:xfrm>
            <a:off x="820450" y="5898609"/>
            <a:ext cx="49129" cy="1588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88" name="Line 8"/>
          <p:cNvSpPr>
            <a:spLocks noChangeShapeType="1"/>
          </p:cNvSpPr>
          <p:nvPr/>
        </p:nvSpPr>
        <p:spPr bwMode="gray">
          <a:xfrm>
            <a:off x="820450" y="4987384"/>
            <a:ext cx="49129" cy="1588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89" name="Line 9"/>
          <p:cNvSpPr>
            <a:spLocks noChangeShapeType="1"/>
          </p:cNvSpPr>
          <p:nvPr/>
        </p:nvSpPr>
        <p:spPr bwMode="gray">
          <a:xfrm>
            <a:off x="820450" y="4084097"/>
            <a:ext cx="49129" cy="1588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90" name="Line 10"/>
          <p:cNvSpPr>
            <a:spLocks noChangeShapeType="1"/>
          </p:cNvSpPr>
          <p:nvPr/>
        </p:nvSpPr>
        <p:spPr bwMode="gray">
          <a:xfrm>
            <a:off x="820450" y="3171284"/>
            <a:ext cx="49129" cy="1588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91" name="Line 11"/>
          <p:cNvSpPr>
            <a:spLocks noChangeShapeType="1"/>
          </p:cNvSpPr>
          <p:nvPr/>
        </p:nvSpPr>
        <p:spPr bwMode="gray">
          <a:xfrm>
            <a:off x="820450" y="2260059"/>
            <a:ext cx="49129" cy="1588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92" name="Line 12"/>
          <p:cNvSpPr>
            <a:spLocks noChangeShapeType="1"/>
          </p:cNvSpPr>
          <p:nvPr/>
        </p:nvSpPr>
        <p:spPr bwMode="gray">
          <a:xfrm>
            <a:off x="869579" y="5898609"/>
            <a:ext cx="6858378" cy="1588"/>
          </a:xfrm>
          <a:prstGeom prst="line">
            <a:avLst/>
          </a:prstGeom>
          <a:noFill/>
          <a:ln w="9525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94" name="Freeform 14"/>
          <p:cNvSpPr>
            <a:spLocks/>
          </p:cNvSpPr>
          <p:nvPr/>
        </p:nvSpPr>
        <p:spPr bwMode="gray">
          <a:xfrm>
            <a:off x="869579" y="3647534"/>
            <a:ext cx="6858378" cy="1349375"/>
          </a:xfrm>
          <a:custGeom>
            <a:avLst/>
            <a:gdLst/>
            <a:ahLst/>
            <a:cxnLst>
              <a:cxn ang="0">
                <a:pos x="10" y="137"/>
              </a:cxn>
              <a:cxn ang="0">
                <a:pos x="22" y="132"/>
              </a:cxn>
              <a:cxn ang="0">
                <a:pos x="34" y="131"/>
              </a:cxn>
              <a:cxn ang="0">
                <a:pos x="46" y="131"/>
              </a:cxn>
              <a:cxn ang="0">
                <a:pos x="58" y="140"/>
              </a:cxn>
              <a:cxn ang="0">
                <a:pos x="70" y="133"/>
              </a:cxn>
              <a:cxn ang="0">
                <a:pos x="82" y="128"/>
              </a:cxn>
              <a:cxn ang="0">
                <a:pos x="94" y="122"/>
              </a:cxn>
              <a:cxn ang="0">
                <a:pos x="106" y="118"/>
              </a:cxn>
              <a:cxn ang="0">
                <a:pos x="117" y="114"/>
              </a:cxn>
              <a:cxn ang="0">
                <a:pos x="129" y="114"/>
              </a:cxn>
              <a:cxn ang="0">
                <a:pos x="141" y="115"/>
              </a:cxn>
              <a:cxn ang="0">
                <a:pos x="153" y="122"/>
              </a:cxn>
              <a:cxn ang="0">
                <a:pos x="165" y="116"/>
              </a:cxn>
              <a:cxn ang="0">
                <a:pos x="177" y="118"/>
              </a:cxn>
              <a:cxn ang="0">
                <a:pos x="189" y="119"/>
              </a:cxn>
              <a:cxn ang="0">
                <a:pos x="201" y="118"/>
              </a:cxn>
              <a:cxn ang="0">
                <a:pos x="213" y="110"/>
              </a:cxn>
              <a:cxn ang="0">
                <a:pos x="225" y="105"/>
              </a:cxn>
              <a:cxn ang="0">
                <a:pos x="236" y="104"/>
              </a:cxn>
              <a:cxn ang="0">
                <a:pos x="248" y="102"/>
              </a:cxn>
              <a:cxn ang="0">
                <a:pos x="260" y="102"/>
              </a:cxn>
              <a:cxn ang="0">
                <a:pos x="272" y="98"/>
              </a:cxn>
              <a:cxn ang="0">
                <a:pos x="284" y="92"/>
              </a:cxn>
              <a:cxn ang="0">
                <a:pos x="296" y="89"/>
              </a:cxn>
              <a:cxn ang="0">
                <a:pos x="308" y="86"/>
              </a:cxn>
              <a:cxn ang="0">
                <a:pos x="320" y="87"/>
              </a:cxn>
              <a:cxn ang="0">
                <a:pos x="332" y="86"/>
              </a:cxn>
              <a:cxn ang="0">
                <a:pos x="344" y="92"/>
              </a:cxn>
              <a:cxn ang="0">
                <a:pos x="355" y="88"/>
              </a:cxn>
              <a:cxn ang="0">
                <a:pos x="367" y="84"/>
              </a:cxn>
              <a:cxn ang="0">
                <a:pos x="379" y="80"/>
              </a:cxn>
              <a:cxn ang="0">
                <a:pos x="391" y="76"/>
              </a:cxn>
              <a:cxn ang="0">
                <a:pos x="403" y="71"/>
              </a:cxn>
              <a:cxn ang="0">
                <a:pos x="415" y="67"/>
              </a:cxn>
              <a:cxn ang="0">
                <a:pos x="427" y="63"/>
              </a:cxn>
              <a:cxn ang="0">
                <a:pos x="439" y="58"/>
              </a:cxn>
              <a:cxn ang="0">
                <a:pos x="451" y="52"/>
              </a:cxn>
              <a:cxn ang="0">
                <a:pos x="463" y="41"/>
              </a:cxn>
              <a:cxn ang="0">
                <a:pos x="474" y="34"/>
              </a:cxn>
              <a:cxn ang="0">
                <a:pos x="486" y="33"/>
              </a:cxn>
              <a:cxn ang="0">
                <a:pos x="498" y="27"/>
              </a:cxn>
              <a:cxn ang="0">
                <a:pos x="510" y="25"/>
              </a:cxn>
              <a:cxn ang="0">
                <a:pos x="522" y="28"/>
              </a:cxn>
              <a:cxn ang="0">
                <a:pos x="534" y="33"/>
              </a:cxn>
              <a:cxn ang="0">
                <a:pos x="546" y="28"/>
              </a:cxn>
              <a:cxn ang="0">
                <a:pos x="558" y="28"/>
              </a:cxn>
              <a:cxn ang="0">
                <a:pos x="570" y="24"/>
              </a:cxn>
              <a:cxn ang="0">
                <a:pos x="582" y="22"/>
              </a:cxn>
              <a:cxn ang="0">
                <a:pos x="593" y="15"/>
              </a:cxn>
              <a:cxn ang="0">
                <a:pos x="605" y="11"/>
              </a:cxn>
              <a:cxn ang="0">
                <a:pos x="617" y="6"/>
              </a:cxn>
              <a:cxn ang="0">
                <a:pos x="629" y="1"/>
              </a:cxn>
              <a:cxn ang="0">
                <a:pos x="641" y="2"/>
              </a:cxn>
              <a:cxn ang="0">
                <a:pos x="653" y="15"/>
              </a:cxn>
              <a:cxn ang="0">
                <a:pos x="665" y="33"/>
              </a:cxn>
              <a:cxn ang="0">
                <a:pos x="677" y="26"/>
              </a:cxn>
              <a:cxn ang="0">
                <a:pos x="689" y="14"/>
              </a:cxn>
            </a:cxnLst>
            <a:rect l="0" t="0" r="r" b="b"/>
            <a:pathLst>
              <a:path w="699" h="142">
                <a:moveTo>
                  <a:pt x="0" y="141"/>
                </a:moveTo>
                <a:lnTo>
                  <a:pt x="1" y="141"/>
                </a:lnTo>
                <a:lnTo>
                  <a:pt x="3" y="140"/>
                </a:lnTo>
                <a:lnTo>
                  <a:pt x="4" y="139"/>
                </a:lnTo>
                <a:lnTo>
                  <a:pt x="6" y="139"/>
                </a:lnTo>
                <a:lnTo>
                  <a:pt x="7" y="140"/>
                </a:lnTo>
                <a:lnTo>
                  <a:pt x="9" y="139"/>
                </a:lnTo>
                <a:lnTo>
                  <a:pt x="10" y="137"/>
                </a:lnTo>
                <a:lnTo>
                  <a:pt x="12" y="137"/>
                </a:lnTo>
                <a:lnTo>
                  <a:pt x="13" y="135"/>
                </a:lnTo>
                <a:lnTo>
                  <a:pt x="15" y="134"/>
                </a:lnTo>
                <a:lnTo>
                  <a:pt x="16" y="133"/>
                </a:lnTo>
                <a:lnTo>
                  <a:pt x="18" y="133"/>
                </a:lnTo>
                <a:lnTo>
                  <a:pt x="19" y="132"/>
                </a:lnTo>
                <a:lnTo>
                  <a:pt x="21" y="132"/>
                </a:lnTo>
                <a:lnTo>
                  <a:pt x="22" y="132"/>
                </a:lnTo>
                <a:lnTo>
                  <a:pt x="24" y="131"/>
                </a:lnTo>
                <a:lnTo>
                  <a:pt x="25" y="132"/>
                </a:lnTo>
                <a:lnTo>
                  <a:pt x="27" y="132"/>
                </a:lnTo>
                <a:lnTo>
                  <a:pt x="28" y="133"/>
                </a:lnTo>
                <a:lnTo>
                  <a:pt x="30" y="131"/>
                </a:lnTo>
                <a:lnTo>
                  <a:pt x="31" y="130"/>
                </a:lnTo>
                <a:lnTo>
                  <a:pt x="33" y="129"/>
                </a:lnTo>
                <a:lnTo>
                  <a:pt x="34" y="131"/>
                </a:lnTo>
                <a:lnTo>
                  <a:pt x="36" y="133"/>
                </a:lnTo>
                <a:lnTo>
                  <a:pt x="37" y="134"/>
                </a:lnTo>
                <a:lnTo>
                  <a:pt x="39" y="133"/>
                </a:lnTo>
                <a:lnTo>
                  <a:pt x="40" y="133"/>
                </a:lnTo>
                <a:lnTo>
                  <a:pt x="42" y="132"/>
                </a:lnTo>
                <a:lnTo>
                  <a:pt x="43" y="131"/>
                </a:lnTo>
                <a:lnTo>
                  <a:pt x="45" y="131"/>
                </a:lnTo>
                <a:lnTo>
                  <a:pt x="46" y="131"/>
                </a:lnTo>
                <a:lnTo>
                  <a:pt x="48" y="131"/>
                </a:lnTo>
                <a:lnTo>
                  <a:pt x="49" y="131"/>
                </a:lnTo>
                <a:lnTo>
                  <a:pt x="51" y="134"/>
                </a:lnTo>
                <a:lnTo>
                  <a:pt x="52" y="138"/>
                </a:lnTo>
                <a:lnTo>
                  <a:pt x="54" y="140"/>
                </a:lnTo>
                <a:lnTo>
                  <a:pt x="55" y="142"/>
                </a:lnTo>
                <a:lnTo>
                  <a:pt x="57" y="142"/>
                </a:lnTo>
                <a:lnTo>
                  <a:pt x="58" y="140"/>
                </a:lnTo>
                <a:lnTo>
                  <a:pt x="59" y="140"/>
                </a:lnTo>
                <a:lnTo>
                  <a:pt x="61" y="139"/>
                </a:lnTo>
                <a:lnTo>
                  <a:pt x="62" y="137"/>
                </a:lnTo>
                <a:lnTo>
                  <a:pt x="64" y="136"/>
                </a:lnTo>
                <a:lnTo>
                  <a:pt x="65" y="135"/>
                </a:lnTo>
                <a:lnTo>
                  <a:pt x="67" y="135"/>
                </a:lnTo>
                <a:lnTo>
                  <a:pt x="68" y="134"/>
                </a:lnTo>
                <a:lnTo>
                  <a:pt x="70" y="133"/>
                </a:lnTo>
                <a:lnTo>
                  <a:pt x="71" y="132"/>
                </a:lnTo>
                <a:lnTo>
                  <a:pt x="73" y="131"/>
                </a:lnTo>
                <a:lnTo>
                  <a:pt x="74" y="131"/>
                </a:lnTo>
                <a:lnTo>
                  <a:pt x="76" y="131"/>
                </a:lnTo>
                <a:lnTo>
                  <a:pt x="77" y="130"/>
                </a:lnTo>
                <a:lnTo>
                  <a:pt x="79" y="130"/>
                </a:lnTo>
                <a:lnTo>
                  <a:pt x="80" y="129"/>
                </a:lnTo>
                <a:lnTo>
                  <a:pt x="82" y="128"/>
                </a:lnTo>
                <a:lnTo>
                  <a:pt x="83" y="129"/>
                </a:lnTo>
                <a:lnTo>
                  <a:pt x="85" y="129"/>
                </a:lnTo>
                <a:lnTo>
                  <a:pt x="86" y="126"/>
                </a:lnTo>
                <a:lnTo>
                  <a:pt x="88" y="124"/>
                </a:lnTo>
                <a:lnTo>
                  <a:pt x="89" y="124"/>
                </a:lnTo>
                <a:lnTo>
                  <a:pt x="91" y="123"/>
                </a:lnTo>
                <a:lnTo>
                  <a:pt x="92" y="122"/>
                </a:lnTo>
                <a:lnTo>
                  <a:pt x="94" y="122"/>
                </a:lnTo>
                <a:lnTo>
                  <a:pt x="95" y="121"/>
                </a:lnTo>
                <a:lnTo>
                  <a:pt x="97" y="120"/>
                </a:lnTo>
                <a:lnTo>
                  <a:pt x="98" y="120"/>
                </a:lnTo>
                <a:lnTo>
                  <a:pt x="100" y="120"/>
                </a:lnTo>
                <a:lnTo>
                  <a:pt x="101" y="119"/>
                </a:lnTo>
                <a:lnTo>
                  <a:pt x="103" y="119"/>
                </a:lnTo>
                <a:lnTo>
                  <a:pt x="104" y="120"/>
                </a:lnTo>
                <a:lnTo>
                  <a:pt x="106" y="118"/>
                </a:lnTo>
                <a:lnTo>
                  <a:pt x="107" y="122"/>
                </a:lnTo>
                <a:lnTo>
                  <a:pt x="109" y="120"/>
                </a:lnTo>
                <a:lnTo>
                  <a:pt x="110" y="117"/>
                </a:lnTo>
                <a:lnTo>
                  <a:pt x="112" y="115"/>
                </a:lnTo>
                <a:lnTo>
                  <a:pt x="113" y="116"/>
                </a:lnTo>
                <a:lnTo>
                  <a:pt x="115" y="115"/>
                </a:lnTo>
                <a:lnTo>
                  <a:pt x="116" y="115"/>
                </a:lnTo>
                <a:lnTo>
                  <a:pt x="117" y="114"/>
                </a:lnTo>
                <a:lnTo>
                  <a:pt x="119" y="114"/>
                </a:lnTo>
                <a:lnTo>
                  <a:pt x="120" y="113"/>
                </a:lnTo>
                <a:lnTo>
                  <a:pt x="122" y="112"/>
                </a:lnTo>
                <a:lnTo>
                  <a:pt x="123" y="112"/>
                </a:lnTo>
                <a:lnTo>
                  <a:pt x="125" y="111"/>
                </a:lnTo>
                <a:lnTo>
                  <a:pt x="126" y="112"/>
                </a:lnTo>
                <a:lnTo>
                  <a:pt x="128" y="112"/>
                </a:lnTo>
                <a:lnTo>
                  <a:pt x="129" y="114"/>
                </a:lnTo>
                <a:lnTo>
                  <a:pt x="131" y="112"/>
                </a:lnTo>
                <a:lnTo>
                  <a:pt x="132" y="113"/>
                </a:lnTo>
                <a:lnTo>
                  <a:pt x="134" y="113"/>
                </a:lnTo>
                <a:lnTo>
                  <a:pt x="135" y="116"/>
                </a:lnTo>
                <a:lnTo>
                  <a:pt x="137" y="113"/>
                </a:lnTo>
                <a:lnTo>
                  <a:pt x="138" y="114"/>
                </a:lnTo>
                <a:lnTo>
                  <a:pt x="140" y="115"/>
                </a:lnTo>
                <a:lnTo>
                  <a:pt x="141" y="115"/>
                </a:lnTo>
                <a:lnTo>
                  <a:pt x="143" y="115"/>
                </a:lnTo>
                <a:lnTo>
                  <a:pt x="144" y="114"/>
                </a:lnTo>
                <a:lnTo>
                  <a:pt x="146" y="115"/>
                </a:lnTo>
                <a:lnTo>
                  <a:pt x="147" y="118"/>
                </a:lnTo>
                <a:lnTo>
                  <a:pt x="149" y="121"/>
                </a:lnTo>
                <a:lnTo>
                  <a:pt x="150" y="121"/>
                </a:lnTo>
                <a:lnTo>
                  <a:pt x="152" y="121"/>
                </a:lnTo>
                <a:lnTo>
                  <a:pt x="153" y="122"/>
                </a:lnTo>
                <a:lnTo>
                  <a:pt x="155" y="119"/>
                </a:lnTo>
                <a:lnTo>
                  <a:pt x="156" y="118"/>
                </a:lnTo>
                <a:lnTo>
                  <a:pt x="158" y="116"/>
                </a:lnTo>
                <a:lnTo>
                  <a:pt x="159" y="117"/>
                </a:lnTo>
                <a:lnTo>
                  <a:pt x="161" y="116"/>
                </a:lnTo>
                <a:lnTo>
                  <a:pt x="162" y="117"/>
                </a:lnTo>
                <a:lnTo>
                  <a:pt x="164" y="117"/>
                </a:lnTo>
                <a:lnTo>
                  <a:pt x="165" y="116"/>
                </a:lnTo>
                <a:lnTo>
                  <a:pt x="167" y="115"/>
                </a:lnTo>
                <a:lnTo>
                  <a:pt x="168" y="116"/>
                </a:lnTo>
                <a:lnTo>
                  <a:pt x="170" y="116"/>
                </a:lnTo>
                <a:lnTo>
                  <a:pt x="171" y="115"/>
                </a:lnTo>
                <a:lnTo>
                  <a:pt x="173" y="117"/>
                </a:lnTo>
                <a:lnTo>
                  <a:pt x="174" y="116"/>
                </a:lnTo>
                <a:lnTo>
                  <a:pt x="175" y="117"/>
                </a:lnTo>
                <a:lnTo>
                  <a:pt x="177" y="118"/>
                </a:lnTo>
                <a:lnTo>
                  <a:pt x="178" y="121"/>
                </a:lnTo>
                <a:lnTo>
                  <a:pt x="180" y="118"/>
                </a:lnTo>
                <a:lnTo>
                  <a:pt x="181" y="119"/>
                </a:lnTo>
                <a:lnTo>
                  <a:pt x="183" y="118"/>
                </a:lnTo>
                <a:lnTo>
                  <a:pt x="184" y="118"/>
                </a:lnTo>
                <a:lnTo>
                  <a:pt x="186" y="118"/>
                </a:lnTo>
                <a:lnTo>
                  <a:pt x="187" y="117"/>
                </a:lnTo>
                <a:lnTo>
                  <a:pt x="189" y="119"/>
                </a:lnTo>
                <a:lnTo>
                  <a:pt x="190" y="119"/>
                </a:lnTo>
                <a:lnTo>
                  <a:pt x="192" y="120"/>
                </a:lnTo>
                <a:lnTo>
                  <a:pt x="193" y="120"/>
                </a:lnTo>
                <a:lnTo>
                  <a:pt x="195" y="121"/>
                </a:lnTo>
                <a:lnTo>
                  <a:pt x="196" y="119"/>
                </a:lnTo>
                <a:lnTo>
                  <a:pt x="198" y="120"/>
                </a:lnTo>
                <a:lnTo>
                  <a:pt x="199" y="120"/>
                </a:lnTo>
                <a:lnTo>
                  <a:pt x="201" y="118"/>
                </a:lnTo>
                <a:lnTo>
                  <a:pt x="202" y="116"/>
                </a:lnTo>
                <a:lnTo>
                  <a:pt x="204" y="116"/>
                </a:lnTo>
                <a:lnTo>
                  <a:pt x="205" y="114"/>
                </a:lnTo>
                <a:lnTo>
                  <a:pt x="207" y="113"/>
                </a:lnTo>
                <a:lnTo>
                  <a:pt x="208" y="111"/>
                </a:lnTo>
                <a:lnTo>
                  <a:pt x="210" y="111"/>
                </a:lnTo>
                <a:lnTo>
                  <a:pt x="211" y="111"/>
                </a:lnTo>
                <a:lnTo>
                  <a:pt x="213" y="110"/>
                </a:lnTo>
                <a:lnTo>
                  <a:pt x="214" y="107"/>
                </a:lnTo>
                <a:lnTo>
                  <a:pt x="216" y="106"/>
                </a:lnTo>
                <a:lnTo>
                  <a:pt x="217" y="106"/>
                </a:lnTo>
                <a:lnTo>
                  <a:pt x="219" y="106"/>
                </a:lnTo>
                <a:lnTo>
                  <a:pt x="220" y="106"/>
                </a:lnTo>
                <a:lnTo>
                  <a:pt x="222" y="106"/>
                </a:lnTo>
                <a:lnTo>
                  <a:pt x="223" y="106"/>
                </a:lnTo>
                <a:lnTo>
                  <a:pt x="225" y="105"/>
                </a:lnTo>
                <a:lnTo>
                  <a:pt x="226" y="106"/>
                </a:lnTo>
                <a:lnTo>
                  <a:pt x="228" y="105"/>
                </a:lnTo>
                <a:lnTo>
                  <a:pt x="229" y="104"/>
                </a:lnTo>
                <a:lnTo>
                  <a:pt x="231" y="103"/>
                </a:lnTo>
                <a:lnTo>
                  <a:pt x="232" y="104"/>
                </a:lnTo>
                <a:lnTo>
                  <a:pt x="233" y="104"/>
                </a:lnTo>
                <a:lnTo>
                  <a:pt x="235" y="104"/>
                </a:lnTo>
                <a:lnTo>
                  <a:pt x="236" y="104"/>
                </a:lnTo>
                <a:lnTo>
                  <a:pt x="238" y="104"/>
                </a:lnTo>
                <a:lnTo>
                  <a:pt x="239" y="104"/>
                </a:lnTo>
                <a:lnTo>
                  <a:pt x="241" y="103"/>
                </a:lnTo>
                <a:lnTo>
                  <a:pt x="242" y="103"/>
                </a:lnTo>
                <a:lnTo>
                  <a:pt x="244" y="104"/>
                </a:lnTo>
                <a:lnTo>
                  <a:pt x="245" y="104"/>
                </a:lnTo>
                <a:lnTo>
                  <a:pt x="247" y="103"/>
                </a:lnTo>
                <a:lnTo>
                  <a:pt x="248" y="102"/>
                </a:lnTo>
                <a:lnTo>
                  <a:pt x="250" y="101"/>
                </a:lnTo>
                <a:lnTo>
                  <a:pt x="251" y="102"/>
                </a:lnTo>
                <a:lnTo>
                  <a:pt x="253" y="103"/>
                </a:lnTo>
                <a:lnTo>
                  <a:pt x="254" y="103"/>
                </a:lnTo>
                <a:lnTo>
                  <a:pt x="256" y="103"/>
                </a:lnTo>
                <a:lnTo>
                  <a:pt x="257" y="103"/>
                </a:lnTo>
                <a:lnTo>
                  <a:pt x="259" y="102"/>
                </a:lnTo>
                <a:lnTo>
                  <a:pt x="260" y="102"/>
                </a:lnTo>
                <a:lnTo>
                  <a:pt x="262" y="102"/>
                </a:lnTo>
                <a:lnTo>
                  <a:pt x="263" y="102"/>
                </a:lnTo>
                <a:lnTo>
                  <a:pt x="265" y="101"/>
                </a:lnTo>
                <a:lnTo>
                  <a:pt x="266" y="99"/>
                </a:lnTo>
                <a:lnTo>
                  <a:pt x="268" y="100"/>
                </a:lnTo>
                <a:lnTo>
                  <a:pt x="269" y="98"/>
                </a:lnTo>
                <a:lnTo>
                  <a:pt x="271" y="98"/>
                </a:lnTo>
                <a:lnTo>
                  <a:pt x="272" y="98"/>
                </a:lnTo>
                <a:lnTo>
                  <a:pt x="274" y="98"/>
                </a:lnTo>
                <a:lnTo>
                  <a:pt x="275" y="98"/>
                </a:lnTo>
                <a:lnTo>
                  <a:pt x="277" y="97"/>
                </a:lnTo>
                <a:lnTo>
                  <a:pt x="278" y="96"/>
                </a:lnTo>
                <a:lnTo>
                  <a:pt x="280" y="95"/>
                </a:lnTo>
                <a:lnTo>
                  <a:pt x="281" y="92"/>
                </a:lnTo>
                <a:lnTo>
                  <a:pt x="283" y="92"/>
                </a:lnTo>
                <a:lnTo>
                  <a:pt x="284" y="92"/>
                </a:lnTo>
                <a:lnTo>
                  <a:pt x="286" y="92"/>
                </a:lnTo>
                <a:lnTo>
                  <a:pt x="287" y="91"/>
                </a:lnTo>
                <a:lnTo>
                  <a:pt x="289" y="90"/>
                </a:lnTo>
                <a:lnTo>
                  <a:pt x="290" y="89"/>
                </a:lnTo>
                <a:lnTo>
                  <a:pt x="291" y="89"/>
                </a:lnTo>
                <a:lnTo>
                  <a:pt x="293" y="89"/>
                </a:lnTo>
                <a:lnTo>
                  <a:pt x="294" y="90"/>
                </a:lnTo>
                <a:lnTo>
                  <a:pt x="296" y="89"/>
                </a:lnTo>
                <a:lnTo>
                  <a:pt x="297" y="89"/>
                </a:lnTo>
                <a:lnTo>
                  <a:pt x="299" y="87"/>
                </a:lnTo>
                <a:lnTo>
                  <a:pt x="300" y="87"/>
                </a:lnTo>
                <a:lnTo>
                  <a:pt x="302" y="86"/>
                </a:lnTo>
                <a:lnTo>
                  <a:pt x="303" y="86"/>
                </a:lnTo>
                <a:lnTo>
                  <a:pt x="305" y="86"/>
                </a:lnTo>
                <a:lnTo>
                  <a:pt x="306" y="86"/>
                </a:lnTo>
                <a:lnTo>
                  <a:pt x="308" y="86"/>
                </a:lnTo>
                <a:lnTo>
                  <a:pt x="309" y="88"/>
                </a:lnTo>
                <a:lnTo>
                  <a:pt x="311" y="88"/>
                </a:lnTo>
                <a:lnTo>
                  <a:pt x="312" y="91"/>
                </a:lnTo>
                <a:lnTo>
                  <a:pt x="314" y="88"/>
                </a:lnTo>
                <a:lnTo>
                  <a:pt x="315" y="89"/>
                </a:lnTo>
                <a:lnTo>
                  <a:pt x="317" y="90"/>
                </a:lnTo>
                <a:lnTo>
                  <a:pt x="318" y="90"/>
                </a:lnTo>
                <a:lnTo>
                  <a:pt x="320" y="87"/>
                </a:lnTo>
                <a:lnTo>
                  <a:pt x="321" y="91"/>
                </a:lnTo>
                <a:lnTo>
                  <a:pt x="323" y="88"/>
                </a:lnTo>
                <a:lnTo>
                  <a:pt x="324" y="86"/>
                </a:lnTo>
                <a:lnTo>
                  <a:pt x="326" y="87"/>
                </a:lnTo>
                <a:lnTo>
                  <a:pt x="327" y="87"/>
                </a:lnTo>
                <a:lnTo>
                  <a:pt x="329" y="85"/>
                </a:lnTo>
                <a:lnTo>
                  <a:pt x="330" y="86"/>
                </a:lnTo>
                <a:lnTo>
                  <a:pt x="332" y="86"/>
                </a:lnTo>
                <a:lnTo>
                  <a:pt x="333" y="85"/>
                </a:lnTo>
                <a:lnTo>
                  <a:pt x="335" y="87"/>
                </a:lnTo>
                <a:lnTo>
                  <a:pt x="336" y="91"/>
                </a:lnTo>
                <a:lnTo>
                  <a:pt x="338" y="92"/>
                </a:lnTo>
                <a:lnTo>
                  <a:pt x="339" y="91"/>
                </a:lnTo>
                <a:lnTo>
                  <a:pt x="341" y="92"/>
                </a:lnTo>
                <a:lnTo>
                  <a:pt x="342" y="92"/>
                </a:lnTo>
                <a:lnTo>
                  <a:pt x="344" y="92"/>
                </a:lnTo>
                <a:lnTo>
                  <a:pt x="345" y="90"/>
                </a:lnTo>
                <a:lnTo>
                  <a:pt x="347" y="88"/>
                </a:lnTo>
                <a:lnTo>
                  <a:pt x="348" y="87"/>
                </a:lnTo>
                <a:lnTo>
                  <a:pt x="350" y="88"/>
                </a:lnTo>
                <a:lnTo>
                  <a:pt x="351" y="86"/>
                </a:lnTo>
                <a:lnTo>
                  <a:pt x="352" y="87"/>
                </a:lnTo>
                <a:lnTo>
                  <a:pt x="354" y="86"/>
                </a:lnTo>
                <a:lnTo>
                  <a:pt x="355" y="88"/>
                </a:lnTo>
                <a:lnTo>
                  <a:pt x="357" y="90"/>
                </a:lnTo>
                <a:lnTo>
                  <a:pt x="358" y="88"/>
                </a:lnTo>
                <a:lnTo>
                  <a:pt x="360" y="87"/>
                </a:lnTo>
                <a:lnTo>
                  <a:pt x="361" y="85"/>
                </a:lnTo>
                <a:lnTo>
                  <a:pt x="363" y="84"/>
                </a:lnTo>
                <a:lnTo>
                  <a:pt x="364" y="85"/>
                </a:lnTo>
                <a:lnTo>
                  <a:pt x="366" y="83"/>
                </a:lnTo>
                <a:lnTo>
                  <a:pt x="367" y="84"/>
                </a:lnTo>
                <a:lnTo>
                  <a:pt x="369" y="84"/>
                </a:lnTo>
                <a:lnTo>
                  <a:pt x="370" y="82"/>
                </a:lnTo>
                <a:lnTo>
                  <a:pt x="372" y="82"/>
                </a:lnTo>
                <a:lnTo>
                  <a:pt x="373" y="81"/>
                </a:lnTo>
                <a:lnTo>
                  <a:pt x="375" y="80"/>
                </a:lnTo>
                <a:lnTo>
                  <a:pt x="376" y="80"/>
                </a:lnTo>
                <a:lnTo>
                  <a:pt x="378" y="80"/>
                </a:lnTo>
                <a:lnTo>
                  <a:pt x="379" y="80"/>
                </a:lnTo>
                <a:lnTo>
                  <a:pt x="381" y="80"/>
                </a:lnTo>
                <a:lnTo>
                  <a:pt x="382" y="80"/>
                </a:lnTo>
                <a:lnTo>
                  <a:pt x="384" y="80"/>
                </a:lnTo>
                <a:lnTo>
                  <a:pt x="385" y="81"/>
                </a:lnTo>
                <a:lnTo>
                  <a:pt x="387" y="79"/>
                </a:lnTo>
                <a:lnTo>
                  <a:pt x="388" y="77"/>
                </a:lnTo>
                <a:lnTo>
                  <a:pt x="390" y="77"/>
                </a:lnTo>
                <a:lnTo>
                  <a:pt x="391" y="76"/>
                </a:lnTo>
                <a:lnTo>
                  <a:pt x="393" y="75"/>
                </a:lnTo>
                <a:lnTo>
                  <a:pt x="394" y="75"/>
                </a:lnTo>
                <a:lnTo>
                  <a:pt x="396" y="74"/>
                </a:lnTo>
                <a:lnTo>
                  <a:pt x="397" y="74"/>
                </a:lnTo>
                <a:lnTo>
                  <a:pt x="399" y="73"/>
                </a:lnTo>
                <a:lnTo>
                  <a:pt x="400" y="72"/>
                </a:lnTo>
                <a:lnTo>
                  <a:pt x="402" y="72"/>
                </a:lnTo>
                <a:lnTo>
                  <a:pt x="403" y="71"/>
                </a:lnTo>
                <a:lnTo>
                  <a:pt x="405" y="71"/>
                </a:lnTo>
                <a:lnTo>
                  <a:pt x="406" y="69"/>
                </a:lnTo>
                <a:lnTo>
                  <a:pt x="408" y="69"/>
                </a:lnTo>
                <a:lnTo>
                  <a:pt x="409" y="67"/>
                </a:lnTo>
                <a:lnTo>
                  <a:pt x="410" y="67"/>
                </a:lnTo>
                <a:lnTo>
                  <a:pt x="412" y="66"/>
                </a:lnTo>
                <a:lnTo>
                  <a:pt x="413" y="66"/>
                </a:lnTo>
                <a:lnTo>
                  <a:pt x="415" y="67"/>
                </a:lnTo>
                <a:lnTo>
                  <a:pt x="416" y="66"/>
                </a:lnTo>
                <a:lnTo>
                  <a:pt x="418" y="65"/>
                </a:lnTo>
                <a:lnTo>
                  <a:pt x="419" y="67"/>
                </a:lnTo>
                <a:lnTo>
                  <a:pt x="421" y="63"/>
                </a:lnTo>
                <a:lnTo>
                  <a:pt x="422" y="63"/>
                </a:lnTo>
                <a:lnTo>
                  <a:pt x="424" y="65"/>
                </a:lnTo>
                <a:lnTo>
                  <a:pt x="425" y="64"/>
                </a:lnTo>
                <a:lnTo>
                  <a:pt x="427" y="63"/>
                </a:lnTo>
                <a:lnTo>
                  <a:pt x="428" y="66"/>
                </a:lnTo>
                <a:lnTo>
                  <a:pt x="430" y="62"/>
                </a:lnTo>
                <a:lnTo>
                  <a:pt x="431" y="64"/>
                </a:lnTo>
                <a:lnTo>
                  <a:pt x="433" y="60"/>
                </a:lnTo>
                <a:lnTo>
                  <a:pt x="434" y="59"/>
                </a:lnTo>
                <a:lnTo>
                  <a:pt x="436" y="58"/>
                </a:lnTo>
                <a:lnTo>
                  <a:pt x="437" y="58"/>
                </a:lnTo>
                <a:lnTo>
                  <a:pt x="439" y="58"/>
                </a:lnTo>
                <a:lnTo>
                  <a:pt x="440" y="57"/>
                </a:lnTo>
                <a:lnTo>
                  <a:pt x="442" y="58"/>
                </a:lnTo>
                <a:lnTo>
                  <a:pt x="443" y="56"/>
                </a:lnTo>
                <a:lnTo>
                  <a:pt x="445" y="54"/>
                </a:lnTo>
                <a:lnTo>
                  <a:pt x="446" y="55"/>
                </a:lnTo>
                <a:lnTo>
                  <a:pt x="448" y="53"/>
                </a:lnTo>
                <a:lnTo>
                  <a:pt x="449" y="51"/>
                </a:lnTo>
                <a:lnTo>
                  <a:pt x="451" y="52"/>
                </a:lnTo>
                <a:lnTo>
                  <a:pt x="452" y="51"/>
                </a:lnTo>
                <a:lnTo>
                  <a:pt x="454" y="50"/>
                </a:lnTo>
                <a:lnTo>
                  <a:pt x="455" y="50"/>
                </a:lnTo>
                <a:lnTo>
                  <a:pt x="457" y="46"/>
                </a:lnTo>
                <a:lnTo>
                  <a:pt x="458" y="44"/>
                </a:lnTo>
                <a:lnTo>
                  <a:pt x="460" y="42"/>
                </a:lnTo>
                <a:lnTo>
                  <a:pt x="461" y="40"/>
                </a:lnTo>
                <a:lnTo>
                  <a:pt x="463" y="41"/>
                </a:lnTo>
                <a:lnTo>
                  <a:pt x="464" y="40"/>
                </a:lnTo>
                <a:lnTo>
                  <a:pt x="466" y="40"/>
                </a:lnTo>
                <a:lnTo>
                  <a:pt x="467" y="39"/>
                </a:lnTo>
                <a:lnTo>
                  <a:pt x="468" y="38"/>
                </a:lnTo>
                <a:lnTo>
                  <a:pt x="470" y="37"/>
                </a:lnTo>
                <a:lnTo>
                  <a:pt x="471" y="41"/>
                </a:lnTo>
                <a:lnTo>
                  <a:pt x="473" y="44"/>
                </a:lnTo>
                <a:lnTo>
                  <a:pt x="474" y="34"/>
                </a:lnTo>
                <a:lnTo>
                  <a:pt x="476" y="35"/>
                </a:lnTo>
                <a:lnTo>
                  <a:pt x="477" y="33"/>
                </a:lnTo>
                <a:lnTo>
                  <a:pt x="479" y="34"/>
                </a:lnTo>
                <a:lnTo>
                  <a:pt x="480" y="34"/>
                </a:lnTo>
                <a:lnTo>
                  <a:pt x="482" y="33"/>
                </a:lnTo>
                <a:lnTo>
                  <a:pt x="483" y="32"/>
                </a:lnTo>
                <a:lnTo>
                  <a:pt x="485" y="33"/>
                </a:lnTo>
                <a:lnTo>
                  <a:pt x="486" y="33"/>
                </a:lnTo>
                <a:lnTo>
                  <a:pt x="488" y="31"/>
                </a:lnTo>
                <a:lnTo>
                  <a:pt x="489" y="32"/>
                </a:lnTo>
                <a:lnTo>
                  <a:pt x="491" y="32"/>
                </a:lnTo>
                <a:lnTo>
                  <a:pt x="492" y="29"/>
                </a:lnTo>
                <a:lnTo>
                  <a:pt x="494" y="31"/>
                </a:lnTo>
                <a:lnTo>
                  <a:pt x="495" y="27"/>
                </a:lnTo>
                <a:lnTo>
                  <a:pt x="497" y="29"/>
                </a:lnTo>
                <a:lnTo>
                  <a:pt x="498" y="27"/>
                </a:lnTo>
                <a:lnTo>
                  <a:pt x="500" y="27"/>
                </a:lnTo>
                <a:lnTo>
                  <a:pt x="501" y="26"/>
                </a:lnTo>
                <a:lnTo>
                  <a:pt x="503" y="26"/>
                </a:lnTo>
                <a:lnTo>
                  <a:pt x="504" y="24"/>
                </a:lnTo>
                <a:lnTo>
                  <a:pt x="506" y="24"/>
                </a:lnTo>
                <a:lnTo>
                  <a:pt x="507" y="24"/>
                </a:lnTo>
                <a:lnTo>
                  <a:pt x="509" y="26"/>
                </a:lnTo>
                <a:lnTo>
                  <a:pt x="510" y="25"/>
                </a:lnTo>
                <a:lnTo>
                  <a:pt x="512" y="23"/>
                </a:lnTo>
                <a:lnTo>
                  <a:pt x="513" y="25"/>
                </a:lnTo>
                <a:lnTo>
                  <a:pt x="515" y="25"/>
                </a:lnTo>
                <a:lnTo>
                  <a:pt x="516" y="26"/>
                </a:lnTo>
                <a:lnTo>
                  <a:pt x="518" y="27"/>
                </a:lnTo>
                <a:lnTo>
                  <a:pt x="519" y="28"/>
                </a:lnTo>
                <a:lnTo>
                  <a:pt x="521" y="27"/>
                </a:lnTo>
                <a:lnTo>
                  <a:pt x="522" y="28"/>
                </a:lnTo>
                <a:lnTo>
                  <a:pt x="524" y="28"/>
                </a:lnTo>
                <a:lnTo>
                  <a:pt x="525" y="29"/>
                </a:lnTo>
                <a:lnTo>
                  <a:pt x="526" y="29"/>
                </a:lnTo>
                <a:lnTo>
                  <a:pt x="528" y="31"/>
                </a:lnTo>
                <a:lnTo>
                  <a:pt x="529" y="33"/>
                </a:lnTo>
                <a:lnTo>
                  <a:pt x="531" y="33"/>
                </a:lnTo>
                <a:lnTo>
                  <a:pt x="532" y="33"/>
                </a:lnTo>
                <a:lnTo>
                  <a:pt x="534" y="33"/>
                </a:lnTo>
                <a:lnTo>
                  <a:pt x="535" y="31"/>
                </a:lnTo>
                <a:lnTo>
                  <a:pt x="537" y="32"/>
                </a:lnTo>
                <a:lnTo>
                  <a:pt x="538" y="30"/>
                </a:lnTo>
                <a:lnTo>
                  <a:pt x="540" y="30"/>
                </a:lnTo>
                <a:lnTo>
                  <a:pt x="541" y="29"/>
                </a:lnTo>
                <a:lnTo>
                  <a:pt x="543" y="27"/>
                </a:lnTo>
                <a:lnTo>
                  <a:pt x="544" y="28"/>
                </a:lnTo>
                <a:lnTo>
                  <a:pt x="546" y="28"/>
                </a:lnTo>
                <a:lnTo>
                  <a:pt x="547" y="28"/>
                </a:lnTo>
                <a:lnTo>
                  <a:pt x="549" y="29"/>
                </a:lnTo>
                <a:lnTo>
                  <a:pt x="550" y="27"/>
                </a:lnTo>
                <a:lnTo>
                  <a:pt x="552" y="29"/>
                </a:lnTo>
                <a:lnTo>
                  <a:pt x="553" y="28"/>
                </a:lnTo>
                <a:lnTo>
                  <a:pt x="555" y="26"/>
                </a:lnTo>
                <a:lnTo>
                  <a:pt x="556" y="26"/>
                </a:lnTo>
                <a:lnTo>
                  <a:pt x="558" y="28"/>
                </a:lnTo>
                <a:lnTo>
                  <a:pt x="559" y="28"/>
                </a:lnTo>
                <a:lnTo>
                  <a:pt x="561" y="28"/>
                </a:lnTo>
                <a:lnTo>
                  <a:pt x="562" y="27"/>
                </a:lnTo>
                <a:lnTo>
                  <a:pt x="564" y="27"/>
                </a:lnTo>
                <a:lnTo>
                  <a:pt x="565" y="24"/>
                </a:lnTo>
                <a:lnTo>
                  <a:pt x="567" y="26"/>
                </a:lnTo>
                <a:lnTo>
                  <a:pt x="568" y="24"/>
                </a:lnTo>
                <a:lnTo>
                  <a:pt x="570" y="24"/>
                </a:lnTo>
                <a:lnTo>
                  <a:pt x="571" y="23"/>
                </a:lnTo>
                <a:lnTo>
                  <a:pt x="573" y="22"/>
                </a:lnTo>
                <a:lnTo>
                  <a:pt x="574" y="24"/>
                </a:lnTo>
                <a:lnTo>
                  <a:pt x="576" y="23"/>
                </a:lnTo>
                <a:lnTo>
                  <a:pt x="577" y="22"/>
                </a:lnTo>
                <a:lnTo>
                  <a:pt x="579" y="25"/>
                </a:lnTo>
                <a:lnTo>
                  <a:pt x="580" y="23"/>
                </a:lnTo>
                <a:lnTo>
                  <a:pt x="582" y="22"/>
                </a:lnTo>
                <a:lnTo>
                  <a:pt x="583" y="22"/>
                </a:lnTo>
                <a:lnTo>
                  <a:pt x="584" y="19"/>
                </a:lnTo>
                <a:lnTo>
                  <a:pt x="586" y="20"/>
                </a:lnTo>
                <a:lnTo>
                  <a:pt x="587" y="18"/>
                </a:lnTo>
                <a:lnTo>
                  <a:pt x="589" y="17"/>
                </a:lnTo>
                <a:lnTo>
                  <a:pt x="590" y="14"/>
                </a:lnTo>
                <a:lnTo>
                  <a:pt x="592" y="15"/>
                </a:lnTo>
                <a:lnTo>
                  <a:pt x="593" y="15"/>
                </a:lnTo>
                <a:lnTo>
                  <a:pt x="595" y="14"/>
                </a:lnTo>
                <a:lnTo>
                  <a:pt x="596" y="12"/>
                </a:lnTo>
                <a:lnTo>
                  <a:pt x="598" y="13"/>
                </a:lnTo>
                <a:lnTo>
                  <a:pt x="599" y="12"/>
                </a:lnTo>
                <a:lnTo>
                  <a:pt x="601" y="14"/>
                </a:lnTo>
                <a:lnTo>
                  <a:pt x="602" y="11"/>
                </a:lnTo>
                <a:lnTo>
                  <a:pt x="604" y="11"/>
                </a:lnTo>
                <a:lnTo>
                  <a:pt x="605" y="11"/>
                </a:lnTo>
                <a:lnTo>
                  <a:pt x="607" y="11"/>
                </a:lnTo>
                <a:lnTo>
                  <a:pt x="608" y="11"/>
                </a:lnTo>
                <a:lnTo>
                  <a:pt x="610" y="10"/>
                </a:lnTo>
                <a:lnTo>
                  <a:pt x="611" y="9"/>
                </a:lnTo>
                <a:lnTo>
                  <a:pt x="613" y="8"/>
                </a:lnTo>
                <a:lnTo>
                  <a:pt x="614" y="7"/>
                </a:lnTo>
                <a:lnTo>
                  <a:pt x="616" y="8"/>
                </a:lnTo>
                <a:lnTo>
                  <a:pt x="617" y="6"/>
                </a:lnTo>
                <a:lnTo>
                  <a:pt x="619" y="6"/>
                </a:lnTo>
                <a:lnTo>
                  <a:pt x="620" y="7"/>
                </a:lnTo>
                <a:lnTo>
                  <a:pt x="622" y="6"/>
                </a:lnTo>
                <a:lnTo>
                  <a:pt x="623" y="5"/>
                </a:lnTo>
                <a:lnTo>
                  <a:pt x="625" y="6"/>
                </a:lnTo>
                <a:lnTo>
                  <a:pt x="626" y="2"/>
                </a:lnTo>
                <a:lnTo>
                  <a:pt x="628" y="3"/>
                </a:lnTo>
                <a:lnTo>
                  <a:pt x="629" y="1"/>
                </a:lnTo>
                <a:lnTo>
                  <a:pt x="631" y="1"/>
                </a:lnTo>
                <a:lnTo>
                  <a:pt x="632" y="1"/>
                </a:lnTo>
                <a:lnTo>
                  <a:pt x="634" y="1"/>
                </a:lnTo>
                <a:lnTo>
                  <a:pt x="635" y="1"/>
                </a:lnTo>
                <a:lnTo>
                  <a:pt x="637" y="0"/>
                </a:lnTo>
                <a:lnTo>
                  <a:pt x="638" y="3"/>
                </a:lnTo>
                <a:lnTo>
                  <a:pt x="640" y="2"/>
                </a:lnTo>
                <a:lnTo>
                  <a:pt x="641" y="2"/>
                </a:lnTo>
                <a:lnTo>
                  <a:pt x="642" y="2"/>
                </a:lnTo>
                <a:lnTo>
                  <a:pt x="644" y="2"/>
                </a:lnTo>
                <a:lnTo>
                  <a:pt x="645" y="4"/>
                </a:lnTo>
                <a:lnTo>
                  <a:pt x="647" y="7"/>
                </a:lnTo>
                <a:lnTo>
                  <a:pt x="648" y="8"/>
                </a:lnTo>
                <a:lnTo>
                  <a:pt x="650" y="8"/>
                </a:lnTo>
                <a:lnTo>
                  <a:pt x="651" y="10"/>
                </a:lnTo>
                <a:lnTo>
                  <a:pt x="653" y="15"/>
                </a:lnTo>
                <a:lnTo>
                  <a:pt x="654" y="22"/>
                </a:lnTo>
                <a:lnTo>
                  <a:pt x="656" y="19"/>
                </a:lnTo>
                <a:lnTo>
                  <a:pt x="657" y="20"/>
                </a:lnTo>
                <a:lnTo>
                  <a:pt x="659" y="22"/>
                </a:lnTo>
                <a:lnTo>
                  <a:pt x="660" y="31"/>
                </a:lnTo>
                <a:lnTo>
                  <a:pt x="662" y="29"/>
                </a:lnTo>
                <a:lnTo>
                  <a:pt x="663" y="31"/>
                </a:lnTo>
                <a:lnTo>
                  <a:pt x="665" y="33"/>
                </a:lnTo>
                <a:lnTo>
                  <a:pt x="666" y="36"/>
                </a:lnTo>
                <a:lnTo>
                  <a:pt x="668" y="37"/>
                </a:lnTo>
                <a:lnTo>
                  <a:pt x="669" y="33"/>
                </a:lnTo>
                <a:lnTo>
                  <a:pt x="671" y="31"/>
                </a:lnTo>
                <a:lnTo>
                  <a:pt x="672" y="27"/>
                </a:lnTo>
                <a:lnTo>
                  <a:pt x="674" y="26"/>
                </a:lnTo>
                <a:lnTo>
                  <a:pt x="675" y="27"/>
                </a:lnTo>
                <a:lnTo>
                  <a:pt x="677" y="26"/>
                </a:lnTo>
                <a:lnTo>
                  <a:pt x="678" y="24"/>
                </a:lnTo>
                <a:lnTo>
                  <a:pt x="680" y="24"/>
                </a:lnTo>
                <a:lnTo>
                  <a:pt x="681" y="22"/>
                </a:lnTo>
                <a:lnTo>
                  <a:pt x="683" y="23"/>
                </a:lnTo>
                <a:lnTo>
                  <a:pt x="684" y="18"/>
                </a:lnTo>
                <a:lnTo>
                  <a:pt x="686" y="18"/>
                </a:lnTo>
                <a:lnTo>
                  <a:pt x="687" y="14"/>
                </a:lnTo>
                <a:lnTo>
                  <a:pt x="689" y="14"/>
                </a:lnTo>
                <a:lnTo>
                  <a:pt x="690" y="14"/>
                </a:lnTo>
                <a:lnTo>
                  <a:pt x="692" y="15"/>
                </a:lnTo>
                <a:lnTo>
                  <a:pt x="693" y="15"/>
                </a:lnTo>
                <a:lnTo>
                  <a:pt x="695" y="12"/>
                </a:lnTo>
                <a:lnTo>
                  <a:pt x="696" y="12"/>
                </a:lnTo>
                <a:lnTo>
                  <a:pt x="698" y="10"/>
                </a:lnTo>
                <a:lnTo>
                  <a:pt x="699" y="8"/>
                </a:lnTo>
              </a:path>
            </a:pathLst>
          </a:custGeom>
          <a:noFill/>
          <a:ln w="38100">
            <a:solidFill>
              <a:srgbClr val="177B5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97" name="Rectangle 17"/>
          <p:cNvSpPr>
            <a:spLocks noChangeArrowheads="1"/>
          </p:cNvSpPr>
          <p:nvPr/>
        </p:nvSpPr>
        <p:spPr bwMode="gray">
          <a:xfrm>
            <a:off x="466725" y="1615749"/>
            <a:ext cx="9001125" cy="397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90000" bIns="9000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/>
              <a:t>US manufacturing output versus US manufacturing employment versus US manufacturing productivity</a:t>
            </a:r>
          </a:p>
        </p:txBody>
      </p:sp>
      <p:sp>
        <p:nvSpPr>
          <p:cNvPr id="20499" name="Rectangle 19"/>
          <p:cNvSpPr>
            <a:spLocks noChangeArrowheads="1"/>
          </p:cNvSpPr>
          <p:nvPr/>
        </p:nvSpPr>
        <p:spPr bwMode="gray">
          <a:xfrm>
            <a:off x="471637" y="2191797"/>
            <a:ext cx="25487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400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00" name="Rectangle 20"/>
          <p:cNvSpPr>
            <a:spLocks noChangeArrowheads="1"/>
          </p:cNvSpPr>
          <p:nvPr/>
        </p:nvSpPr>
        <p:spPr bwMode="gray">
          <a:xfrm>
            <a:off x="471637" y="3106197"/>
            <a:ext cx="25487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300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01" name="Rectangle 21"/>
          <p:cNvSpPr>
            <a:spLocks noChangeArrowheads="1"/>
          </p:cNvSpPr>
          <p:nvPr/>
        </p:nvSpPr>
        <p:spPr bwMode="gray">
          <a:xfrm>
            <a:off x="471637" y="4020597"/>
            <a:ext cx="25487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200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02" name="Rectangle 22"/>
          <p:cNvSpPr>
            <a:spLocks noChangeArrowheads="1"/>
          </p:cNvSpPr>
          <p:nvPr/>
        </p:nvSpPr>
        <p:spPr bwMode="gray">
          <a:xfrm>
            <a:off x="471637" y="4925472"/>
            <a:ext cx="25487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100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03" name="Rectangle 23"/>
          <p:cNvSpPr>
            <a:spLocks noChangeArrowheads="1"/>
          </p:cNvSpPr>
          <p:nvPr/>
        </p:nvSpPr>
        <p:spPr bwMode="gray">
          <a:xfrm>
            <a:off x="655050" y="5839872"/>
            <a:ext cx="8496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0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04" name="Rectangle 24"/>
          <p:cNvSpPr>
            <a:spLocks noChangeArrowheads="1"/>
          </p:cNvSpPr>
          <p:nvPr/>
        </p:nvSpPr>
        <p:spPr bwMode="gray">
          <a:xfrm>
            <a:off x="7449560" y="6022434"/>
            <a:ext cx="14106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10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05" name="Rectangle 25"/>
          <p:cNvSpPr>
            <a:spLocks noChangeArrowheads="1"/>
          </p:cNvSpPr>
          <p:nvPr/>
        </p:nvSpPr>
        <p:spPr bwMode="gray">
          <a:xfrm>
            <a:off x="7095833" y="6022434"/>
            <a:ext cx="14106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08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06" name="Rectangle 26"/>
          <p:cNvSpPr>
            <a:spLocks noChangeArrowheads="1"/>
          </p:cNvSpPr>
          <p:nvPr/>
        </p:nvSpPr>
        <p:spPr bwMode="gray">
          <a:xfrm>
            <a:off x="7626424" y="6022434"/>
            <a:ext cx="14106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11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07" name="Rectangle 27"/>
          <p:cNvSpPr>
            <a:spLocks noChangeArrowheads="1"/>
          </p:cNvSpPr>
          <p:nvPr/>
        </p:nvSpPr>
        <p:spPr bwMode="gray">
          <a:xfrm>
            <a:off x="6751931" y="6022434"/>
            <a:ext cx="14106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06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08" name="Rectangle 28"/>
          <p:cNvSpPr>
            <a:spLocks noChangeArrowheads="1"/>
          </p:cNvSpPr>
          <p:nvPr/>
        </p:nvSpPr>
        <p:spPr bwMode="gray">
          <a:xfrm>
            <a:off x="6398204" y="6022434"/>
            <a:ext cx="14106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04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09" name="Rectangle 29"/>
          <p:cNvSpPr>
            <a:spLocks noChangeArrowheads="1"/>
          </p:cNvSpPr>
          <p:nvPr/>
        </p:nvSpPr>
        <p:spPr bwMode="gray">
          <a:xfrm>
            <a:off x="6044477" y="6022434"/>
            <a:ext cx="14106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02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10" name="Rectangle 30"/>
          <p:cNvSpPr>
            <a:spLocks noChangeArrowheads="1"/>
          </p:cNvSpPr>
          <p:nvPr/>
        </p:nvSpPr>
        <p:spPr bwMode="gray">
          <a:xfrm>
            <a:off x="5700576" y="6022434"/>
            <a:ext cx="14106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00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11" name="Rectangle 31"/>
          <p:cNvSpPr>
            <a:spLocks noChangeArrowheads="1"/>
          </p:cNvSpPr>
          <p:nvPr/>
        </p:nvSpPr>
        <p:spPr bwMode="gray">
          <a:xfrm>
            <a:off x="5346848" y="6022434"/>
            <a:ext cx="14106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98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12" name="Rectangle 32"/>
          <p:cNvSpPr>
            <a:spLocks noChangeArrowheads="1"/>
          </p:cNvSpPr>
          <p:nvPr/>
        </p:nvSpPr>
        <p:spPr bwMode="gray">
          <a:xfrm>
            <a:off x="4993121" y="6022434"/>
            <a:ext cx="14106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96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13" name="Rectangle 33"/>
          <p:cNvSpPr>
            <a:spLocks noChangeArrowheads="1"/>
          </p:cNvSpPr>
          <p:nvPr/>
        </p:nvSpPr>
        <p:spPr bwMode="gray">
          <a:xfrm>
            <a:off x="4649220" y="6022434"/>
            <a:ext cx="14106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94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14" name="Rectangle 34"/>
          <p:cNvSpPr>
            <a:spLocks noChangeArrowheads="1"/>
          </p:cNvSpPr>
          <p:nvPr/>
        </p:nvSpPr>
        <p:spPr bwMode="gray">
          <a:xfrm>
            <a:off x="4295492" y="6022434"/>
            <a:ext cx="14106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92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15" name="Rectangle 35"/>
          <p:cNvSpPr>
            <a:spLocks noChangeArrowheads="1"/>
          </p:cNvSpPr>
          <p:nvPr/>
        </p:nvSpPr>
        <p:spPr bwMode="gray">
          <a:xfrm>
            <a:off x="3941765" y="6022434"/>
            <a:ext cx="14106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90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16" name="Rectangle 36"/>
          <p:cNvSpPr>
            <a:spLocks noChangeArrowheads="1"/>
          </p:cNvSpPr>
          <p:nvPr/>
        </p:nvSpPr>
        <p:spPr bwMode="gray">
          <a:xfrm>
            <a:off x="3597864" y="6022434"/>
            <a:ext cx="14106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88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17" name="Rectangle 37"/>
          <p:cNvSpPr>
            <a:spLocks noChangeArrowheads="1"/>
          </p:cNvSpPr>
          <p:nvPr/>
        </p:nvSpPr>
        <p:spPr bwMode="gray">
          <a:xfrm>
            <a:off x="3244137" y="6022434"/>
            <a:ext cx="14106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86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18" name="Rectangle 38"/>
          <p:cNvSpPr>
            <a:spLocks noChangeArrowheads="1"/>
          </p:cNvSpPr>
          <p:nvPr/>
        </p:nvSpPr>
        <p:spPr bwMode="gray">
          <a:xfrm>
            <a:off x="2890409" y="6022434"/>
            <a:ext cx="14106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84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19" name="Rectangle 39"/>
          <p:cNvSpPr>
            <a:spLocks noChangeArrowheads="1"/>
          </p:cNvSpPr>
          <p:nvPr/>
        </p:nvSpPr>
        <p:spPr bwMode="gray">
          <a:xfrm>
            <a:off x="2536682" y="6022434"/>
            <a:ext cx="14106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82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20" name="Rectangle 40"/>
          <p:cNvSpPr>
            <a:spLocks noChangeArrowheads="1"/>
          </p:cNvSpPr>
          <p:nvPr/>
        </p:nvSpPr>
        <p:spPr bwMode="gray">
          <a:xfrm>
            <a:off x="2192781" y="6022434"/>
            <a:ext cx="14106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80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21" name="Rectangle 41"/>
          <p:cNvSpPr>
            <a:spLocks noChangeArrowheads="1"/>
          </p:cNvSpPr>
          <p:nvPr/>
        </p:nvSpPr>
        <p:spPr bwMode="gray">
          <a:xfrm>
            <a:off x="1839054" y="6022434"/>
            <a:ext cx="14106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78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22" name="Rectangle 42"/>
          <p:cNvSpPr>
            <a:spLocks noChangeArrowheads="1"/>
          </p:cNvSpPr>
          <p:nvPr/>
        </p:nvSpPr>
        <p:spPr bwMode="gray">
          <a:xfrm>
            <a:off x="1485326" y="6022434"/>
            <a:ext cx="14106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76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23" name="Rectangle 43"/>
          <p:cNvSpPr>
            <a:spLocks noChangeArrowheads="1"/>
          </p:cNvSpPr>
          <p:nvPr/>
        </p:nvSpPr>
        <p:spPr bwMode="gray">
          <a:xfrm>
            <a:off x="1141425" y="6022434"/>
            <a:ext cx="14106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74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24" name="Rectangle 44"/>
          <p:cNvSpPr>
            <a:spLocks noChangeArrowheads="1"/>
          </p:cNvSpPr>
          <p:nvPr/>
        </p:nvSpPr>
        <p:spPr bwMode="gray">
          <a:xfrm>
            <a:off x="787698" y="6022434"/>
            <a:ext cx="14106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72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26" name="Rectangle 46"/>
          <p:cNvSpPr>
            <a:spLocks noChangeArrowheads="1"/>
          </p:cNvSpPr>
          <p:nvPr/>
        </p:nvSpPr>
        <p:spPr bwMode="gray">
          <a:xfrm>
            <a:off x="1257697" y="2979197"/>
            <a:ext cx="225992" cy="19050"/>
          </a:xfrm>
          <a:prstGeom prst="rect">
            <a:avLst/>
          </a:prstGeom>
          <a:solidFill>
            <a:srgbClr val="177B57"/>
          </a:solidFill>
          <a:ln w="38100" cap="flat">
            <a:solidFill>
              <a:srgbClr val="177B5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530" name="Rectangle 50"/>
          <p:cNvSpPr>
            <a:spLocks noChangeArrowheads="1"/>
          </p:cNvSpPr>
          <p:nvPr/>
        </p:nvSpPr>
        <p:spPr bwMode="gray">
          <a:xfrm>
            <a:off x="1542644" y="2929984"/>
            <a:ext cx="276678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Manufacturing output index (1972 = 100)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31" name="Rectangle 51"/>
          <p:cNvSpPr>
            <a:spLocks noChangeArrowheads="1"/>
          </p:cNvSpPr>
          <p:nvPr/>
        </p:nvSpPr>
        <p:spPr bwMode="gray">
          <a:xfrm>
            <a:off x="4257536" y="2920460"/>
            <a:ext cx="5770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1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BCG_FootNote_Box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1637" y="6324601"/>
            <a:ext cx="8959452" cy="3286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>
              <a:lnSpc>
                <a:spcPct val="90000"/>
              </a:lnSpc>
            </a:pPr>
            <a:r>
              <a:rPr lang="en-US" sz="800" dirty="0"/>
              <a:t>1. Gross value of </a:t>
            </a:r>
            <a:r>
              <a:rPr lang="en-US" sz="800" dirty="0" smtClean="0"/>
              <a:t>final products</a:t>
            </a:r>
            <a:r>
              <a:rPr lang="en-US" sz="800" dirty="0"/>
              <a:t>, measured in 2005 </a:t>
            </a:r>
            <a:r>
              <a:rPr lang="en-US" sz="800" dirty="0" smtClean="0"/>
              <a:t>USD </a:t>
            </a:r>
            <a:r>
              <a:rPr lang="en-US" sz="800" dirty="0"/>
              <a:t>prices, Federal Reserve </a:t>
            </a:r>
            <a:r>
              <a:rPr lang="en-US" sz="800" dirty="0" smtClean="0"/>
              <a:t>data </a:t>
            </a:r>
            <a:endParaRPr lang="en-US" sz="800" dirty="0"/>
          </a:p>
          <a:p>
            <a:pPr eaLnBrk="0" hangingPunct="0">
              <a:lnSpc>
                <a:spcPct val="90000"/>
              </a:lnSpc>
            </a:pPr>
            <a:r>
              <a:rPr lang="en-US" sz="800" dirty="0"/>
              <a:t>Source: Federal </a:t>
            </a:r>
            <a:r>
              <a:rPr lang="en-US" sz="800" dirty="0" smtClean="0"/>
              <a:t>Reserve; </a:t>
            </a:r>
            <a:r>
              <a:rPr lang="en-US" sz="800" dirty="0"/>
              <a:t>US Bureau of Labor Statistics</a:t>
            </a:r>
          </a:p>
        </p:txBody>
      </p:sp>
      <p:sp>
        <p:nvSpPr>
          <p:cNvPr id="54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842374" y="3373984"/>
            <a:ext cx="1625476" cy="486287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lIns="0" tIns="27432" rIns="0" bIns="27432" anchor="ctr" anchorCtr="1">
            <a:spAutoFit/>
          </a:bodyPr>
          <a:lstStyle/>
          <a:p>
            <a:pPr algn="ctr"/>
            <a:r>
              <a:rPr lang="en-US" sz="1400" b="1" dirty="0" smtClean="0"/>
              <a:t>Output up </a:t>
            </a:r>
            <a:br>
              <a:rPr lang="en-US" sz="1400" b="1" dirty="0" smtClean="0"/>
            </a:br>
            <a:r>
              <a:rPr lang="en-US" sz="1400" b="1" dirty="0" smtClean="0"/>
              <a:t>~ 2.5 × since 1972</a:t>
            </a:r>
            <a:endParaRPr lang="en-US" sz="1400" b="1" dirty="0"/>
          </a:p>
        </p:txBody>
      </p:sp>
      <p:sp>
        <p:nvSpPr>
          <p:cNvPr id="20527" name="Rectangle 47"/>
          <p:cNvSpPr>
            <a:spLocks noChangeArrowheads="1"/>
          </p:cNvSpPr>
          <p:nvPr/>
        </p:nvSpPr>
        <p:spPr bwMode="gray">
          <a:xfrm>
            <a:off x="1257697" y="2788697"/>
            <a:ext cx="225992" cy="19050"/>
          </a:xfrm>
          <a:prstGeom prst="rect">
            <a:avLst/>
          </a:prstGeom>
          <a:solidFill>
            <a:srgbClr val="DC8700"/>
          </a:solidFill>
          <a:ln w="38100" cap="flat">
            <a:solidFill>
              <a:srgbClr val="DC87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528" name="Rectangle 48"/>
          <p:cNvSpPr>
            <a:spLocks noChangeArrowheads="1"/>
          </p:cNvSpPr>
          <p:nvPr/>
        </p:nvSpPr>
        <p:spPr bwMode="gray">
          <a:xfrm>
            <a:off x="1542644" y="2696622"/>
            <a:ext cx="217848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Employment index (1972 = 100)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493" name="Freeform 13"/>
          <p:cNvSpPr>
            <a:spLocks/>
          </p:cNvSpPr>
          <p:nvPr/>
        </p:nvSpPr>
        <p:spPr bwMode="gray">
          <a:xfrm>
            <a:off x="869579" y="4873084"/>
            <a:ext cx="6858378" cy="427038"/>
          </a:xfrm>
          <a:custGeom>
            <a:avLst/>
            <a:gdLst/>
            <a:ahLst/>
            <a:cxnLst>
              <a:cxn ang="0">
                <a:pos x="10" y="10"/>
              </a:cxn>
              <a:cxn ang="0">
                <a:pos x="22" y="5"/>
              </a:cxn>
              <a:cxn ang="0">
                <a:pos x="34" y="4"/>
              </a:cxn>
              <a:cxn ang="0">
                <a:pos x="46" y="5"/>
              </a:cxn>
              <a:cxn ang="0">
                <a:pos x="58" y="15"/>
              </a:cxn>
              <a:cxn ang="0">
                <a:pos x="70" y="13"/>
              </a:cxn>
              <a:cxn ang="0">
                <a:pos x="82" y="11"/>
              </a:cxn>
              <a:cxn ang="0">
                <a:pos x="94" y="8"/>
              </a:cxn>
              <a:cxn ang="0">
                <a:pos x="106" y="5"/>
              </a:cxn>
              <a:cxn ang="0">
                <a:pos x="117" y="3"/>
              </a:cxn>
              <a:cxn ang="0">
                <a:pos x="129" y="0"/>
              </a:cxn>
              <a:cxn ang="0">
                <a:pos x="141" y="1"/>
              </a:cxn>
              <a:cxn ang="0">
                <a:pos x="153" y="6"/>
              </a:cxn>
              <a:cxn ang="0">
                <a:pos x="165" y="4"/>
              </a:cxn>
              <a:cxn ang="0">
                <a:pos x="177" y="7"/>
              </a:cxn>
              <a:cxn ang="0">
                <a:pos x="189" y="13"/>
              </a:cxn>
              <a:cxn ang="0">
                <a:pos x="201" y="15"/>
              </a:cxn>
              <a:cxn ang="0">
                <a:pos x="213" y="11"/>
              </a:cxn>
              <a:cxn ang="0">
                <a:pos x="225" y="8"/>
              </a:cxn>
              <a:cxn ang="0">
                <a:pos x="236" y="9"/>
              </a:cxn>
              <a:cxn ang="0">
                <a:pos x="248" y="10"/>
              </a:cxn>
              <a:cxn ang="0">
                <a:pos x="260" y="11"/>
              </a:cxn>
              <a:cxn ang="0">
                <a:pos x="272" y="11"/>
              </a:cxn>
              <a:cxn ang="0">
                <a:pos x="284" y="9"/>
              </a:cxn>
              <a:cxn ang="0">
                <a:pos x="296" y="9"/>
              </a:cxn>
              <a:cxn ang="0">
                <a:pos x="308" y="8"/>
              </a:cxn>
              <a:cxn ang="0">
                <a:pos x="320" y="9"/>
              </a:cxn>
              <a:cxn ang="0">
                <a:pos x="332" y="10"/>
              </a:cxn>
              <a:cxn ang="0">
                <a:pos x="344" y="13"/>
              </a:cxn>
              <a:cxn ang="0">
                <a:pos x="355" y="14"/>
              </a:cxn>
              <a:cxn ang="0">
                <a:pos x="367" y="15"/>
              </a:cxn>
              <a:cxn ang="0">
                <a:pos x="379" y="15"/>
              </a:cxn>
              <a:cxn ang="0">
                <a:pos x="391" y="15"/>
              </a:cxn>
              <a:cxn ang="0">
                <a:pos x="403" y="13"/>
              </a:cxn>
              <a:cxn ang="0">
                <a:pos x="415" y="12"/>
              </a:cxn>
              <a:cxn ang="0">
                <a:pos x="427" y="13"/>
              </a:cxn>
              <a:cxn ang="0">
                <a:pos x="439" y="12"/>
              </a:cxn>
              <a:cxn ang="0">
                <a:pos x="451" y="12"/>
              </a:cxn>
              <a:cxn ang="0">
                <a:pos x="463" y="11"/>
              </a:cxn>
              <a:cxn ang="0">
                <a:pos x="474" y="11"/>
              </a:cxn>
              <a:cxn ang="0">
                <a:pos x="486" y="12"/>
              </a:cxn>
              <a:cxn ang="0">
                <a:pos x="498" y="12"/>
              </a:cxn>
              <a:cxn ang="0">
                <a:pos x="510" y="12"/>
              </a:cxn>
              <a:cxn ang="0">
                <a:pos x="522" y="15"/>
              </a:cxn>
              <a:cxn ang="0">
                <a:pos x="534" y="21"/>
              </a:cxn>
              <a:cxn ang="0">
                <a:pos x="546" y="24"/>
              </a:cxn>
              <a:cxn ang="0">
                <a:pos x="558" y="27"/>
              </a:cxn>
              <a:cxn ang="0">
                <a:pos x="570" y="29"/>
              </a:cxn>
              <a:cxn ang="0">
                <a:pos x="582" y="29"/>
              </a:cxn>
              <a:cxn ang="0">
                <a:pos x="593" y="29"/>
              </a:cxn>
              <a:cxn ang="0">
                <a:pos x="605" y="29"/>
              </a:cxn>
              <a:cxn ang="0">
                <a:pos x="617" y="30"/>
              </a:cxn>
              <a:cxn ang="0">
                <a:pos x="629" y="31"/>
              </a:cxn>
              <a:cxn ang="0">
                <a:pos x="641" y="32"/>
              </a:cxn>
              <a:cxn ang="0">
                <a:pos x="653" y="34"/>
              </a:cxn>
              <a:cxn ang="0">
                <a:pos x="665" y="41"/>
              </a:cxn>
              <a:cxn ang="0">
                <a:pos x="677" y="45"/>
              </a:cxn>
              <a:cxn ang="0">
                <a:pos x="689" y="44"/>
              </a:cxn>
            </a:cxnLst>
            <a:rect l="0" t="0" r="r" b="b"/>
            <a:pathLst>
              <a:path w="699" h="45">
                <a:moveTo>
                  <a:pt x="0" y="12"/>
                </a:moveTo>
                <a:lnTo>
                  <a:pt x="1" y="12"/>
                </a:lnTo>
                <a:lnTo>
                  <a:pt x="3" y="11"/>
                </a:lnTo>
                <a:lnTo>
                  <a:pt x="4" y="11"/>
                </a:lnTo>
                <a:lnTo>
                  <a:pt x="6" y="10"/>
                </a:lnTo>
                <a:lnTo>
                  <a:pt x="7" y="10"/>
                </a:lnTo>
                <a:lnTo>
                  <a:pt x="9" y="11"/>
                </a:lnTo>
                <a:lnTo>
                  <a:pt x="10" y="10"/>
                </a:lnTo>
                <a:lnTo>
                  <a:pt x="12" y="10"/>
                </a:lnTo>
                <a:lnTo>
                  <a:pt x="13" y="9"/>
                </a:lnTo>
                <a:lnTo>
                  <a:pt x="15" y="8"/>
                </a:lnTo>
                <a:lnTo>
                  <a:pt x="16" y="7"/>
                </a:lnTo>
                <a:lnTo>
                  <a:pt x="18" y="7"/>
                </a:lnTo>
                <a:lnTo>
                  <a:pt x="19" y="6"/>
                </a:lnTo>
                <a:lnTo>
                  <a:pt x="21" y="6"/>
                </a:lnTo>
                <a:lnTo>
                  <a:pt x="22" y="5"/>
                </a:lnTo>
                <a:lnTo>
                  <a:pt x="24" y="5"/>
                </a:lnTo>
                <a:lnTo>
                  <a:pt x="25" y="5"/>
                </a:lnTo>
                <a:lnTo>
                  <a:pt x="27" y="5"/>
                </a:lnTo>
                <a:lnTo>
                  <a:pt x="28" y="5"/>
                </a:lnTo>
                <a:lnTo>
                  <a:pt x="30" y="5"/>
                </a:lnTo>
                <a:lnTo>
                  <a:pt x="31" y="4"/>
                </a:lnTo>
                <a:lnTo>
                  <a:pt x="33" y="4"/>
                </a:lnTo>
                <a:lnTo>
                  <a:pt x="34" y="4"/>
                </a:lnTo>
                <a:lnTo>
                  <a:pt x="36" y="4"/>
                </a:lnTo>
                <a:lnTo>
                  <a:pt x="37" y="4"/>
                </a:lnTo>
                <a:lnTo>
                  <a:pt x="39" y="4"/>
                </a:lnTo>
                <a:lnTo>
                  <a:pt x="40" y="4"/>
                </a:lnTo>
                <a:lnTo>
                  <a:pt x="42" y="4"/>
                </a:lnTo>
                <a:lnTo>
                  <a:pt x="43" y="4"/>
                </a:lnTo>
                <a:lnTo>
                  <a:pt x="45" y="5"/>
                </a:lnTo>
                <a:lnTo>
                  <a:pt x="46" y="5"/>
                </a:lnTo>
                <a:lnTo>
                  <a:pt x="48" y="6"/>
                </a:lnTo>
                <a:lnTo>
                  <a:pt x="49" y="6"/>
                </a:lnTo>
                <a:lnTo>
                  <a:pt x="51" y="8"/>
                </a:lnTo>
                <a:lnTo>
                  <a:pt x="52" y="10"/>
                </a:lnTo>
                <a:lnTo>
                  <a:pt x="54" y="12"/>
                </a:lnTo>
                <a:lnTo>
                  <a:pt x="55" y="14"/>
                </a:lnTo>
                <a:lnTo>
                  <a:pt x="57" y="15"/>
                </a:lnTo>
                <a:lnTo>
                  <a:pt x="58" y="15"/>
                </a:lnTo>
                <a:lnTo>
                  <a:pt x="59" y="15"/>
                </a:lnTo>
                <a:lnTo>
                  <a:pt x="61" y="16"/>
                </a:lnTo>
                <a:lnTo>
                  <a:pt x="62" y="16"/>
                </a:lnTo>
                <a:lnTo>
                  <a:pt x="64" y="15"/>
                </a:lnTo>
                <a:lnTo>
                  <a:pt x="65" y="14"/>
                </a:lnTo>
                <a:lnTo>
                  <a:pt x="67" y="14"/>
                </a:lnTo>
                <a:lnTo>
                  <a:pt x="68" y="14"/>
                </a:lnTo>
                <a:lnTo>
                  <a:pt x="70" y="13"/>
                </a:lnTo>
                <a:lnTo>
                  <a:pt x="71" y="12"/>
                </a:lnTo>
                <a:lnTo>
                  <a:pt x="73" y="12"/>
                </a:lnTo>
                <a:lnTo>
                  <a:pt x="74" y="11"/>
                </a:lnTo>
                <a:lnTo>
                  <a:pt x="76" y="11"/>
                </a:lnTo>
                <a:lnTo>
                  <a:pt x="77" y="11"/>
                </a:lnTo>
                <a:lnTo>
                  <a:pt x="79" y="11"/>
                </a:lnTo>
                <a:lnTo>
                  <a:pt x="80" y="11"/>
                </a:lnTo>
                <a:lnTo>
                  <a:pt x="82" y="11"/>
                </a:lnTo>
                <a:lnTo>
                  <a:pt x="83" y="10"/>
                </a:lnTo>
                <a:lnTo>
                  <a:pt x="85" y="11"/>
                </a:lnTo>
                <a:lnTo>
                  <a:pt x="86" y="10"/>
                </a:lnTo>
                <a:lnTo>
                  <a:pt x="88" y="10"/>
                </a:lnTo>
                <a:lnTo>
                  <a:pt x="89" y="9"/>
                </a:lnTo>
                <a:lnTo>
                  <a:pt x="91" y="9"/>
                </a:lnTo>
                <a:lnTo>
                  <a:pt x="92" y="9"/>
                </a:lnTo>
                <a:lnTo>
                  <a:pt x="94" y="8"/>
                </a:lnTo>
                <a:lnTo>
                  <a:pt x="95" y="8"/>
                </a:lnTo>
                <a:lnTo>
                  <a:pt x="97" y="7"/>
                </a:lnTo>
                <a:lnTo>
                  <a:pt x="98" y="7"/>
                </a:lnTo>
                <a:lnTo>
                  <a:pt x="100" y="7"/>
                </a:lnTo>
                <a:lnTo>
                  <a:pt x="101" y="6"/>
                </a:lnTo>
                <a:lnTo>
                  <a:pt x="103" y="6"/>
                </a:lnTo>
                <a:lnTo>
                  <a:pt x="104" y="6"/>
                </a:lnTo>
                <a:lnTo>
                  <a:pt x="106" y="5"/>
                </a:lnTo>
                <a:lnTo>
                  <a:pt x="107" y="5"/>
                </a:lnTo>
                <a:lnTo>
                  <a:pt x="109" y="5"/>
                </a:lnTo>
                <a:lnTo>
                  <a:pt x="110" y="4"/>
                </a:lnTo>
                <a:lnTo>
                  <a:pt x="112" y="4"/>
                </a:lnTo>
                <a:lnTo>
                  <a:pt x="113" y="4"/>
                </a:lnTo>
                <a:lnTo>
                  <a:pt x="115" y="3"/>
                </a:lnTo>
                <a:lnTo>
                  <a:pt x="116" y="3"/>
                </a:lnTo>
                <a:lnTo>
                  <a:pt x="117" y="3"/>
                </a:lnTo>
                <a:lnTo>
                  <a:pt x="119" y="2"/>
                </a:lnTo>
                <a:lnTo>
                  <a:pt x="120" y="2"/>
                </a:lnTo>
                <a:lnTo>
                  <a:pt x="122" y="1"/>
                </a:lnTo>
                <a:lnTo>
                  <a:pt x="123" y="1"/>
                </a:lnTo>
                <a:lnTo>
                  <a:pt x="125" y="1"/>
                </a:lnTo>
                <a:lnTo>
                  <a:pt x="126" y="0"/>
                </a:lnTo>
                <a:lnTo>
                  <a:pt x="128" y="0"/>
                </a:lnTo>
                <a:lnTo>
                  <a:pt x="129" y="0"/>
                </a:lnTo>
                <a:lnTo>
                  <a:pt x="131" y="0"/>
                </a:lnTo>
                <a:lnTo>
                  <a:pt x="132" y="0"/>
                </a:lnTo>
                <a:lnTo>
                  <a:pt x="134" y="0"/>
                </a:lnTo>
                <a:lnTo>
                  <a:pt x="135" y="0"/>
                </a:lnTo>
                <a:lnTo>
                  <a:pt x="137" y="0"/>
                </a:lnTo>
                <a:lnTo>
                  <a:pt x="138" y="1"/>
                </a:lnTo>
                <a:lnTo>
                  <a:pt x="140" y="1"/>
                </a:lnTo>
                <a:lnTo>
                  <a:pt x="141" y="1"/>
                </a:lnTo>
                <a:lnTo>
                  <a:pt x="143" y="1"/>
                </a:lnTo>
                <a:lnTo>
                  <a:pt x="144" y="2"/>
                </a:lnTo>
                <a:lnTo>
                  <a:pt x="146" y="2"/>
                </a:lnTo>
                <a:lnTo>
                  <a:pt x="147" y="3"/>
                </a:lnTo>
                <a:lnTo>
                  <a:pt x="149" y="4"/>
                </a:lnTo>
                <a:lnTo>
                  <a:pt x="150" y="6"/>
                </a:lnTo>
                <a:lnTo>
                  <a:pt x="152" y="7"/>
                </a:lnTo>
                <a:lnTo>
                  <a:pt x="153" y="6"/>
                </a:lnTo>
                <a:lnTo>
                  <a:pt x="155" y="6"/>
                </a:lnTo>
                <a:lnTo>
                  <a:pt x="156" y="5"/>
                </a:lnTo>
                <a:lnTo>
                  <a:pt x="158" y="5"/>
                </a:lnTo>
                <a:lnTo>
                  <a:pt x="159" y="5"/>
                </a:lnTo>
                <a:lnTo>
                  <a:pt x="161" y="5"/>
                </a:lnTo>
                <a:lnTo>
                  <a:pt x="162" y="5"/>
                </a:lnTo>
                <a:lnTo>
                  <a:pt x="164" y="5"/>
                </a:lnTo>
                <a:lnTo>
                  <a:pt x="165" y="4"/>
                </a:lnTo>
                <a:lnTo>
                  <a:pt x="167" y="4"/>
                </a:lnTo>
                <a:lnTo>
                  <a:pt x="168" y="4"/>
                </a:lnTo>
                <a:lnTo>
                  <a:pt x="170" y="4"/>
                </a:lnTo>
                <a:lnTo>
                  <a:pt x="171" y="4"/>
                </a:lnTo>
                <a:lnTo>
                  <a:pt x="173" y="4"/>
                </a:lnTo>
                <a:lnTo>
                  <a:pt x="174" y="5"/>
                </a:lnTo>
                <a:lnTo>
                  <a:pt x="175" y="6"/>
                </a:lnTo>
                <a:lnTo>
                  <a:pt x="177" y="7"/>
                </a:lnTo>
                <a:lnTo>
                  <a:pt x="178" y="8"/>
                </a:lnTo>
                <a:lnTo>
                  <a:pt x="180" y="8"/>
                </a:lnTo>
                <a:lnTo>
                  <a:pt x="181" y="9"/>
                </a:lnTo>
                <a:lnTo>
                  <a:pt x="183" y="10"/>
                </a:lnTo>
                <a:lnTo>
                  <a:pt x="184" y="11"/>
                </a:lnTo>
                <a:lnTo>
                  <a:pt x="186" y="11"/>
                </a:lnTo>
                <a:lnTo>
                  <a:pt x="187" y="12"/>
                </a:lnTo>
                <a:lnTo>
                  <a:pt x="189" y="13"/>
                </a:lnTo>
                <a:lnTo>
                  <a:pt x="190" y="13"/>
                </a:lnTo>
                <a:lnTo>
                  <a:pt x="192" y="15"/>
                </a:lnTo>
                <a:lnTo>
                  <a:pt x="193" y="15"/>
                </a:lnTo>
                <a:lnTo>
                  <a:pt x="195" y="16"/>
                </a:lnTo>
                <a:lnTo>
                  <a:pt x="196" y="15"/>
                </a:lnTo>
                <a:lnTo>
                  <a:pt x="198" y="15"/>
                </a:lnTo>
                <a:lnTo>
                  <a:pt x="199" y="15"/>
                </a:lnTo>
                <a:lnTo>
                  <a:pt x="201" y="15"/>
                </a:lnTo>
                <a:lnTo>
                  <a:pt x="202" y="14"/>
                </a:lnTo>
                <a:lnTo>
                  <a:pt x="204" y="14"/>
                </a:lnTo>
                <a:lnTo>
                  <a:pt x="205" y="13"/>
                </a:lnTo>
                <a:lnTo>
                  <a:pt x="207" y="13"/>
                </a:lnTo>
                <a:lnTo>
                  <a:pt x="208" y="12"/>
                </a:lnTo>
                <a:lnTo>
                  <a:pt x="210" y="12"/>
                </a:lnTo>
                <a:lnTo>
                  <a:pt x="211" y="11"/>
                </a:lnTo>
                <a:lnTo>
                  <a:pt x="213" y="11"/>
                </a:lnTo>
                <a:lnTo>
                  <a:pt x="214" y="10"/>
                </a:lnTo>
                <a:lnTo>
                  <a:pt x="216" y="10"/>
                </a:lnTo>
                <a:lnTo>
                  <a:pt x="217" y="9"/>
                </a:lnTo>
                <a:lnTo>
                  <a:pt x="219" y="9"/>
                </a:lnTo>
                <a:lnTo>
                  <a:pt x="220" y="9"/>
                </a:lnTo>
                <a:lnTo>
                  <a:pt x="222" y="8"/>
                </a:lnTo>
                <a:lnTo>
                  <a:pt x="223" y="8"/>
                </a:lnTo>
                <a:lnTo>
                  <a:pt x="225" y="8"/>
                </a:lnTo>
                <a:lnTo>
                  <a:pt x="226" y="8"/>
                </a:lnTo>
                <a:lnTo>
                  <a:pt x="228" y="8"/>
                </a:lnTo>
                <a:lnTo>
                  <a:pt x="229" y="8"/>
                </a:lnTo>
                <a:lnTo>
                  <a:pt x="231" y="8"/>
                </a:lnTo>
                <a:lnTo>
                  <a:pt x="232" y="8"/>
                </a:lnTo>
                <a:lnTo>
                  <a:pt x="233" y="8"/>
                </a:lnTo>
                <a:lnTo>
                  <a:pt x="235" y="9"/>
                </a:lnTo>
                <a:lnTo>
                  <a:pt x="236" y="9"/>
                </a:lnTo>
                <a:lnTo>
                  <a:pt x="238" y="9"/>
                </a:lnTo>
                <a:lnTo>
                  <a:pt x="239" y="9"/>
                </a:lnTo>
                <a:lnTo>
                  <a:pt x="241" y="10"/>
                </a:lnTo>
                <a:lnTo>
                  <a:pt x="242" y="10"/>
                </a:lnTo>
                <a:lnTo>
                  <a:pt x="244" y="10"/>
                </a:lnTo>
                <a:lnTo>
                  <a:pt x="245" y="10"/>
                </a:lnTo>
                <a:lnTo>
                  <a:pt x="247" y="10"/>
                </a:lnTo>
                <a:lnTo>
                  <a:pt x="248" y="10"/>
                </a:lnTo>
                <a:lnTo>
                  <a:pt x="250" y="10"/>
                </a:lnTo>
                <a:lnTo>
                  <a:pt x="251" y="10"/>
                </a:lnTo>
                <a:lnTo>
                  <a:pt x="253" y="10"/>
                </a:lnTo>
                <a:lnTo>
                  <a:pt x="254" y="10"/>
                </a:lnTo>
                <a:lnTo>
                  <a:pt x="256" y="11"/>
                </a:lnTo>
                <a:lnTo>
                  <a:pt x="257" y="11"/>
                </a:lnTo>
                <a:lnTo>
                  <a:pt x="259" y="11"/>
                </a:lnTo>
                <a:lnTo>
                  <a:pt x="260" y="11"/>
                </a:lnTo>
                <a:lnTo>
                  <a:pt x="262" y="11"/>
                </a:lnTo>
                <a:lnTo>
                  <a:pt x="263" y="11"/>
                </a:lnTo>
                <a:lnTo>
                  <a:pt x="265" y="11"/>
                </a:lnTo>
                <a:lnTo>
                  <a:pt x="266" y="11"/>
                </a:lnTo>
                <a:lnTo>
                  <a:pt x="268" y="11"/>
                </a:lnTo>
                <a:lnTo>
                  <a:pt x="269" y="11"/>
                </a:lnTo>
                <a:lnTo>
                  <a:pt x="271" y="11"/>
                </a:lnTo>
                <a:lnTo>
                  <a:pt x="272" y="11"/>
                </a:lnTo>
                <a:lnTo>
                  <a:pt x="274" y="11"/>
                </a:lnTo>
                <a:lnTo>
                  <a:pt x="275" y="11"/>
                </a:lnTo>
                <a:lnTo>
                  <a:pt x="277" y="11"/>
                </a:lnTo>
                <a:lnTo>
                  <a:pt x="278" y="10"/>
                </a:lnTo>
                <a:lnTo>
                  <a:pt x="280" y="10"/>
                </a:lnTo>
                <a:lnTo>
                  <a:pt x="281" y="10"/>
                </a:lnTo>
                <a:lnTo>
                  <a:pt x="283" y="10"/>
                </a:lnTo>
                <a:lnTo>
                  <a:pt x="284" y="9"/>
                </a:lnTo>
                <a:lnTo>
                  <a:pt x="286" y="9"/>
                </a:lnTo>
                <a:lnTo>
                  <a:pt x="287" y="9"/>
                </a:lnTo>
                <a:lnTo>
                  <a:pt x="289" y="9"/>
                </a:lnTo>
                <a:lnTo>
                  <a:pt x="290" y="9"/>
                </a:lnTo>
                <a:lnTo>
                  <a:pt x="291" y="9"/>
                </a:lnTo>
                <a:lnTo>
                  <a:pt x="293" y="9"/>
                </a:lnTo>
                <a:lnTo>
                  <a:pt x="294" y="9"/>
                </a:lnTo>
                <a:lnTo>
                  <a:pt x="296" y="9"/>
                </a:lnTo>
                <a:lnTo>
                  <a:pt x="297" y="9"/>
                </a:lnTo>
                <a:lnTo>
                  <a:pt x="299" y="8"/>
                </a:lnTo>
                <a:lnTo>
                  <a:pt x="300" y="8"/>
                </a:lnTo>
                <a:lnTo>
                  <a:pt x="302" y="8"/>
                </a:lnTo>
                <a:lnTo>
                  <a:pt x="303" y="8"/>
                </a:lnTo>
                <a:lnTo>
                  <a:pt x="305" y="8"/>
                </a:lnTo>
                <a:lnTo>
                  <a:pt x="306" y="8"/>
                </a:lnTo>
                <a:lnTo>
                  <a:pt x="308" y="8"/>
                </a:lnTo>
                <a:lnTo>
                  <a:pt x="309" y="8"/>
                </a:lnTo>
                <a:lnTo>
                  <a:pt x="311" y="8"/>
                </a:lnTo>
                <a:lnTo>
                  <a:pt x="312" y="8"/>
                </a:lnTo>
                <a:lnTo>
                  <a:pt x="314" y="8"/>
                </a:lnTo>
                <a:lnTo>
                  <a:pt x="315" y="9"/>
                </a:lnTo>
                <a:lnTo>
                  <a:pt x="317" y="9"/>
                </a:lnTo>
                <a:lnTo>
                  <a:pt x="318" y="9"/>
                </a:lnTo>
                <a:lnTo>
                  <a:pt x="320" y="9"/>
                </a:lnTo>
                <a:lnTo>
                  <a:pt x="321" y="9"/>
                </a:lnTo>
                <a:lnTo>
                  <a:pt x="323" y="9"/>
                </a:lnTo>
                <a:lnTo>
                  <a:pt x="324" y="9"/>
                </a:lnTo>
                <a:lnTo>
                  <a:pt x="326" y="9"/>
                </a:lnTo>
                <a:lnTo>
                  <a:pt x="327" y="9"/>
                </a:lnTo>
                <a:lnTo>
                  <a:pt x="329" y="10"/>
                </a:lnTo>
                <a:lnTo>
                  <a:pt x="330" y="10"/>
                </a:lnTo>
                <a:lnTo>
                  <a:pt x="332" y="10"/>
                </a:lnTo>
                <a:lnTo>
                  <a:pt x="333" y="10"/>
                </a:lnTo>
                <a:lnTo>
                  <a:pt x="335" y="11"/>
                </a:lnTo>
                <a:lnTo>
                  <a:pt x="336" y="11"/>
                </a:lnTo>
                <a:lnTo>
                  <a:pt x="338" y="12"/>
                </a:lnTo>
                <a:lnTo>
                  <a:pt x="339" y="12"/>
                </a:lnTo>
                <a:lnTo>
                  <a:pt x="341" y="13"/>
                </a:lnTo>
                <a:lnTo>
                  <a:pt x="342" y="13"/>
                </a:lnTo>
                <a:lnTo>
                  <a:pt x="344" y="13"/>
                </a:lnTo>
                <a:lnTo>
                  <a:pt x="345" y="13"/>
                </a:lnTo>
                <a:lnTo>
                  <a:pt x="347" y="14"/>
                </a:lnTo>
                <a:lnTo>
                  <a:pt x="348" y="14"/>
                </a:lnTo>
                <a:lnTo>
                  <a:pt x="350" y="14"/>
                </a:lnTo>
                <a:lnTo>
                  <a:pt x="351" y="14"/>
                </a:lnTo>
                <a:lnTo>
                  <a:pt x="352" y="14"/>
                </a:lnTo>
                <a:lnTo>
                  <a:pt x="354" y="14"/>
                </a:lnTo>
                <a:lnTo>
                  <a:pt x="355" y="14"/>
                </a:lnTo>
                <a:lnTo>
                  <a:pt x="357" y="15"/>
                </a:lnTo>
                <a:lnTo>
                  <a:pt x="358" y="15"/>
                </a:lnTo>
                <a:lnTo>
                  <a:pt x="360" y="15"/>
                </a:lnTo>
                <a:lnTo>
                  <a:pt x="361" y="15"/>
                </a:lnTo>
                <a:lnTo>
                  <a:pt x="363" y="15"/>
                </a:lnTo>
                <a:lnTo>
                  <a:pt x="364" y="15"/>
                </a:lnTo>
                <a:lnTo>
                  <a:pt x="366" y="15"/>
                </a:lnTo>
                <a:lnTo>
                  <a:pt x="367" y="15"/>
                </a:lnTo>
                <a:lnTo>
                  <a:pt x="369" y="15"/>
                </a:lnTo>
                <a:lnTo>
                  <a:pt x="370" y="15"/>
                </a:lnTo>
                <a:lnTo>
                  <a:pt x="372" y="15"/>
                </a:lnTo>
                <a:lnTo>
                  <a:pt x="373" y="15"/>
                </a:lnTo>
                <a:lnTo>
                  <a:pt x="375" y="15"/>
                </a:lnTo>
                <a:lnTo>
                  <a:pt x="376" y="15"/>
                </a:lnTo>
                <a:lnTo>
                  <a:pt x="378" y="15"/>
                </a:lnTo>
                <a:lnTo>
                  <a:pt x="379" y="15"/>
                </a:lnTo>
                <a:lnTo>
                  <a:pt x="381" y="15"/>
                </a:lnTo>
                <a:lnTo>
                  <a:pt x="382" y="15"/>
                </a:lnTo>
                <a:lnTo>
                  <a:pt x="384" y="15"/>
                </a:lnTo>
                <a:lnTo>
                  <a:pt x="385" y="15"/>
                </a:lnTo>
                <a:lnTo>
                  <a:pt x="387" y="15"/>
                </a:lnTo>
                <a:lnTo>
                  <a:pt x="388" y="15"/>
                </a:lnTo>
                <a:lnTo>
                  <a:pt x="390" y="15"/>
                </a:lnTo>
                <a:lnTo>
                  <a:pt x="391" y="15"/>
                </a:lnTo>
                <a:lnTo>
                  <a:pt x="393" y="15"/>
                </a:lnTo>
                <a:lnTo>
                  <a:pt x="394" y="15"/>
                </a:lnTo>
                <a:lnTo>
                  <a:pt x="396" y="14"/>
                </a:lnTo>
                <a:lnTo>
                  <a:pt x="397" y="14"/>
                </a:lnTo>
                <a:lnTo>
                  <a:pt x="399" y="14"/>
                </a:lnTo>
                <a:lnTo>
                  <a:pt x="400" y="14"/>
                </a:lnTo>
                <a:lnTo>
                  <a:pt x="402" y="14"/>
                </a:lnTo>
                <a:lnTo>
                  <a:pt x="403" y="13"/>
                </a:lnTo>
                <a:lnTo>
                  <a:pt x="405" y="13"/>
                </a:lnTo>
                <a:lnTo>
                  <a:pt x="406" y="13"/>
                </a:lnTo>
                <a:lnTo>
                  <a:pt x="408" y="13"/>
                </a:lnTo>
                <a:lnTo>
                  <a:pt x="409" y="13"/>
                </a:lnTo>
                <a:lnTo>
                  <a:pt x="410" y="12"/>
                </a:lnTo>
                <a:lnTo>
                  <a:pt x="412" y="12"/>
                </a:lnTo>
                <a:lnTo>
                  <a:pt x="413" y="12"/>
                </a:lnTo>
                <a:lnTo>
                  <a:pt x="415" y="12"/>
                </a:lnTo>
                <a:lnTo>
                  <a:pt x="416" y="12"/>
                </a:lnTo>
                <a:lnTo>
                  <a:pt x="418" y="12"/>
                </a:lnTo>
                <a:lnTo>
                  <a:pt x="419" y="13"/>
                </a:lnTo>
                <a:lnTo>
                  <a:pt x="421" y="12"/>
                </a:lnTo>
                <a:lnTo>
                  <a:pt x="422" y="12"/>
                </a:lnTo>
                <a:lnTo>
                  <a:pt x="424" y="13"/>
                </a:lnTo>
                <a:lnTo>
                  <a:pt x="425" y="13"/>
                </a:lnTo>
                <a:lnTo>
                  <a:pt x="427" y="13"/>
                </a:lnTo>
                <a:lnTo>
                  <a:pt x="428" y="13"/>
                </a:lnTo>
                <a:lnTo>
                  <a:pt x="430" y="13"/>
                </a:lnTo>
                <a:lnTo>
                  <a:pt x="431" y="13"/>
                </a:lnTo>
                <a:lnTo>
                  <a:pt x="433" y="13"/>
                </a:lnTo>
                <a:lnTo>
                  <a:pt x="434" y="13"/>
                </a:lnTo>
                <a:lnTo>
                  <a:pt x="436" y="13"/>
                </a:lnTo>
                <a:lnTo>
                  <a:pt x="437" y="13"/>
                </a:lnTo>
                <a:lnTo>
                  <a:pt x="439" y="12"/>
                </a:lnTo>
                <a:lnTo>
                  <a:pt x="440" y="12"/>
                </a:lnTo>
                <a:lnTo>
                  <a:pt x="442" y="12"/>
                </a:lnTo>
                <a:lnTo>
                  <a:pt x="443" y="12"/>
                </a:lnTo>
                <a:lnTo>
                  <a:pt x="445" y="12"/>
                </a:lnTo>
                <a:lnTo>
                  <a:pt x="446" y="12"/>
                </a:lnTo>
                <a:lnTo>
                  <a:pt x="448" y="12"/>
                </a:lnTo>
                <a:lnTo>
                  <a:pt x="449" y="12"/>
                </a:lnTo>
                <a:lnTo>
                  <a:pt x="451" y="12"/>
                </a:lnTo>
                <a:lnTo>
                  <a:pt x="452" y="12"/>
                </a:lnTo>
                <a:lnTo>
                  <a:pt x="454" y="12"/>
                </a:lnTo>
                <a:lnTo>
                  <a:pt x="455" y="12"/>
                </a:lnTo>
                <a:lnTo>
                  <a:pt x="457" y="11"/>
                </a:lnTo>
                <a:lnTo>
                  <a:pt x="458" y="11"/>
                </a:lnTo>
                <a:lnTo>
                  <a:pt x="460" y="11"/>
                </a:lnTo>
                <a:lnTo>
                  <a:pt x="461" y="11"/>
                </a:lnTo>
                <a:lnTo>
                  <a:pt x="463" y="11"/>
                </a:lnTo>
                <a:lnTo>
                  <a:pt x="464" y="10"/>
                </a:lnTo>
                <a:lnTo>
                  <a:pt x="466" y="10"/>
                </a:lnTo>
                <a:lnTo>
                  <a:pt x="467" y="10"/>
                </a:lnTo>
                <a:lnTo>
                  <a:pt x="468" y="10"/>
                </a:lnTo>
                <a:lnTo>
                  <a:pt x="470" y="10"/>
                </a:lnTo>
                <a:lnTo>
                  <a:pt x="471" y="10"/>
                </a:lnTo>
                <a:lnTo>
                  <a:pt x="473" y="11"/>
                </a:lnTo>
                <a:lnTo>
                  <a:pt x="474" y="11"/>
                </a:lnTo>
                <a:lnTo>
                  <a:pt x="476" y="11"/>
                </a:lnTo>
                <a:lnTo>
                  <a:pt x="477" y="11"/>
                </a:lnTo>
                <a:lnTo>
                  <a:pt x="479" y="11"/>
                </a:lnTo>
                <a:lnTo>
                  <a:pt x="480" y="11"/>
                </a:lnTo>
                <a:lnTo>
                  <a:pt x="482" y="11"/>
                </a:lnTo>
                <a:lnTo>
                  <a:pt x="483" y="12"/>
                </a:lnTo>
                <a:lnTo>
                  <a:pt x="485" y="12"/>
                </a:lnTo>
                <a:lnTo>
                  <a:pt x="486" y="12"/>
                </a:lnTo>
                <a:lnTo>
                  <a:pt x="488" y="12"/>
                </a:lnTo>
                <a:lnTo>
                  <a:pt x="489" y="12"/>
                </a:lnTo>
                <a:lnTo>
                  <a:pt x="491" y="12"/>
                </a:lnTo>
                <a:lnTo>
                  <a:pt x="492" y="12"/>
                </a:lnTo>
                <a:lnTo>
                  <a:pt x="494" y="12"/>
                </a:lnTo>
                <a:lnTo>
                  <a:pt x="495" y="12"/>
                </a:lnTo>
                <a:lnTo>
                  <a:pt x="497" y="12"/>
                </a:lnTo>
                <a:lnTo>
                  <a:pt x="498" y="12"/>
                </a:lnTo>
                <a:lnTo>
                  <a:pt x="500" y="12"/>
                </a:lnTo>
                <a:lnTo>
                  <a:pt x="501" y="12"/>
                </a:lnTo>
                <a:lnTo>
                  <a:pt x="503" y="12"/>
                </a:lnTo>
                <a:lnTo>
                  <a:pt x="504" y="12"/>
                </a:lnTo>
                <a:lnTo>
                  <a:pt x="506" y="12"/>
                </a:lnTo>
                <a:lnTo>
                  <a:pt x="507" y="12"/>
                </a:lnTo>
                <a:lnTo>
                  <a:pt x="509" y="12"/>
                </a:lnTo>
                <a:lnTo>
                  <a:pt x="510" y="12"/>
                </a:lnTo>
                <a:lnTo>
                  <a:pt x="512" y="13"/>
                </a:lnTo>
                <a:lnTo>
                  <a:pt x="513" y="13"/>
                </a:lnTo>
                <a:lnTo>
                  <a:pt x="515" y="13"/>
                </a:lnTo>
                <a:lnTo>
                  <a:pt x="516" y="13"/>
                </a:lnTo>
                <a:lnTo>
                  <a:pt x="518" y="13"/>
                </a:lnTo>
                <a:lnTo>
                  <a:pt x="519" y="14"/>
                </a:lnTo>
                <a:lnTo>
                  <a:pt x="521" y="14"/>
                </a:lnTo>
                <a:lnTo>
                  <a:pt x="522" y="15"/>
                </a:lnTo>
                <a:lnTo>
                  <a:pt x="524" y="16"/>
                </a:lnTo>
                <a:lnTo>
                  <a:pt x="525" y="16"/>
                </a:lnTo>
                <a:lnTo>
                  <a:pt x="526" y="17"/>
                </a:lnTo>
                <a:lnTo>
                  <a:pt x="528" y="18"/>
                </a:lnTo>
                <a:lnTo>
                  <a:pt x="529" y="19"/>
                </a:lnTo>
                <a:lnTo>
                  <a:pt x="531" y="20"/>
                </a:lnTo>
                <a:lnTo>
                  <a:pt x="532" y="20"/>
                </a:lnTo>
                <a:lnTo>
                  <a:pt x="534" y="21"/>
                </a:lnTo>
                <a:lnTo>
                  <a:pt x="535" y="22"/>
                </a:lnTo>
                <a:lnTo>
                  <a:pt x="537" y="22"/>
                </a:lnTo>
                <a:lnTo>
                  <a:pt x="538" y="22"/>
                </a:lnTo>
                <a:lnTo>
                  <a:pt x="540" y="23"/>
                </a:lnTo>
                <a:lnTo>
                  <a:pt x="541" y="23"/>
                </a:lnTo>
                <a:lnTo>
                  <a:pt x="543" y="23"/>
                </a:lnTo>
                <a:lnTo>
                  <a:pt x="544" y="24"/>
                </a:lnTo>
                <a:lnTo>
                  <a:pt x="546" y="24"/>
                </a:lnTo>
                <a:lnTo>
                  <a:pt x="547" y="24"/>
                </a:lnTo>
                <a:lnTo>
                  <a:pt x="549" y="25"/>
                </a:lnTo>
                <a:lnTo>
                  <a:pt x="550" y="25"/>
                </a:lnTo>
                <a:lnTo>
                  <a:pt x="552" y="25"/>
                </a:lnTo>
                <a:lnTo>
                  <a:pt x="553" y="26"/>
                </a:lnTo>
                <a:lnTo>
                  <a:pt x="555" y="26"/>
                </a:lnTo>
                <a:lnTo>
                  <a:pt x="556" y="26"/>
                </a:lnTo>
                <a:lnTo>
                  <a:pt x="558" y="27"/>
                </a:lnTo>
                <a:lnTo>
                  <a:pt x="559" y="27"/>
                </a:lnTo>
                <a:lnTo>
                  <a:pt x="561" y="28"/>
                </a:lnTo>
                <a:lnTo>
                  <a:pt x="562" y="28"/>
                </a:lnTo>
                <a:lnTo>
                  <a:pt x="564" y="28"/>
                </a:lnTo>
                <a:lnTo>
                  <a:pt x="565" y="29"/>
                </a:lnTo>
                <a:lnTo>
                  <a:pt x="567" y="29"/>
                </a:lnTo>
                <a:lnTo>
                  <a:pt x="568" y="29"/>
                </a:lnTo>
                <a:lnTo>
                  <a:pt x="570" y="29"/>
                </a:lnTo>
                <a:lnTo>
                  <a:pt x="571" y="29"/>
                </a:lnTo>
                <a:lnTo>
                  <a:pt x="573" y="29"/>
                </a:lnTo>
                <a:lnTo>
                  <a:pt x="574" y="29"/>
                </a:lnTo>
                <a:lnTo>
                  <a:pt x="576" y="29"/>
                </a:lnTo>
                <a:lnTo>
                  <a:pt x="577" y="29"/>
                </a:lnTo>
                <a:lnTo>
                  <a:pt x="579" y="29"/>
                </a:lnTo>
                <a:lnTo>
                  <a:pt x="580" y="29"/>
                </a:lnTo>
                <a:lnTo>
                  <a:pt x="582" y="29"/>
                </a:lnTo>
                <a:lnTo>
                  <a:pt x="583" y="29"/>
                </a:lnTo>
                <a:lnTo>
                  <a:pt x="584" y="29"/>
                </a:lnTo>
                <a:lnTo>
                  <a:pt x="586" y="29"/>
                </a:lnTo>
                <a:lnTo>
                  <a:pt x="587" y="29"/>
                </a:lnTo>
                <a:lnTo>
                  <a:pt x="589" y="29"/>
                </a:lnTo>
                <a:lnTo>
                  <a:pt x="590" y="29"/>
                </a:lnTo>
                <a:lnTo>
                  <a:pt x="592" y="29"/>
                </a:lnTo>
                <a:lnTo>
                  <a:pt x="593" y="29"/>
                </a:lnTo>
                <a:lnTo>
                  <a:pt x="595" y="29"/>
                </a:lnTo>
                <a:lnTo>
                  <a:pt x="596" y="29"/>
                </a:lnTo>
                <a:lnTo>
                  <a:pt x="598" y="29"/>
                </a:lnTo>
                <a:lnTo>
                  <a:pt x="599" y="29"/>
                </a:lnTo>
                <a:lnTo>
                  <a:pt x="601" y="29"/>
                </a:lnTo>
                <a:lnTo>
                  <a:pt x="602" y="29"/>
                </a:lnTo>
                <a:lnTo>
                  <a:pt x="604" y="29"/>
                </a:lnTo>
                <a:lnTo>
                  <a:pt x="605" y="29"/>
                </a:lnTo>
                <a:lnTo>
                  <a:pt x="607" y="29"/>
                </a:lnTo>
                <a:lnTo>
                  <a:pt x="608" y="29"/>
                </a:lnTo>
                <a:lnTo>
                  <a:pt x="610" y="29"/>
                </a:lnTo>
                <a:lnTo>
                  <a:pt x="611" y="29"/>
                </a:lnTo>
                <a:lnTo>
                  <a:pt x="613" y="29"/>
                </a:lnTo>
                <a:lnTo>
                  <a:pt x="614" y="29"/>
                </a:lnTo>
                <a:lnTo>
                  <a:pt x="616" y="29"/>
                </a:lnTo>
                <a:lnTo>
                  <a:pt x="617" y="30"/>
                </a:lnTo>
                <a:lnTo>
                  <a:pt x="619" y="30"/>
                </a:lnTo>
                <a:lnTo>
                  <a:pt x="620" y="30"/>
                </a:lnTo>
                <a:lnTo>
                  <a:pt x="622" y="30"/>
                </a:lnTo>
                <a:lnTo>
                  <a:pt x="623" y="30"/>
                </a:lnTo>
                <a:lnTo>
                  <a:pt x="625" y="30"/>
                </a:lnTo>
                <a:lnTo>
                  <a:pt x="626" y="30"/>
                </a:lnTo>
                <a:lnTo>
                  <a:pt x="628" y="31"/>
                </a:lnTo>
                <a:lnTo>
                  <a:pt x="629" y="31"/>
                </a:lnTo>
                <a:lnTo>
                  <a:pt x="631" y="31"/>
                </a:lnTo>
                <a:lnTo>
                  <a:pt x="632" y="31"/>
                </a:lnTo>
                <a:lnTo>
                  <a:pt x="634" y="31"/>
                </a:lnTo>
                <a:lnTo>
                  <a:pt x="635" y="31"/>
                </a:lnTo>
                <a:lnTo>
                  <a:pt x="637" y="32"/>
                </a:lnTo>
                <a:lnTo>
                  <a:pt x="638" y="32"/>
                </a:lnTo>
                <a:lnTo>
                  <a:pt x="640" y="32"/>
                </a:lnTo>
                <a:lnTo>
                  <a:pt x="641" y="32"/>
                </a:lnTo>
                <a:lnTo>
                  <a:pt x="642" y="32"/>
                </a:lnTo>
                <a:lnTo>
                  <a:pt x="644" y="32"/>
                </a:lnTo>
                <a:lnTo>
                  <a:pt x="645" y="32"/>
                </a:lnTo>
                <a:lnTo>
                  <a:pt x="647" y="33"/>
                </a:lnTo>
                <a:lnTo>
                  <a:pt x="648" y="33"/>
                </a:lnTo>
                <a:lnTo>
                  <a:pt x="650" y="33"/>
                </a:lnTo>
                <a:lnTo>
                  <a:pt x="651" y="34"/>
                </a:lnTo>
                <a:lnTo>
                  <a:pt x="653" y="34"/>
                </a:lnTo>
                <a:lnTo>
                  <a:pt x="654" y="34"/>
                </a:lnTo>
                <a:lnTo>
                  <a:pt x="656" y="35"/>
                </a:lnTo>
                <a:lnTo>
                  <a:pt x="657" y="36"/>
                </a:lnTo>
                <a:lnTo>
                  <a:pt x="659" y="37"/>
                </a:lnTo>
                <a:lnTo>
                  <a:pt x="660" y="38"/>
                </a:lnTo>
                <a:lnTo>
                  <a:pt x="662" y="39"/>
                </a:lnTo>
                <a:lnTo>
                  <a:pt x="663" y="40"/>
                </a:lnTo>
                <a:lnTo>
                  <a:pt x="665" y="41"/>
                </a:lnTo>
                <a:lnTo>
                  <a:pt x="666" y="42"/>
                </a:lnTo>
                <a:lnTo>
                  <a:pt x="668" y="43"/>
                </a:lnTo>
                <a:lnTo>
                  <a:pt x="669" y="43"/>
                </a:lnTo>
                <a:lnTo>
                  <a:pt x="671" y="44"/>
                </a:lnTo>
                <a:lnTo>
                  <a:pt x="672" y="44"/>
                </a:lnTo>
                <a:lnTo>
                  <a:pt x="674" y="44"/>
                </a:lnTo>
                <a:lnTo>
                  <a:pt x="675" y="44"/>
                </a:lnTo>
                <a:lnTo>
                  <a:pt x="677" y="45"/>
                </a:lnTo>
                <a:lnTo>
                  <a:pt x="678" y="44"/>
                </a:lnTo>
                <a:lnTo>
                  <a:pt x="680" y="44"/>
                </a:lnTo>
                <a:lnTo>
                  <a:pt x="681" y="44"/>
                </a:lnTo>
                <a:lnTo>
                  <a:pt x="683" y="44"/>
                </a:lnTo>
                <a:lnTo>
                  <a:pt x="684" y="44"/>
                </a:lnTo>
                <a:lnTo>
                  <a:pt x="686" y="44"/>
                </a:lnTo>
                <a:lnTo>
                  <a:pt x="687" y="44"/>
                </a:lnTo>
                <a:lnTo>
                  <a:pt x="689" y="44"/>
                </a:lnTo>
                <a:lnTo>
                  <a:pt x="690" y="44"/>
                </a:lnTo>
                <a:lnTo>
                  <a:pt x="692" y="44"/>
                </a:lnTo>
                <a:lnTo>
                  <a:pt x="693" y="44"/>
                </a:lnTo>
                <a:lnTo>
                  <a:pt x="695" y="44"/>
                </a:lnTo>
                <a:lnTo>
                  <a:pt x="696" y="44"/>
                </a:lnTo>
                <a:lnTo>
                  <a:pt x="698" y="43"/>
                </a:lnTo>
                <a:lnTo>
                  <a:pt x="699" y="43"/>
                </a:lnTo>
              </a:path>
            </a:pathLst>
          </a:custGeom>
          <a:noFill/>
          <a:ln w="38100">
            <a:solidFill>
              <a:srgbClr val="DC87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5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842374" y="4916772"/>
            <a:ext cx="1625475" cy="486287"/>
          </a:xfrm>
          <a:prstGeom prst="rect">
            <a:avLst/>
          </a:prstGeom>
          <a:solidFill>
            <a:srgbClr val="F9DFB5"/>
          </a:solidFill>
          <a:ln w="9525" algn="ctr">
            <a:solidFill>
              <a:srgbClr val="F9DFB5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lIns="0" tIns="27432" rIns="0" bIns="27432" anchor="ctr" anchorCtr="1">
            <a:spAutoFit/>
          </a:bodyPr>
          <a:lstStyle/>
          <a:p>
            <a:pPr algn="ctr"/>
            <a:r>
              <a:rPr lang="en-US" sz="1400" b="1" dirty="0" smtClean="0"/>
              <a:t>Labor down to </a:t>
            </a:r>
            <a:br>
              <a:rPr lang="en-US" sz="1400" b="1" dirty="0" smtClean="0"/>
            </a:br>
            <a:r>
              <a:rPr lang="en-US" sz="1400" b="1" dirty="0" smtClean="0"/>
              <a:t>0.7 × 1972 levels</a:t>
            </a:r>
            <a:endParaRPr lang="en-US" sz="1400" b="1" dirty="0"/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5"/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27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sE8vO2G0WCy79c.QCsn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N4_fquHkuV1TDYpUXNYw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4gSH_pQkSaLv1Gpgu1Kg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pbTLE3lEuoh_TZPjav4Q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ZhYpxBH0C8enb_11UCug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2K2Kz020.iZ4JYLVrj6g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EdueGKGk2Ag2SfP5aO3w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ztjEzBwkGC.sIdp0DbAA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eA0awUzUm6xUDrIPnRxA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9ENm3Nky8mMJasMx0nA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FnmNWXM0.KiKn.k3SLZQ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M1MJTPoEaH1aod7xL3p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pEAwlmjEmZWOlHXftA2w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FKuI4_Y0q6_rEmi7jG_g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WnMrxj3Em_YZF2tUmMWg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CFl8lbZ0my_CfCxrxTiw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zJtvhpqkG6SnoAwPTrWA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yy.X7fK0SJ9CYmJ1Phjg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nltdwcjEeoRQWeqsJXgw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UKjq0fDkeldPJRPCrFvw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3wo96kM0.8qC8S2GDg8Q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0XqIiGjEmmGQiKBLUCDA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u7NQBu4ki93xZFyMCyq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N3xvy5rkGYyGDe6jbfQA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wRqPvypk2Ywd5Muke1EA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VhlzcE20O5f8NoZ0xESg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8t1638MEurhr1XSf5LPg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jaBpnZckK7FwVHT1s0fQ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6KK9ZiakKleYntrvU2OQ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MpOGXg7E2v8YweORbXlw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rAjkiMEaXl39U4C8LAg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Lgc4D8Q0SW04LGuoiRQw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4fTYohn0eRTaO8e0W4tA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62hyF7zEeWVeh2oAY0i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iqs2wVECHjgnYdN3U_g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9J6JwgiUWsZEa9.P8ozA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UnkF_gwU.37zPbdahYiw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LmRZewtUWngQ_wFvXJEg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MQt2LzEUa9xGKxDsNAfQ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AIcCBlg0arNyCy4Vfvmw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Zv_2CXy0uWZDkDFrxvDQ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PB2Q86GUewzZGxItY0lA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A9NvnFA063ljPLT2hN8Q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32OE1Yuk6PEQ7tO4mnrw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2NAeQ6.0a.K3DAjqhdK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vdlxZWpUK9wxcnjOPmYg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ohDn4mt0C8eQ95hry4rQ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BATtjtUk2Zlc_qpTnJsg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zYSLC8GEG2VmxoxCFFIQ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VDj0Aa.UyUJQjGQN2duw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AUcEq7zkKTKhhEtYhleQ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IU5qqbMEWSYNM6rIoX8g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sDXS4rHkSVmfRl94Hh.w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q9AkbeH02rtIc_aAlogg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N5BJYyk.H2_k1TjOWRQ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AXXxJjU0G3LCfTgwwdf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2ni23vU3kOrUeWPflcLhA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vGUAZqo0iRuhS7xYtcAQ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OBhv9hk066T7iBwJVh.A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aTItU4dkmSSTWEG1Xtfg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X1TK5.h0WJLeonFesPHQ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oKJXrit0Sl0NJ4wEsdGw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ZeDqtFDUaojhP3QJ_alw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Lg8jfPj0OYrEohqb1OYA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BkUj1glE..tcQgsxLlYA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49cSCg1E2QXHoM9KdejQ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nH5q1tbECTUzV2cBt46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LTeT8fiE6thVSeBwqDtw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BMrtGdZk.tBdqTcKndtg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uf1a5koUe.DhISay276g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RRt5rczUO6tUbZvStDKA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Tcto2WGE2I2Z8Lno8fJw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n_2b_dIUCwktKBLrSaLw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13AlzTQkSrqxxjPUjhrg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FIVy0yKUKFMu3M6o.VMg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Y1CSmOO02ZCARaSdOcZQ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CgFTpOPUCTAIfsewn94w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_WkJIDqEyCwhv2DpgxZ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58wDzzZEeRTBxGpKwbBQ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oNojgvF06cO9HWzO1h1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8UAzW8FEyOO2ycJAqdT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_9ugnWU2jtQ1ryRU.J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dgzwCICkOjAWVQWwtU.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Ll3ymZhEWossclr8QG8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_ImtRXIkGR.rStpcz.m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m8JM4NESHseGrnRBf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6Bdzm3JUCm.4mvvWjE.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8WmommfkuNSf16gzXk9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cUJ.iA2E29reV9gW_bG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WliCmMmEmS8QWQ8Y8SC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MAz4ErWkWz.vJjEC1D_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OxxBztgUi1QmMD7t4N0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3bEccEBkqvSyt79QO5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oG0qXGqUOKdv1VEZmzC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qEZZ2bIUqwTvQN97euX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GeEKmEt0C4T1CYlq6wp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nptlUAuUaK2gSjk1I.i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6v_fA2fki66xTJ61zQz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3LC3POwUuDaZoWGxz4Q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MfupgdU0O9HWfUS9Boi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PwQaq.5UOJNdmEdXv0D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O1gVlMAEuMCSopC7yHR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xwj2T.FkyxqXP4ONUhK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0uUP4g90uEMrGT_KU81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Vs1VPNkOf_bwrOiBc4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WUYGyPU2ZM76sel3RC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JdiQmn40eiwBnJyjgxu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yRYlISTUGDeqhzSyJiT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D2TAXTSUaY7YAwcNE.J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Ia6Lh_ZU.wHY5SR_vgX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ohWjGgZk2UX8FV7xtf8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d3xuiAZ0ql7gecbLqRs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CrHCKRlE6arQxj7KtFk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FvaVwAm0S_eQ6ywTL8H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dtuicOUUGMA52p.FP3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oYc20vB0W4g2Paba6ZN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k8YbaUgEKhF2c1QopKj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P1pcK9pEq1v8gDycrgq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3D_nyGkky.JbIbmI.XJ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ocb9bSWE2NpE1H1tRSs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jTJmW.6UWcafN5yP0_k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yOTEq4SEKL53dhnXsZM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rKiQaIqkSgFxWCJg41L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ZfsKPT4U.igNoipTx4h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UMb9EaEOwieVKDNDCn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yOTEq4SEKL53dhnXsZM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9FYc.bg_EiEMQImdaAMR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ZgUeQqdUONvBhr9ASvi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4O20tcvEaONjyZaWfM0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i7cUaCm0qGDoCie4TK4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kN5Vh_mkaj1Vfd42VGx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rKiQaIqkSgFxWCJg41L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ZfsKPT4U.igNoipTx4h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yOTEq4SEKL53dhnXsZM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Smxu3xNk.7n4Ek4XrWB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fIdKK9m0uz9md2ncq6U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F6nwjn40Cl_eFUBWW5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3.9MEyLkWL.w4T5jszq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GJ2W9wPU.5fiMvLUp1n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ZgUeQqdUONvBhr9ASvi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4O20tcvEaONjyZaWfM0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kN5Vh_mkaj1Vfd42VGx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yOTEq4SEKL53dhnXsZM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dJ2jjIQkOcJyLF0ScWp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BPIuEckEq.oyDBZHdxI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QKxjXRC0GhEBWnLynSM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i7cUaCm0qGDoCie4TK4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Smxu3xNk.7n4Ek4XrW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a6kmcTaEutraNYT2Sik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F6nwjn40Cl_eFUBWW5L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ZgUeQqdUONvBhr9ASvi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4O20tcvEaONjyZaWfM0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rKiQaIqkSgFxWCJg41L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ZfsKPT4U.igNoipTx4h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UMb9EaEOwieVKDNDCn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yOTEq4SEKL53dhnXsZM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KFeV8zrEiHKq_.tx6P4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dJ2jjIQkOcJyLF0ScWp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i7cUaCm0qGDoCie4TK4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L_i8nJfkSemNC2ZuClc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BPIuEckEq.oyDBZHdxI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kN5Vh_mkaj1Vfd42VGx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TlsBLauUqZ1C4_d8uNR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QKxjXRC0GhEBWnLynSM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fIdKK9m0uz9md2ncq6U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F6nwjn40Cl_eFUBWW5L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GJ2W9wPU.5fiMvLUp1n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UMb9EaEOwieVKDNDCn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O6jqRtW0iIQPFX7KU2_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gnB.McvUKG5JYPXCqZE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8b9BF9W0iWbG0w0pfx9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kYYi4gPUiuZ3LP9eLm9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E.osjfW0uxdpV7RkKcr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582p3QFU23a2X5TX2nR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4P1JvRC0y2evl6z8cL3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DScSt7nEuJMolKXp9ye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9fFUjeWUaDU8.m.JQ6O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.IrYwSdUKP0qi65L.dY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rq7ITVEkuMJpUR4xwHQ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tSbjdEl0moxZgvgKhJ9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6s0LwMpk2uHaPj.auoR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e4ysGSPUm3hdTpNc1eA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ueSDR.gkazkfMWmSAhl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omJmSNske2PfBkgeoGs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TAT31_tU.7toY7IWTdj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KXjqXNIEKj9MtLLAFcR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LaJLEKEkW9QlbFqBSpc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0E9iPbL0.2oGTolfOha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2fxLUEsk.IrOvq1Prw7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A0E_KGO0SqhqoRcTp7G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8DFPVb20i9vuLHEsicb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txFSVrd0mXN_M0pUhJ1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HfScZdEWSZxhXZ1EIb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XZg9R1ykK6ZhfSaQ5J7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o_Osum8EmzFnBAP9Car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2vyff0XU6642TKJ2Kae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ufOIbHOkSP0Ta3L3Rj8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zHhJGvbkG2JRj0GmDvU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3O_K2LwEmdHhWIje0j4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YNHKmxfU6Zwe6weU9ek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AbjqIhpkuvNRm3ib8V2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fHlpdmtk61FJxATVkss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MsVq5gUUmXhyEsQpbCs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N4_fquHkuV1TDYpUXNY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X7VR2eMEWE4GfcqpmxD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gTTqeiWUCQpa5dJxgjf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z.iNI4E0KaA99CGs7j6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6LSLqLJ0aIOUXlULUlE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S8GogR0kaKlKLs075Gr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LkSNus70mVjjruYm4LU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f0LkQ4L02kDojKI9wMW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rT7.ORfkSw9kVeRmLwP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8G3lQ5ZEmb3lB8Ywmy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ioyJqD0.NyT7GUkNf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pEAwlmjEmZWOlHXftA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cmYyizEUu9NmxokJiAB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VAJHXV8UiyebnkM69Sd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idEyXf6UqBRaP0HJq.w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D5kq1PcUq_0jpch0Xtf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N8ZcpL0ka0UzqVUYks.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2CHdlElUq5owWF2zbuI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AWSHaY4UyMzq_ZUR.vD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3tWvzwbkWu62d9C4K3N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JRTwDb0a2w9o6_ZNDN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j8jCW040GllqqPQp7Ia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N3xvy5rkGYyGDe6jbfQ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LyBs_B90OloGm8unRV2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U5WKzsGk.yCimSUy8dy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8JNCCeI0WQloKmqSTsC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3CIgOvckGmfomOrY6ty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rRBR7YmU.F3C5S71J8J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XARQM65kWFhheDjE_v_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epUpFi20S3zoERSMnwx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Yl7Keln0SMU3jah3_Gw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Y3Z1ETE0.N3qi.99BvJ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KdDIsvFEaUZX0XSadR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iqs2wVECHjgnYdN3U_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gSPI4AM0SyR93FVlFAH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tHLUIxQ0KUoJY7.kwOx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79gWF8S0.aQKqdnu2AW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007O3O5EGTYRyCS.DoR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_qZSZwMUOc1diOnAuU2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KHsdt8wE.9x4NPTey_b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9VXXr23kigDpAl_Djrn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Uux4cOj0ykcqa_ihW13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E6Qr7BeU.CevYUSwNMe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SSVKUKu028tcUxqr1_e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vdlxZWpUK9wxcnjOPmY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.jm3IGyEawourAC5sXa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ZDS1AZ.kqQyOGO6Ec2K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M6t5cdzkK6L0F.meTBz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ulIzJT0UOWhFex9aKlG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4BgiQkuECCgvOAvy6A9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SBqMEiWkqBtwnNTLCrj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HUmNOX6U6ZjYYu6BDPi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lM9hwDRU6nFsHP1BXVv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Bo7t7xnkOnNsr3e4TkA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i9NPD_x06RUxaTZmjqB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2ni23vU3kOrUeWPflcLh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8gM3irfZESEgDldJp7vW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zoiBgKH02QWLOFCz6P0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QKS5afukCaz7h5CpviK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vsmhqopkm_u9BU3RL27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GKLJNLDkuCYmue2BzKf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jyUbkgx0OLm068MoSOF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aScBR9H0C4Adc.0snBG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9wE7GbEkS1nYoH3UeD7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YrWehZxk6JLiSJn45AL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ma2AwcREuXfW.bXsVnK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LTeT8fiE6thVSeBwqDt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EHXOEUykOuMe6jHZ6qe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uNX34i0EmSFHQqFNJEi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8b0gER20yaQ0xliCeMj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bPAvH3XkuxOpaigcmYN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UXF1jPmUiknYvaEX02K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Z.zFF5l0WbhYdX7kCks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6SRJCDK0e5LSRnCmK40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2Q.cqLWUGIeZRp7_sPh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7QbX4ZpE2ygivsg.5TD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4027uQpEufrqMUcu724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58wDzzZEeRTBxGpKwbB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V7zJ2ws06z.FJO5S6Qj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KYN_Lwd02ECoyrU8jpb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rDUDLPDUOpuennSn2B3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weyCX0p0ybNPNZXiHSB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d2a.GYbUOxvJTreRedc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kNh7oFg0uwrc5GBuAxF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JDhHJhRkKC615NcgW1Q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0u0dYR2UiepBBphd4Wo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HTlOm8cEaC4Bdvlpb7U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ESOHq2MUiCi4diPcah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Y1CSmOO02ZCARaSdOcZ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8UAzW8FEyOO2ycJAqdT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UwQVCJWkCEXNa2EjwBu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0pXuIcqkWFfcu_YFvSB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Wo2cznqEqwqPs3WrB5T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gxmGZIf0WGaz7Sqfj4r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QnVQQ7dUipIrxPkqxHB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cEKWS1EE2S12CWkCbMi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qTVrQel0GmYVbZXTS8A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YUVIJgbU2Dn.a2nYX2I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Vtalnse0mb4idWqfERu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lyK49AQ02L5ZaoPEx1L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_9ugnWU2jtQ1ryRU.J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VHIojkAEql3YbkzHvWS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tm2ePSxECrNt77oT8NQ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6Wfr89D0qtE5.0sQPZ2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fSbPUWfEKHY5jFvmk6h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bYRs6FNUafxj5qRzwPl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pIi8xrxkavXt._WvraZ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sIMXFfXk2IIT2yt3KHD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tBFRjflEi_Rz7O4mwli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ONN4xL4EKvdWQUIapvQ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9GmFRObUe4j2kI.gE4D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Ll3ymZhEWossclr8QG8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fCx2llTkChFiCyVoUIJ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oCxyYnGUOBYGa4qd9WE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ZD6.4nRUuw7iptO1pD6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k2CZkzS0.5Jq_s84weC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tBGEb8u0OKf6.HEmW..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QT1G8fGUyO15Lr9ASXp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F_eYzxQU.81_yQGae76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peIWowmEC.5fvc1MR3K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RH7Xo9DUqOH4Q33jh8z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yaPGNoSUWz95TJ_Lr9x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_ImtRXIkGR.rStpcz.m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z5_eFm3E6Evmpg_.EB.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oF38PPVEyuACyYKPUAe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Q5Z6hq9kSj2iF_eemk5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apBQFW1UavG1eBsBIEz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al0bjbTUmKAWwkwcG6v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m9kveyQ0.jY_4wQBgEq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GfEF6mFEqJZRmOJNjoO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geNFIi.0CGyQxIpCy0A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SBs2qqJE6ECos3zsSj4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UIyED6bkuLPHLsJNZZ_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m8JM4NESHseGrnRBfb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ZnSEURf0alf.z8.SN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nP002McUqaxpX3AR2BA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HvlJhLdkGwHh2YD1JWX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QsxRESf0KbUgQ5BxCng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4ji0oKl0uE_JYg1z93X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BWjcr9h0WY8GCZHI_0I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Xj7hfhbUa10PIpBLNSn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dWHsAqMEa0XJoi0YqOd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EIR3N8.UiYR1z__B1oM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NVdAvB9EOGrH0WQx8cm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6Bdzm3JUCm.4mvvWjE.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2stBhX9kGNnl.NSMhPD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fuk6SQ_UaSj9_qfrvOV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KJNm8Q1UehF6AqgG.h7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09qrYEUEuHCwxXXj4wf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Eddm1V4EWsJVuV_HqpN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_UO2kJdU.qc2OrSj11h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hpqBiK5EqPNlwOaoVFG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mr2gw67U6bfFGdjH0wk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RXmU06cU6Bfsc3YIDYu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MfKDEisEGqJc9AJCrdt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8WmommfkuNSf16gzXk9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7GCfhjTEqEezSJ.ONCb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IUyZCWrUKoHeffYXIHz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APw0vt_kqIfmseai97l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qyj653IkqPujbu3antu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aGzloG2kmyExGC2g7NX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EZ1M5p8EC3UPesf2A.A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JIgz2R90GxG8Uyh6Cok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n.MZzcd0ur.74kI9xkX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1hfxHlFUeWFnRfkV5bI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rBwFBRLUWQwqN0yZmF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cUJ.iA2E29reV9gW_bG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6rmDRjvU23evzxdrOaw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I05mheyUmDhbkdIyLc_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myNOu0ek68yS_vK9BXx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rwtkkMJk6_zJo_WAUYE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NUP36NOUqHXLBAd4c5Q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paoJRMTUCN2v5OhLmRe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E5MSX7r0eM.zaNtKMlx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amxwFSjEGAzMexN7mLt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eU8EwSqEatdXqqi_GcQ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5GOIghDkOlJcWJ9RTMh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WliCmMmEmS8QWQ8Y8SC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pmOmXpbUGd4OmvBztTr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xb0l2G6k.BLwJEp0wEO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tYfJE4e0W2As.QC3bAk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BbIDFbO0y6N85ya3xEF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Yn34FV6Ua4LiC_Ydued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sPGix79EWPckCJT0TQ_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OmKMhiIEu3wxzioxuc9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nuZOi5h06M8_aondnWD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8ObOYj.Eada5Ye6viQ9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i5dsO1N06At_mWK6HNJ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MAz4ErWkWz.vJjEC1D_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2209aCMU.KCAMF1ZwSH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7UkykF00eioQbbW6dQw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fE.LNXekmNED20LBLhe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6nbZKK.Ee.DYEA.NmIy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ibFsAqK0u25Ld19PEAT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4FGwMB.0GDiu_q1bVtG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t6D93x4UGMlszKx.4hE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EaoGXP7EuKUdptgzHRV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wvIHRDS0aXqE7Ou7EdL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S8s7EZ8UOroAzseZcS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CgFTpOPUCTAIfsewn94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OxxBztgUi1QmMD7t4N0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CRBO0EkkaWvjjVmpjng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oYviTFLk2Rv4cjAUkPR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Kh43ykyUKaFLSgvMDNJw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pBt3pUo0igfOR1Ng7F7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P4c2D2Aki43tKuuYkr.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cOOwn4SkGxIUQMk2bKP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JaDRIiRkmmyJv4zYzQW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FaousozECRwWVnO_En0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HgDGoZkEO5zRoU5e7gt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.Z2e5clk2sbaOa9ViF8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3bEccEBkqvSyt79QO5U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VPd54uik.EyXB8X.SyI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LVA5RqL02wpY7m00Oht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esrUw8qUafIMwu2N1dO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O80yuZ9UqWZj_ZYfwxq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DCcuQ_i06oatPxBjd8C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HMFXl0hU2lYWXEnFM79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2yoKpkeUSBEbLpvLsVI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1DVNtjEyX2vLbw6NV6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PgjNesk0K7zlwqt85ZV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_Kh7kML0qJ.4J4vfeWa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qEZZ2bIUqwTvQN97euX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98hq2Yd0i9bIwsbCgER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1sktPj1E6Brk45SWAyj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ODSwWnpkmcE.zGaZ0LK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_s.xCidUanAEenXvagV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vd_BuJy0mS4huC0YAJO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psKsKdI0.DipFx14.Wm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V4pVVSM0GzM4QGH38Vg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tYlLdT0UuFbFXXdgVgZg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2NmHkHcH0CyIukahnjhI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p2EE7tBUWeYZY2eErG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GeEKmEt0C4T1CYlq6wp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dVneNw10adIjbRUJzqu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MDAsXh40Wek3TCnF3Pm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E..JTHs0msdSZ07Y9Kn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izT.LbikaiMgnq6q0ZW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5MJeAnUUCrUXqM1BvG2A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BSIRi1DUOaYvUonlJv8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wDkcXasUyfSVRM9Enet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sOxam20kaN8Xvub6_Dsw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nBhfydn02Ydm6kWAgaH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UIF2Vw.0CB4hK52h6cq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nptlUAuUaK2gSjk1I.i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HaP4.fh0u2TTEbV0LsJ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5PszMf1kG.3u54XTUr4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2mMgSNEku_jV402wPIk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CDzDoMm06WW1eSa06Un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c6B4V_KEex7nII89LuB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nrm_w4HkSjJ2scnOFfw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Zg.qrUF0aquE5VbhyrW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YV9S.W1kCPA4jGyRMJx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Ne3eY_o0qHKusKochUe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20uEMPkUCDhk.rKpzcU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6v_fA2fki66xTJ61zQz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hGg9aVDE6DY2DnDCNW2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xg0pTTa0afnHhK6gP_Dg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i.e_lRpUqONEvImGpBm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DCzriQF0eNpQ2RnM9A5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0pT4Zqb0qGpneC8df1k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ktRFy350KB6KWsRwaLU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b2DNy9jEWLXyKPJmwE8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0KV_EqYkCTl8xeIYz34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N3C.JHG0evXdkofq2Cb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8WEowQgUCtQ5akHZa2j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3LC3POwUuDaZoWGxz4QQ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hd3A9fE2W.51EmnhHl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VF3o_aLUOJMttBWbKFI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bn1o3i4kSzbp.wV8w7Z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mLUkc0iUGJ4CETYEm_H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hTYKjiTEqUdu4SWj1Pt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0gIkwk.kOOv20PAeIzT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MjSOUgf0Klc8icjoMzNQ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wK0ApuOEW.AOQtVsDbr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xw59Dc6E63cAsdtugEzw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HWhW60REW_OccY8p7aT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MfupgdU0O9HWfUS9Boi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G4HydOVUOxidwGRtfyg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ypVelmN0.PitnMi7CRM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So5Ky1Z0u83BsO3lUbr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YK_HnHFU.7J12jeivtp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reXTtAekq8y99RV_9.Tw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SIGbQr1UmgL2iRcW4K1g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vkolGuESWH9yAYIxqt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H8Ccn6DEirqLzqyRo0f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wKfJ07cUeyU.T7O0kch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Tgouj7FUCRkjUuG51T_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PwQaq.5UOJNdmEdXv0D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HHtT9SIUSHBjHqBpYTx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...idfwV0qBiNhkOvP9Aw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Jsg__en0S74lbq9sz2bA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7IyFUzFk6lUnWa3E2Cn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0PJeFe8dEiZjCmIEcheP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nhFwWM5ECvdlmBirFHb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aUjmzj8Emh6Y4vOhYvA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_06TKI5kO6yvO.o.EY4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LeUj61nUWKDCePoGU2s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nccm9yb0elyueosgt8u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O1gVlMAEuMCSopC7yHR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OEmmK280acLfGln8ofxw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Gj1ftYB06yVIbCJVGYS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2d_I_PzlUKan_wqNaprF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s2Q6jFbUapWRfk0fxIng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XcG6aU90OZ3tfX583QM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nIGFV0_0aAgqICUsWaG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qRYghmDEOCiOfwP4eB_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ZIBLlhxEaB3SB355H9z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hUYQmg4EGTdZ1F_mnpg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2O7B6QIwkyhn5dEBWKc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_WkJIDqEyCwhv2DpgxZ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xwj2T.FkyxqXP4ONUhK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WCo3RQtUKLZ.G2kG_31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oe1xAugkeSl.5DC2Lws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._s9WmpUSNFgjeQxCFi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TSgGyFAEKQZ44kdRYIG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gGqVS2AkGiaY96UGftQg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81.mLFd0y90aYwNHDypw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YgfXPwlUK0f6LdgQsEv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DZhAmWwk.A0MIeq7JHE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uB2GGNXUqdP389xtLzd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.SnbzWKEms6bO34FHuG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0uUP4g90uEMrGT_KU81g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hl0cIeqkuz8llWqoR.jQ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FdA0RC4ka0r7R6nMfHeQ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bGFAWZAUqk4GxMTrCJY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8_g709MU.aVb5nlvkSo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TvYL1NHk6215UWIHpc3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Fxcim1RU.JDZBu589I2Q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4SJomMcE6yfQqxpM32_w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qjaJMa4kGw4IujS0E3OA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.ZJVbIxkm0y80hnwXO3w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.bRRzHMkiVzxW6nX79Z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WUYGyPU2ZM76sel3RC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d74Z0MyECNTYJmubbloQ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rXXmzMlECHb_klbVK8cA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9OBOq9CU64cZyVcZwuoQ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gv6AHLUSI.8lWPRvBN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BAt5NLtUGeCu6qPGtwcQ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UJxw0g306Uv9RavhRTc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_Logctl0Wt345fFpEgR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h1E6z3QkqMeY1zFSj2p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.qORoewEyE3cK626npD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9vxRMLBEeIhZfb9WyL3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JdiQmn40eiwBnJyjgxuA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_iydS1CEmcNJRKWsl53g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BvVz4AJk2vKD8TEsPEy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1dY037qEKtUGa5st7GP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.BfW67ekGPhtjy6ej6Zw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Cw.M.QOku1hiWgyyH6lA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myijZaak.WD6m5Mv4R_w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mWsCBsckWQuWfyCDqEKg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dP92FCSkSlgPnjUhS_Ew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AnLPZuKEC4bX3bdfk0h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.WuYfhFUm6Gb_4TVJga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aMkMU1FkKDF4t8o93CIw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QvVMVFcEGWlcePjIWYH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05Ufo.xUy3DaRYsjZyUg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2TUYVkiwkamhXjTeCMTD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RPMFkCkU6MIIXaGgBHX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2f7gCT00SpzVUxI3DpWg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6NGPGntk28Gs7Anbi0x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RvP1l9sU6OrzkzzMH69A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WgkWCIQUWOzmFygeZTh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ZmCKwfMUCvsKwlzRMUqw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O6PCyWd0aOmTab6bNgB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doduRqUUKxQTuApCcy5A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sBoRxywkKgdaMRsfvInw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BvThSkf0.XlegnqqKd.A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oujHic4EmfVKW.viJnNg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.rZo0YeEK1lCtGHVXYxw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RhawW6EWzMF4lx7Nw7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miWWIJWEGDSziZuAjYfA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7vmGA5t02kvQ9ax7e6eQ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zjeKQaVUW.8wkAYC84IA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6DCRYAQk6A1oy6JpWrqw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Vh8t6eCEquLif_Ns3yC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IMoV.sA0..EqW.u9vhvw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YoNAf8HECx5HuAzvfAz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CqJ7aiykeoPn53y.yVDA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oAfQTnBUuToyvdXB0aeg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r8gOqXAUCnx3nhoOvQDw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VfFEmioUuuFldO8PKFfw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LjKqZG3Ue8W1Jui3a1Q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J1rFk.sEup7nUfGy6b0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JJyB17qke7_J3HOX_f5Q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.Tkxikv0uCE6TsPipKQQ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tDzcAO20qhO8IXlRguY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o4BtwYDEGTqcOr2QHSt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ll_6lUKvo4AOu55jRg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3.rzmgEU.qBpz0wXJ0L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h9D97aX0WwwK9nR_XWBg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sZ9j09zU6bm0B90Oe4yQ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htx7GHVk6Z9Emb7Pk8lQ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fmKPQbJky.8tOpE92vt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O3QpY4YEyLT2gmOWR6z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3dSmnzokqc2GkgnC3zsw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xDj37cgE2DYeOlxG_rIw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1cyNfxsE2UhQbrZggq6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PkrdBa0SZtuSYctdhM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5lFapkIEOTwhLp_7.dYw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7jZ0et4E6AOlT3UpQTZQ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4Yv5EB7USNqwClG59Z3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p._vGadky5CFQNWk4kJw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jQwVhVZkC5PdBLVy0NsQ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XAp1y5BkKyV37KdPQig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8cRjLCUUKjrESf9tTB6w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sSic92N06xqXiDnVtEu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nDw3BLp0ypkAgH8MZvn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ONfBXHh0mrl2a13zt6S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tahZHeRkm9qoCKklAqd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U4p84fHkKxS4I_KT4IW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EDJ8PTM06Rnuuw2qLMF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GiIP4aHECKO63fLqusMg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xYVUas.E.j87waJwqhRA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ejPdCaIEOk4Qby_nKvxw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N7hsWulEmoITNM2U8Usw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ZQL.MgGUS_HMxzo6q._Q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qoh8QOnEKgi42h1K..sw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nWMKJqVE6ewM67tt7Mbw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n3nEZhYkiBz2ikCctt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oNojgvF06cO9HWzO1h1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kbxwgBeU6P8djx8q9rMA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.nzEP84U2z9CVl09.CDQ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kHlK4mHU2wJlPUJKprO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zrjkR4m0a_1XXiFlEgFw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t1xkTaokiGTTxRYPHHgQ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JC5rxIiUiyYydpN6hrFQ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0DIR1RUUOoctJGK9yAkQ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QuMxKQkqSHMe5fLH_jA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KRMz2GIEmZbW5btYe72w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FFgxmWV0y4kDYYdDElRQ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ls0VS4wUmG.fogo55Gn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tl83hGG0OrvVB39odfR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qOKVudsE.NLfJBrcTz1Q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R3Nv6.T02XSeocAcxjcA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Gs8KuysEmuGIvcoaOJEQ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Mk7KsZdky0QQBcHgrdh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0VQr5bLkOVjMQ_dbJnFQ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pT7szSfEOywzU09KM6Dg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3YVYaETEqG9ZpB5vTR8g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xzhYp2q0ytbGeDxj2XOQ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2VgF6Ep06WRZySExjq5Q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K84o5sE0GeN5luPfVeI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toQN2YA0eYy5K_d6r3.w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4Yun8wv0Sd7tiJ94hfOw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jae_lS7kK12iYG9.Izb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YnnTztSUm9i0SlWww7nQ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mDdERyZUW8o3ufAplxnA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eGem8CQUeG6HYYQP6_zg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W96gSlnkyru1RpFq7EaQ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TbJV_Y0E2qkSiW1KUv6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JDER4zcEOdI8GUvyTAXQ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7wqWrZ50.bo0xRME6V0g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M_r2K32ZUmtsvkKha.3C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kpPe1EFkOzvkFLasx_T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mzgGobZUKwJmaEhV92g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RSVDufd06Kamyq6EX.x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quXbCuJE.zN2jsw1chMA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7xfJND20q.aCLMq.gNMA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9_xrmcoUmAiu3hu9P0Rg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TVbVHbqESDlwrZgaryB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mXpiczsUy0DGwoaDbDCQ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.BlGP4I0KQdv0sDPYPRA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DqlFzFQU2fLcNhSdwHBQ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muwIhPKk.RFRtewD_ol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mapVK1PU2Iwcg2g.2RZQ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hsEBmGCEK6KxGjQ.6Q8Q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.0CHnxF0aTei2YsMdBsg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jdKbJAsESYKSicP9caKw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floYWUuEe6jJMw19ULH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J6.YlPB0qRK_VCoQKM0Q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uw42Yg.0adY_g48uFRSg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uhHrdj.Uu7xMsTbF2HUg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heDNqGckC30XJ9_xXubw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YvxOI2hEmdyEavvugQRw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mRky3oMkW9SfqtZlgTf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FKd85oS02M4Lqo4sFoaA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w.UPdpJkOCC9OU4wdKFA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7dLnjP60yFo61qkByr.A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NbDT_V6kSeq5AVVTR5Uw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XovFH80muT1Jmq1SmOQ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XovFH80muT1Jmq1SmO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5nNKVjRU.ieijK13KjFg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XdWnPj7EmbQtk9g5zDsA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xQrWJmJ0OGJ8WoQXQftQ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wnQWajI02k8vVCOvzgwg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wctuYcqUStGxDmN81dW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dGcb1j0Eu3hQXoEB1szA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eKwXMj.UaMZjevNwhRw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iUaqX2u0Ki6EO4MtZzdQ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_Wq8smikaJFxuMOXR4fg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6TMhDNg0Gzr30CuKpNwg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N.SyCWCUiUTLxWK2k36w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vpBV5FjUS1tgPKMgbdlg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tj1uTACES_QzjCz2V3g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BoP3brNEumhEN6WmjLRQ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8bAMk920eqwPCSlGUGJA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A9u8wY97Ey6UGoImwP7d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uJeIVq2kC.IThbKdxeKQ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ejWIaYMqEu4Hug9Cr7QIg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lcRSIBzk.x92YUr_MdMA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cjf3MZpE6SuDvfR4rKDg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IF9HlhMk2U3SvsPoW.hw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b3WYdAs0CiWYMzFzUeSQ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5RKo3d406EkIcMeyKD1A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UbxLyia0K3WJApfdPdzw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cUsqUbkkqBrlJUdp13_A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.dBqNf.U2N6zrtjLE1ng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3yUzSqw0mf5l2ODrllK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MrwT7590in73k.xWDv8A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3pBpkZXEOyYc_Mclclqw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sEfBSi6U._tDvz14fE_Q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mXBwxejUml6PpoDeRZPg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rCYTO.vk2wzimvybvL9A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IZfgBipUOYVI35y_iKKA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7lxa6nCk29oqdEmc4MhQ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I9Xm9qH0a9nqt95GOcxQ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SuyuWL30WG4jDf_Sfv.A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zT.Xhk4E6cPfwdxBCBOw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WX9upRZUe_KTYw96_AC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iwn3FWdUSICNiKFgmdxQ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JP0aVsKkGu9zhSlNd42Q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h.9RtMOkaMY_guxvkiKw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HHuzkgUyMe98RAi3R4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T13P6uVk2pBrNEciH0Xg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dMCtiPXk653wVh4nlQvg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6vt.0cmkyVJJ3IPnf8Iw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N1r.CLnkCAj63DearCkw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ekAJRw10.srEaO3wwIp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FL1Mj5jkOo6kWlBwJzCQ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SxXdbXREmlfNjMp8xE7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dx_vAv.Em9xVdwVyDDw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DSLe7cxEuO.XxfUarf2w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89BRdsWEO_7qjF3XbCvQ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swDbQ5uUOTuN2tO9cGRQ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KXlZXNY0OLFpAi2Hfzkg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VaSg0GYE22MD6ngYx6WA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np84nFNUm6G.NbkXfemw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w6XpiTtk6j_4v7Xf.p0Q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qVb9_b_UaI6SsvN4nlEQ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0bMvkQu0StVNzsdcCj4A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ivqSosP0.wU56J7gsI6w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B6Yp2UTkyPhh0HhylVo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YeN0afJE6leGbPoKxDn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mCZdR2IEWDBja7NRU6cw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j_oaJr30GQ9wrUpQVo2w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HcAUc40WHC5g6De8RTg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5JHoMgTUyOU4SR987JRA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_7_eRplE.XXM40.Ujj2A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wcZE7k4UqCynBmpguArg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tF8AiJ_0mq9MA9zR6uPw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WkSSlGNUC4mN_3qd0Ryg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6lOsCUR0SHjaKX7BNVkQ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XtNCSQuUiwHlVs1.Xat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HmwQ2Om0aoLBmGAXWrHA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jDLMKnHk.qdLkAXCoIwA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Qm3XtBIESlVmjZ.o4THA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YJJqREF0q7K7XDCNb98A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Kfc9FeOkiDqEMH0VlfZg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8k9o1Pu0KMPbzO4Gv5YQ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AoPnc.Dk.SFpHS0dlVBQ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BYO2n67E6i18EO4P3P8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JSSx9eFEajy8.EC3W8TQ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SVYzpS8EeJe.hElC.Xmg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hKDWsakEOAytsQJahZ_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MHOXZgK066es5T5o3GxA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lcDEa7m06Cmwpw5RIEHQ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7MT6YuU0i_0oDnZlTGsw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RvRPF7lEK96mQqZh1Ck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VllCjd70OoN.GnrXpLxg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ZDlX3WkaW.h3Idq2UyA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VllCjd70OoN.GnrXpLxg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ZDlX3WkaW.h3Idq2Uy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VllCjd70OoN.GnrXpLxg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ZDlX3WkaW.h3Idq2UyA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DwBiQNq0ewoTUC7e.XD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J217yB1k.B2k0OAfY.Ig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5NQMnYuUGgF9NdctDuOA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ND7dhrtEOoc1sAeg1mdw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6FoiKnp0yaSVg.UivDAA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skfJMKfEKmdOs7e07zOg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ceGYIpO0ewOx9Wys2Ppw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4ZCRLiUECie7WZLFvJmw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9II_SCl0GyXfsXWmFMmA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_KdtjHDkKHdRRrC3JI_Q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9vG_YRI0UK6RPrAF5tWjA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r541MCC0i897J3LlBql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zlJq1xzUSGdPaepCL9mg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GPIkghJ0WLJ9C4LWk2aA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neTLN5ZUyIgGSs4M5CLQ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Jephggq0akj0UPCbu2H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lxIs4pkE64Ulp3QnqIuQ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XYZn4uHk2e3WvQXlirUg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HsZlZ.EaqZQdljvSyCQ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58BKnxUUCVeQfwtvHong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oRbJPzb0qro5FTkeBONw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T.BO3CCkSqTRZWmC5fMQ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PLuknsNEuVhc_KFiDof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6pzB566kOwEiB1go8XvA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IvU5XYjEWbDrok.38tdQ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dIcYXhKE6Y.UHAR3ArBQ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5U1pJyr0SF0Mzud06fqQ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.5uTEbx021k5D.dmqZIw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Cxw4Bz9k6oWiDBEyqlTQ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48khtYwkqx5kL2M3G0oA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_e4Tfz3k2XTqmH7yxn6w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6uEs_LskaPrmaSM_frig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MpaTZ.YESEtN4Kv2c05w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qA__Zlu0aXw2JfMl9qi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PecOVr4keW1QStDoLV2Q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bvk1lC2EuqJtCIWDnYsA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GS.jyJukKa3h4RZbpHcg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imolzY90u5imK6ixgMlg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oJ1cWCdEaJLvtuwzIpRw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si4.vBG0aU6apaDWdlLA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gUpG8IdkaM60dMTlax2g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NHZeRcyUu2_shQJnDqdg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v.1J6vdkmGoD6fuEdKVA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xrDv4AjECQb1QEGgCsWA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VllCjd70OoN.GnrXpLx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CuyR7_REKMMGrZpDk1zA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ZDlX3WkaW.h3Idq2UyA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VllCjd70OoN.GnrXpLxg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ZDlX3WkaW.h3Idq2UyA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VllCjd70OoN.GnrXpLxg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ZDlX3WkaW.h3Idq2UyA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gWr7BGNE2M0g1UvWByyA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Pw1d7mCU.vJEv8gOXxPg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GWTKdDb0C8UPhU0Mdj_Q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retMlEOU2HxTMVGNNN8Q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qox4Bnl0u2atHZYJQYX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AebQ1jvEWfca5D7AWt.A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z5tBpAikWMFJcwWBR_hw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8qKJ3W9kqNEKB1LgUfaw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ZP_ZIVpEG5rPgbjocH3w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rWM4f5kUm.jbN_n5xEAg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4l8U_Lek.WIigy5x5k0Q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Yqj9C8Q0iQw23vgBn4KA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DNNVsAHEW7sQOVq9myDQ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i7tHg0ukm_98_680tmEg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t350xSUabgIfaU5ugkw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IhFS7Zl0mqSyhl0yqi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Iuvcc5YUempXlSVXKbw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hyeG96dU225StNoBtlag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KPu8bMKk2GSyAufa0cDQ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lMTy_JFEWuENtHk3AQjw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DGPyhc7Ea7YYPf9fnXpQ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o93.bpLU6_08TnqA4unQ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7Ke.JHo061GFDaM0SmsA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oAOf3HZ0qntF.BxduIIg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3FKm6KoE6IjmCPClbdkQ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6HJnXUq0ygVsu_jDC9tQ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M6lEWYHU.gDB.qH9O9YQ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KP.6MDUk.fVN_rxow43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W0wxeRe0qj6VkpMOhoRg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ilcdXZ8kqf3ivBOOnAwA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jPq2D8RUe7Sfzf6eHjZA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mlueiC5kSVutM658TQRQ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cC5Vq8mUyuBdAYjdiP0g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CuP0SJsE.5h.GwipWCWw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Svusk_Skafub_Y5dGhWA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TdeFk0rkm0gl1hrFGYuQ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X3Ep0fnkeFVNXTIUlQXg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uI2mQka0uZBgTMsVMA9g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wRqPvypk2Ywd5Muke1E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DVBNuXwECqOMVh4D49Fg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VhlzcE20O5f8NoZ0xESg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8t1638MEurhr1XSf5LPg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jaBpnZckK7FwVHT1s0fQ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fy0H6YxUOxCRiT2lEaGw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d9BmgQZE2YtOtlgCJ8sw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pBQoCxZEuEzpAnxfPg9Q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1iVrI1VEevPkg1M4Xk3A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cNJHnUPUm69vBkw0IZWQ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Sf.bSBkUWuN5ysGwWBpA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KWseMqlUGY8aiIHiFyI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tTu.GX8kSmPjumUACmRA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R8rSvcukaKtMpYajEYUg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ta54Lk6IcN56cMurqQ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s9xnSsGESXipjurap0iQ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MpOGXg7E2v8YweORbXlw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pYo7EJQUGAknG0Vin.xQ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Z65Sp9n0.L5KT74ryy8g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kRLO3fjU2LB1fspzmCzQ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1eB99G_kaUw4q8LHVQvQ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67uJ1cmkGEEacYkk1NTQ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wqLgm3WUGdXKWAtTR4V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F1sJbvFUildp1h5us3zA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9LBswUokSg4P_oKgBKxw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upBsVN0Ue.l1o3.u1j.A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FFrDu5wUKhXfE_rCvCZw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1m07TEUUmlmfQCmJI72A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7SrfObqkSHF9xg6Lp1Bw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40xebaOk.iw6nm09jPYg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JCX9BcRkShNuxKxEh6kQ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SVVmJDDUOij88ZYwcybA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dch_XEYUu6KWt.oSP9TA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vSWQt380utBzbjWa6kP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g2eWLIjEiIMIooBLLpDQ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eDPQt3DUiER.9RoJHqkA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ZH5vNYekuebpWRwJAW.w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CqCJ07XU2UufN2ZOBhTQ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IfVRmO90ynTp53nS85JA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qDA2zizkCxlGlxTBiW9w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e1_59w60iS3HfVslntXw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HavWbFSES0AT4Dsgt_Bg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LgNiY_IkWJ.eLLr3.7uw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C.DT6.2EilA_DzyQec0Q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eNO0Y2J0SQpTeCBOk05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y3v8UGrECwIkTo5xRuQA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6yKXhEXU.vQBWrr6fHfA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aZMTYAQUmpXS4vxB9NoA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kKLYCj90WvtvBc2csQtA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0vMjWf5kiibxvz0tXmAQ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OdyoNQ0uMfarJKkwiIw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v8g1g5tEWV1XEf.pUokQ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6EFwmpRkm2c.eWHa9jMg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_wROq1Jkypw24YOLCJxw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FUbOKAlUKdqvwPNp56Qg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AzVe7OHkyb2RIcpMmHC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6qPnrUAEOq0f3lYY4LKg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1gMEXFHEuAEt5z9gnmtw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682XbBA4ES83z_U1WJ4XA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BkUj1glE..tcQgsxLlYA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49cSCg1E2QXHoM9KdejQ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nH5q1tbECTUzV2cBt46Q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BMrtGdZk.tBdqTcKndtg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uf1a5koUe.DhISay276g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RRt5rczUO6tUbZvStDKA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Tcto2WGE2I2Z8Lno8fJw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n_2b_dIUCwktKBLrSaL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kUYN8hX0idpgT9dFTj7g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ySWA7Z5k.KgBNDwsv8JA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4pVomz_ESDkC8iVxDh.g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4pVomz_ESDkC8iVxDh.g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4pVomz_ESDkC8iVxDh.g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4pVomz_ESDkC8iVxDh.g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4pVomz_ESDkC8iVxDh.g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4pVomz_ESDkC8iVxDh.g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4pVomz_ESDkC8iVxDh.g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4pVomz_ESDkC8iVxDh.g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4pVomz_ESDkC8iVxDh.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y1JLTX8ke5FgUX6QdRcg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4pVomz_ESDkC8iVxDh.g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4pVomz_ESDkC8iVxDh.g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4pVomz_ESDkC8iVxDh.g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qCp_ZXqUaqbpzh_q.V6g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NnPly0PUmQ6Z8P9_dUGw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Cvx4R9GUSi4Wn3E3Z0OQ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WWipERhk.EjNtgQ1OL6w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xzTLUmQ02NpiziRyr5kw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PAE4a2Ckaz6aZ27753Iw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pA_Ap7Ok2y0NomUEfD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Ir.z9S0Ue.AzbRmGL_K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jlSQHcuEyEZTomf2_H5g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5EQzR9JEGclHT3iWojKw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nIkPbiDkuej1B6.bsIxw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XKRrzZn0WQ4uBP2KaxpQ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PIOAzl_EmTvAoERafrNQ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yNj_KsVUmz6vucPc.kAA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CMXqFdMk2jeJAXf49mtw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Mp48F6jEufHUBm.Z2mfQ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B2pyi00EKdbOr6mp0Hdg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FYCT27GUy22U_qbmwzPQ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2NUe_oeUeCFCwynOxOe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4d2K7Ndkio6_PkXjq5Hw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w.wmU1kE2Kl9f6z_aLtQ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QFB7_LIUazCPv6LwJ3Mg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aIxMygekmzJDARqx9paQ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gSslP6KUy9NL1mmK7zwQ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G_E7sOPUWqUfx7FFsBSA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zXFoPvYkSFUU1JqljK_Q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oMPlR9QEWCK.gDIznLFA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S9zyh2sEuB4luYK5hAEQ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pzXAbjsEqkT2jZFWMkXA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rMQcj_hkOaek6OT5XL.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PPQID5J0SssjK224xvfw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YLWrujSUCKI8CsQtS92g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.FFuakn0m62a13P8nvbw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QcF2aVkkC22r0_xIP8XA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LeJC5Ou0GNGyWMT5Reew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meTYpkmUOVqotaRsUWMQ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Sg8oLnrkWknfUQ75soWw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dUNC.kDEy.9p99DMxl7w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lOAUAVJEqjY4tRu3KMSw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xaMHqU9UK0qzmqN4RcjA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B_E602Fk.e4hDngLBoa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gTaM1X6UK5SeFeO0W8IA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lASpKLe0m8BsWj0LcDvw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6_p9iSsE6wcvfTw_EV1A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_J1Q0jWEqqGR_MvwhHXg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qBpVqZEUymwsmbl68Hig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enBQ1_m0apBnn3AbZK5A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nKpma9HEOgF0aHJoiW4w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5fvc4zYUuAK7wCYk1ItA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zhkZGceE6yA22Iomg_9A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MCKiz5HkGh8.yxh5_KYg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mehO2MAkuW1ZB1iYBGC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hFC4dEvUSJlZZIqA2Ebg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ku5q8FqkCdlVH5n577Cw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sScY1DLEiA6gbu4Ru6Ug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SOi3E9OEOwc0Vr4YdCQA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ybN5rf1Uy.AzzzA5rBKA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o_4r1zZEmCN3fmH_vTTA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Unw1h_XUOneeleJkU0lQ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4SXJWS1kWCHBxcWqu1oA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vZR3Se1ECLxUHjkG2cWw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hLZ6rboUiIiv5dVnkVOQ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dafe4EPkuxFDP7GctbS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B9FImSP0.Wp5Pj4iYZ7A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4lyLg6yECDtetQ4B1ESw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lU_77OA0KlUJ1iOWze9Q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pSgQAYI0qjvQaQGYME_Q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bYD3IqkS.a6DyNeQC2Q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flnlxF4UCKaKAZMRlG4Q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gscfJPNEynEHrAhFWvOg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p18q5Hhk2o77eXsmd2RQ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.GwqlG5kappPTtm.KMDA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7Q_D5F1kWruDM4Hev1ow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WbMjLTPkygYpgTkpP5v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TdVUWE60e3mmYHIrrf2w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Ed74rigESlHuysVSs9PA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hkT9cK60Wv9DDge5fLtg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DAbQ__J0qoD7NNmIK7Bw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NxKPrnKkSMA4ZLLhEkJg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0T1JeT7kmX3ogsWYrxdg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ezLyJWcUSglBDvVis1KA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YZMWi19UCq9Bx_sZz2aQ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qjtN.1jE6Jvz_SyTQW0g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cMwZIAm0..07ENuFcaCQ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GuSGYFIUiGJzLqjsPo6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i3ZwhXvUadGp.kWsJ4wA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H_immtf0eyvW5FZz6ErQ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3EV2t1ckmMuNhFPeWyGA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pSXEHuu0KRKrjKnD0YMA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v6PcnVp0W2h9M8BEEyIg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M_V.lNVkmvoEEZ_WdmGw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f98lWAgEmCfY7IdS_QZQ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Vn37NTPkeGjMq5EuKTBg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NFZXWDEWM_6CC2nGo3Q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ivkGsV6kSMBYT.m3wDlA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p4DEnlDESUQQ5fxUJYF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gsdR5Krkq0ElXlolB1YQ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cUcmvhJUqS0J3h7eIOpQ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Txq7eOo0OQq.EEChs_fQ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gWr7BGNE2M0g1UvWByyA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eKM2iBLkeKb8e.LW9tlw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BE4fmCXEKq_9wNGbhi8A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TOUoTMEEiwF2pjnNd_Uw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5nvKL0DE.SjerJrMfftw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hcoc4KPkWSSQXGHCLp3g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IQYiWil0u6tj9Cj0C4UA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zTtwE6n0CCl6K7o8By3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thjkcui0O7.87UH8CTTg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Wn1_y9.ECxlkbBhA_yOQ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VkVNj5rkeVTZLFiy5o8w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6Jb5lhHkGFmhgG0k7Qew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AUDxsWvEKXsFBYMkcPDQ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Cf5PCG7kyiWLEUIOAwDw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FDF546jkecrliS_82guw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xwYrCnHUafPIHkdDkj4w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yd16lBQEKPVj6ZvA1gMA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vb09Kl.kKb9V9sP2Js7A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SvHhE.CUSeUyT36s0yag"/>
</p:tagLst>
</file>

<file path=ppt/theme/theme1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D2D2F14E-91D0-46BE-AF0B-03FA64177EC7}">
  <ds:schemaRefs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7BF56AB9-1D7B-4EEB-B7B0-A85AED613A9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B87F45E-89F2-4F93-BA38-4E759A2983DE}">
  <ds:schemaRefs>
    <ds:schemaRef ds:uri="urn:sharePointPublishingRcaProperties"/>
  </ds:schemaRefs>
</ds:datastoreItem>
</file>

<file path=customXml/itemProps4.xml><?xml version="1.0" encoding="utf-8"?>
<ds:datastoreItem xmlns:ds="http://schemas.openxmlformats.org/officeDocument/2006/customXml" ds:itemID="{ABDB0175-C2BA-4739-B241-D8A48BED43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233</Words>
  <Application>Microsoft Office PowerPoint</Application>
  <PresentationFormat>A4 Paper (210x297 mm)</PresentationFormat>
  <Paragraphs>693</Paragraphs>
  <Slides>33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3</vt:i4>
      </vt:variant>
    </vt:vector>
  </HeadingPairs>
  <TitlesOfParts>
    <vt:vector size="36" baseType="lpstr">
      <vt:lpstr>blank</vt:lpstr>
      <vt:lpstr>think-cell Slide</vt:lpstr>
      <vt:lpstr>Chart</vt:lpstr>
      <vt:lpstr>Slide 0</vt:lpstr>
      <vt:lpstr>The map of the world changed at a geological pace</vt:lpstr>
      <vt:lpstr>Physical map of the world</vt:lpstr>
      <vt:lpstr>Humans have created an economic map</vt:lpstr>
      <vt:lpstr>Slide 4</vt:lpstr>
      <vt:lpstr>Slide 5</vt:lpstr>
      <vt:lpstr>Slide 6</vt:lpstr>
      <vt:lpstr>Slide 7</vt:lpstr>
      <vt:lpstr>US gains in manufacturing output enabled by sustained increases in productivity</vt:lpstr>
      <vt:lpstr>US projected to maintain significant productivity advantages versus other manufacturing countries</vt:lpstr>
      <vt:lpstr>Slide 10</vt:lpstr>
      <vt:lpstr>Slide 11</vt:lpstr>
      <vt:lpstr>A moving target: selected production clusters in China</vt:lpstr>
      <vt:lpstr>But the US currently makes ~ 75% of the manufactured goods it consumes, maintaining a robust manufacturing base</vt:lpstr>
      <vt:lpstr>Increasing labor costs and rising Yuan combining to drive rapid increase in China's average labor rates versus the US</vt:lpstr>
      <vt:lpstr>US projected to maintain significant productivity advantages versus both Europe and China</vt:lpstr>
      <vt:lpstr>Rapidly changing economics of Chinese production</vt:lpstr>
      <vt:lpstr>Economics will drive reinvestment in US</vt:lpstr>
      <vt:lpstr>Quantitative assessment indicates that seven industry clusters may be close to a tipping point</vt:lpstr>
      <vt:lpstr>We've seen many clients</vt:lpstr>
      <vt:lpstr>Slide 20</vt:lpstr>
      <vt:lpstr>Many examples of recent decisions by North American companies to rethink their production locations ...</vt:lpstr>
      <vt:lpstr>The US labor market is the most attractive of all major developed-world manufacturers</vt:lpstr>
      <vt:lpstr>Abundant natural gas in US has led to a large energy cost advantage for domestic manufacturers</vt:lpstr>
      <vt:lpstr>Labor and energy cost advantages will position the US  as one of the developed world's lowest-cost countries</vt:lpstr>
      <vt:lpstr>Productivity-adjusted wages are ~54% higher for Italy than U.S. in 2015</vt:lpstr>
      <vt:lpstr>European and Japanese companies looking to produce in and even export from the US</vt:lpstr>
      <vt:lpstr>The European aviation industry is capitalizing  on the value of US manufacturing</vt:lpstr>
      <vt:lpstr>Estimated reshoring of tipping-point industries and increased exports will result in $100-150 billion of incremental production</vt:lpstr>
      <vt:lpstr>Slide 29</vt:lpstr>
      <vt:lpstr>Slide 30</vt:lpstr>
      <vt:lpstr>Labor and energy cost advantages will position the US  as one of the developed world's lowest-cost countries</vt:lpstr>
      <vt:lpstr>Slide 32</vt:lpstr>
    </vt:vector>
  </TitlesOfParts>
  <Company>The Boston Consulting Grou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Treml Ellen</dc:creator>
  <cp:lastModifiedBy>Daly Paula</cp:lastModifiedBy>
  <cp:revision>360</cp:revision>
  <dcterms:created xsi:type="dcterms:W3CDTF">2012-10-02T09:41:16Z</dcterms:created>
  <dcterms:modified xsi:type="dcterms:W3CDTF">2013-04-10T18:09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A4</vt:lpwstr>
  </property>
  <property fmtid="{D5CDD505-2E9C-101B-9397-08002B2CF9AE}" pid="5" name="_AdHocReviewCycleID">
    <vt:i4>-1134668161</vt:i4>
  </property>
  <property fmtid="{D5CDD505-2E9C-101B-9397-08002B2CF9AE}" pid="6" name="_NewReviewCycle">
    <vt:lpwstr/>
  </property>
  <property fmtid="{D5CDD505-2E9C-101B-9397-08002B2CF9AE}" pid="7" name="_EmailSubject">
    <vt:lpwstr>Updated version of Hal Sirkin's Presentation for 4/12.</vt:lpwstr>
  </property>
  <property fmtid="{D5CDD505-2E9C-101B-9397-08002B2CF9AE}" pid="8" name="_AuthorEmail">
    <vt:lpwstr>Daly.Paula@bcg.com</vt:lpwstr>
  </property>
  <property fmtid="{D5CDD505-2E9C-101B-9397-08002B2CF9AE}" pid="9" name="_AuthorEmailDisplayName">
    <vt:lpwstr>Daly Paula</vt:lpwstr>
  </property>
  <property fmtid="{D5CDD505-2E9C-101B-9397-08002B2CF9AE}" pid="10" name="_PreviousAdHocReviewCycleID">
    <vt:i4>-637383840</vt:i4>
  </property>
</Properties>
</file>